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6.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6.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5.xml" ContentType="application/vnd.openxmlformats-officedocument.presentationml.tags+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60" r:id="rId1"/>
    <p:sldMasterId id="2147483679" r:id="rId2"/>
    <p:sldMasterId id="2147483700" r:id="rId3"/>
    <p:sldMasterId id="2147483730" r:id="rId4"/>
    <p:sldMasterId id="2147483736" r:id="rId5"/>
    <p:sldMasterId id="2147483742" r:id="rId6"/>
    <p:sldMasterId id="2147483757" r:id="rId7"/>
  </p:sldMasterIdLst>
  <p:notesMasterIdLst>
    <p:notesMasterId r:id="rId18"/>
  </p:notesMasterIdLst>
  <p:sldIdLst>
    <p:sldId id="8268" r:id="rId8"/>
    <p:sldId id="2145705763" r:id="rId9"/>
    <p:sldId id="2145705780" r:id="rId10"/>
    <p:sldId id="2145705774" r:id="rId11"/>
    <p:sldId id="2145705792" r:id="rId12"/>
    <p:sldId id="2145705782" r:id="rId13"/>
    <p:sldId id="2145705794" r:id="rId14"/>
    <p:sldId id="2145705795" r:id="rId15"/>
    <p:sldId id="2145705777" r:id="rId16"/>
    <p:sldId id="2145705759"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9A21D680-3D4E-4FBD-93BE-F901CC079ED8}">
          <p14:sldIdLst>
            <p14:sldId id="8268"/>
            <p14:sldId id="2145705763"/>
          </p14:sldIdLst>
        </p14:section>
        <p14:section name="药品基本信息" id="{C52874E7-AFC4-453E-9510-F32973D9BEDA}">
          <p14:sldIdLst>
            <p14:sldId id="2145705780"/>
            <p14:sldId id="2145705774"/>
            <p14:sldId id="2145705792"/>
          </p14:sldIdLst>
        </p14:section>
        <p14:section name="安全性" id="{C4A5EE58-724B-4DC8-9D99-CFB718886D0F}">
          <p14:sldIdLst>
            <p14:sldId id="2145705782"/>
          </p14:sldIdLst>
        </p14:section>
        <p14:section name="有效性" id="{C62676F1-AC50-41EF-82E3-AD51F959516D}">
          <p14:sldIdLst>
            <p14:sldId id="2145705794"/>
            <p14:sldId id="2145705795"/>
          </p14:sldIdLst>
        </p14:section>
        <p14:section name="创新性" id="{F89E13B0-DE16-4F30-87B0-693F442BFE77}">
          <p14:sldIdLst>
            <p14:sldId id="2145705777"/>
          </p14:sldIdLst>
        </p14:section>
        <p14:section name="公平性" id="{BE8DF8D6-C88E-4F4E-9A4E-716BA8328144}">
          <p14:sldIdLst>
            <p14:sldId id="2145705759"/>
          </p14:sldIdLst>
        </p14:section>
      </p14:sectionLst>
    </p:ext>
    <p:ext uri="{EFAFB233-063F-42B5-8137-9DF3F51BA10A}">
      <p15:sldGuideLst xmlns:p15="http://schemas.microsoft.com/office/powerpoint/2012/main">
        <p15:guide id="1" orient="horz" pos="2136"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Ying Yang" initials="YY" lastIdx="20" clrIdx="0">
    <p:extLst>
      <p:ext uri="{19B8F6BF-5375-455C-9EA6-DF929625EA0E}">
        <p15:presenceInfo xmlns:p15="http://schemas.microsoft.com/office/powerpoint/2012/main" userId="S::ying.9.yang@gsk.com::f1527f9b-a873-4aa2-b225-cf8fd3466e0d" providerId="AD"/>
      </p:ext>
    </p:extLst>
  </p:cmAuthor>
  <p:cmAuthor id="2" name="Chaoyun Li" initials="CL" lastIdx="3" clrIdx="1">
    <p:extLst>
      <p:ext uri="{19B8F6BF-5375-455C-9EA6-DF929625EA0E}">
        <p15:presenceInfo xmlns:p15="http://schemas.microsoft.com/office/powerpoint/2012/main" userId="S::chaoyun.x.li@gsk.com::266b69f4-5bdf-41aa-8e6e-b62fde24b5f7" providerId="AD"/>
      </p:ext>
    </p:extLst>
  </p:cmAuthor>
  <p:cmAuthor id="3" name="Adrian Ooi" initials="AO" lastIdx="1" clrIdx="2">
    <p:extLst>
      <p:ext uri="{19B8F6BF-5375-455C-9EA6-DF929625EA0E}">
        <p15:presenceInfo xmlns:p15="http://schemas.microsoft.com/office/powerpoint/2012/main" userId="S::adrian.x.ooi@viivhealthcare.com::befd12d6-fb0c-42de-ba87-5ef33ad75a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25E97"/>
    <a:srgbClr val="F3F3F3"/>
    <a:srgbClr val="E30046"/>
    <a:srgbClr val="F49FB9"/>
    <a:srgbClr val="A10364"/>
    <a:srgbClr val="EEEEEE"/>
    <a:srgbClr val="B8075F"/>
    <a:srgbClr val="702082"/>
    <a:srgbClr val="C10562"/>
    <a:srgbClr val="E9E9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11C78AC-DC75-447B-B78D-FA5B1F5D213F}" v="58" dt="2022-06-14T03:06:16.073"/>
    <p1510:client id="{A30A5C05-46CF-4F03-AB5B-503FD66274CE}" v="477" dt="2022-06-13T10:08:40.848"/>
  </p1510:revLst>
</p1510:revInfo>
</file>

<file path=ppt/tableStyles.xml><?xml version="1.0" encoding="utf-8"?>
<a:tblStyleLst xmlns:a="http://schemas.openxmlformats.org/drawingml/2006/main" def="{5C22544A-7EE6-4342-B048-85BDC9FD1C3A}">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主题样式 1 - 强调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主题样式 1 - 强调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浅色样式 1 - 强调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浅色样式 1 - 强调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8799B23B-EC83-4686-B30A-512413B5E67A}" styleName="浅色样式 3 - 强调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浅色样式 3 - 强调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8B1032C-EA38-4F05-BA0D-38AFFFC7BED3}" styleName="浅色样式 3 - 强调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74C1A8A3-306A-4EB7-A6B1-4F7E0EB9C5D6}" styleName="中度样式 3 - 强调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A488322-F2BA-4B5B-9748-0D474271808F}" styleName="中度样式 3 - 强调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8A107856-5554-42FB-B03E-39F5DBC370BA}" styleName="中度样式 4 - 强调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C4B1156A-380E-4F78-BDF5-A606A8083BF9}" styleName="中度样式 4 - 强调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2838BEF-8BB2-4498-84A7-C5851F593DF1}" styleName="中度样式 4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6D9F66E-5EB9-4882-86FB-DCBF35E3C3E4}" styleName="中度样式 4 - 强调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0660B408-B3CF-4A94-85FC-2B1E0A45F4A2}" styleName="深色样式 2 - 强调 1/强调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5202B0CA-FC54-4496-8BCA-5EF66A818D29}" styleName="深色样式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91EBBBCC-DAD2-459C-BE2E-F6DE35CF9A28}" styleName="深色样式 2 - 强调 3/强调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深色样式 2 - 强调 5/强调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505E3EF-67EA-436B-97B2-0124C06EBD24}" styleName="中度样式 4 - 强调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EB344D84-9AFB-497E-A393-DC336BA19D2E}" styleName="中度样式 3 - 强调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中度样式 3 - 强调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EC20E35-A176-4012-BC5E-935CFFF8708E}" styleName="中度样式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17292A2E-F333-43FB-9621-5CBBE7FDCDCB}" styleName="浅色样式 2 - 强调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113A9D2-9D6B-4929-AA2D-F23B5EE8CBE7}" styleName="主题样式 2 - 强调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主题样式 2 - 强调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主题样式 2 - 强调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主题样式 2 - 强调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主题样式 2 - 强调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主题样式 2 - 强调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A111915-BE36-4E01-A7E5-04B1672EAD32}" styleName="浅色样式 2 - 强调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ED083AE6-46FA-4A59-8FB0-9F97EB10719F}" styleName="浅色样式 3 - 强调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BDBED569-4797-4DF1-A0F4-6AAB3CD982D8}" styleName="浅色样式 3 - 强调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B9631B5-78F2-41C9-869B-9F39066F8104}" styleName="中度样式 3 - 强调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390" autoAdjust="0"/>
    <p:restoredTop sz="93775" autoAdjust="0"/>
  </p:normalViewPr>
  <p:slideViewPr>
    <p:cSldViewPr snapToGrid="0">
      <p:cViewPr varScale="1">
        <p:scale>
          <a:sx n="63" d="100"/>
          <a:sy n="63" d="100"/>
        </p:scale>
        <p:origin x="872" y="60"/>
      </p:cViewPr>
      <p:guideLst>
        <p:guide orient="horz" pos="2136"/>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microsoft.com/office/2016/11/relationships/changesInfo" Target="changesInfos/changesInfo1.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ing Yang" userId="f1527f9b-a873-4aa2-b225-cf8fd3466e0d" providerId="ADAL" clId="{F42E8587-05C3-47AF-A2D7-7ADC0798A461}"/>
    <pc:docChg chg="delSld delSection modSection">
      <pc:chgData name="Ying Yang" userId="f1527f9b-a873-4aa2-b225-cf8fd3466e0d" providerId="ADAL" clId="{F42E8587-05C3-47AF-A2D7-7ADC0798A461}" dt="2022-06-14T06:22:08.394" v="0" actId="18676"/>
      <pc:docMkLst>
        <pc:docMk/>
      </pc:docMkLst>
      <pc:sldChg chg="del">
        <pc:chgData name="Ying Yang" userId="f1527f9b-a873-4aa2-b225-cf8fd3466e0d" providerId="ADAL" clId="{F42E8587-05C3-47AF-A2D7-7ADC0798A461}" dt="2022-06-14T06:22:08.394" v="0" actId="18676"/>
        <pc:sldMkLst>
          <pc:docMk/>
          <pc:sldMk cId="1713740097" sldId="281"/>
        </pc:sldMkLst>
      </pc:sldChg>
      <pc:sldChg chg="del">
        <pc:chgData name="Ying Yang" userId="f1527f9b-a873-4aa2-b225-cf8fd3466e0d" providerId="ADAL" clId="{F42E8587-05C3-47AF-A2D7-7ADC0798A461}" dt="2022-06-14T06:22:08.394" v="0" actId="18676"/>
        <pc:sldMkLst>
          <pc:docMk/>
          <pc:sldMk cId="1914631551" sldId="321"/>
        </pc:sldMkLst>
      </pc:sldChg>
      <pc:sldChg chg="del">
        <pc:chgData name="Ying Yang" userId="f1527f9b-a873-4aa2-b225-cf8fd3466e0d" providerId="ADAL" clId="{F42E8587-05C3-47AF-A2D7-7ADC0798A461}" dt="2022-06-14T06:22:08.394" v="0" actId="18676"/>
        <pc:sldMkLst>
          <pc:docMk/>
          <pc:sldMk cId="2831857267" sldId="430"/>
        </pc:sldMkLst>
      </pc:sldChg>
      <pc:sldChg chg="del">
        <pc:chgData name="Ying Yang" userId="f1527f9b-a873-4aa2-b225-cf8fd3466e0d" providerId="ADAL" clId="{F42E8587-05C3-47AF-A2D7-7ADC0798A461}" dt="2022-06-14T06:22:08.394" v="0" actId="18676"/>
        <pc:sldMkLst>
          <pc:docMk/>
          <pc:sldMk cId="675901934" sldId="7521"/>
        </pc:sldMkLst>
      </pc:sldChg>
      <pc:sldChg chg="del">
        <pc:chgData name="Ying Yang" userId="f1527f9b-a873-4aa2-b225-cf8fd3466e0d" providerId="ADAL" clId="{F42E8587-05C3-47AF-A2D7-7ADC0798A461}" dt="2022-06-14T06:22:08.394" v="0" actId="18676"/>
        <pc:sldMkLst>
          <pc:docMk/>
          <pc:sldMk cId="0" sldId="2050181"/>
        </pc:sldMkLst>
      </pc:sldChg>
      <pc:sldChg chg="del">
        <pc:chgData name="Ying Yang" userId="f1527f9b-a873-4aa2-b225-cf8fd3466e0d" providerId="ADAL" clId="{F42E8587-05C3-47AF-A2D7-7ADC0798A461}" dt="2022-06-14T06:22:08.394" v="0" actId="18676"/>
        <pc:sldMkLst>
          <pc:docMk/>
          <pc:sldMk cId="0" sldId="11089622"/>
        </pc:sldMkLst>
      </pc:sldChg>
      <pc:sldChg chg="del">
        <pc:chgData name="Ying Yang" userId="f1527f9b-a873-4aa2-b225-cf8fd3466e0d" providerId="ADAL" clId="{F42E8587-05C3-47AF-A2D7-7ADC0798A461}" dt="2022-06-14T06:22:08.394" v="0" actId="18676"/>
        <pc:sldMkLst>
          <pc:docMk/>
          <pc:sldMk cId="0" sldId="11089623"/>
        </pc:sldMkLst>
      </pc:sldChg>
      <pc:sldChg chg="del">
        <pc:chgData name="Ying Yang" userId="f1527f9b-a873-4aa2-b225-cf8fd3466e0d" providerId="ADAL" clId="{F42E8587-05C3-47AF-A2D7-7ADC0798A461}" dt="2022-06-14T06:22:08.394" v="0" actId="18676"/>
        <pc:sldMkLst>
          <pc:docMk/>
          <pc:sldMk cId="0" sldId="11089624"/>
        </pc:sldMkLst>
      </pc:sldChg>
      <pc:sldChg chg="del">
        <pc:chgData name="Ying Yang" userId="f1527f9b-a873-4aa2-b225-cf8fd3466e0d" providerId="ADAL" clId="{F42E8587-05C3-47AF-A2D7-7ADC0798A461}" dt="2022-06-14T06:22:08.394" v="0" actId="18676"/>
        <pc:sldMkLst>
          <pc:docMk/>
          <pc:sldMk cId="0" sldId="11089627"/>
        </pc:sldMkLst>
      </pc:sldChg>
      <pc:sldChg chg="del">
        <pc:chgData name="Ying Yang" userId="f1527f9b-a873-4aa2-b225-cf8fd3466e0d" providerId="ADAL" clId="{F42E8587-05C3-47AF-A2D7-7ADC0798A461}" dt="2022-06-14T06:22:08.394" v="0" actId="18676"/>
        <pc:sldMkLst>
          <pc:docMk/>
          <pc:sldMk cId="3000160088" sldId="2145705704"/>
        </pc:sldMkLst>
      </pc:sldChg>
      <pc:sldChg chg="del">
        <pc:chgData name="Ying Yang" userId="f1527f9b-a873-4aa2-b225-cf8fd3466e0d" providerId="ADAL" clId="{F42E8587-05C3-47AF-A2D7-7ADC0798A461}" dt="2022-06-14T06:22:08.394" v="0" actId="18676"/>
        <pc:sldMkLst>
          <pc:docMk/>
          <pc:sldMk cId="27837680" sldId="2145705723"/>
        </pc:sldMkLst>
      </pc:sldChg>
      <pc:sldChg chg="del">
        <pc:chgData name="Ying Yang" userId="f1527f9b-a873-4aa2-b225-cf8fd3466e0d" providerId="ADAL" clId="{F42E8587-05C3-47AF-A2D7-7ADC0798A461}" dt="2022-06-14T06:22:08.394" v="0" actId="18676"/>
        <pc:sldMkLst>
          <pc:docMk/>
          <pc:sldMk cId="1060656820" sldId="2145705724"/>
        </pc:sldMkLst>
      </pc:sldChg>
      <pc:sldChg chg="del">
        <pc:chgData name="Ying Yang" userId="f1527f9b-a873-4aa2-b225-cf8fd3466e0d" providerId="ADAL" clId="{F42E8587-05C3-47AF-A2D7-7ADC0798A461}" dt="2022-06-14T06:22:08.394" v="0" actId="18676"/>
        <pc:sldMkLst>
          <pc:docMk/>
          <pc:sldMk cId="3428528797" sldId="2145705733"/>
        </pc:sldMkLst>
      </pc:sldChg>
      <pc:sldChg chg="del">
        <pc:chgData name="Ying Yang" userId="f1527f9b-a873-4aa2-b225-cf8fd3466e0d" providerId="ADAL" clId="{F42E8587-05C3-47AF-A2D7-7ADC0798A461}" dt="2022-06-14T06:22:08.394" v="0" actId="18676"/>
        <pc:sldMkLst>
          <pc:docMk/>
          <pc:sldMk cId="3495969178" sldId="2145705736"/>
        </pc:sldMkLst>
      </pc:sldChg>
      <pc:sldChg chg="del">
        <pc:chgData name="Ying Yang" userId="f1527f9b-a873-4aa2-b225-cf8fd3466e0d" providerId="ADAL" clId="{F42E8587-05C3-47AF-A2D7-7ADC0798A461}" dt="2022-06-14T06:22:08.394" v="0" actId="18676"/>
        <pc:sldMkLst>
          <pc:docMk/>
          <pc:sldMk cId="1204796870" sldId="2145705739"/>
        </pc:sldMkLst>
      </pc:sldChg>
      <pc:sldChg chg="del">
        <pc:chgData name="Ying Yang" userId="f1527f9b-a873-4aa2-b225-cf8fd3466e0d" providerId="ADAL" clId="{F42E8587-05C3-47AF-A2D7-7ADC0798A461}" dt="2022-06-14T06:22:08.394" v="0" actId="18676"/>
        <pc:sldMkLst>
          <pc:docMk/>
          <pc:sldMk cId="4125609224" sldId="2145705741"/>
        </pc:sldMkLst>
      </pc:sldChg>
      <pc:sldChg chg="del">
        <pc:chgData name="Ying Yang" userId="f1527f9b-a873-4aa2-b225-cf8fd3466e0d" providerId="ADAL" clId="{F42E8587-05C3-47AF-A2D7-7ADC0798A461}" dt="2022-06-14T06:22:08.394" v="0" actId="18676"/>
        <pc:sldMkLst>
          <pc:docMk/>
          <pc:sldMk cId="4216689421" sldId="2145705742"/>
        </pc:sldMkLst>
      </pc:sldChg>
      <pc:sldChg chg="del">
        <pc:chgData name="Ying Yang" userId="f1527f9b-a873-4aa2-b225-cf8fd3466e0d" providerId="ADAL" clId="{F42E8587-05C3-47AF-A2D7-7ADC0798A461}" dt="2022-06-14T06:22:08.394" v="0" actId="18676"/>
        <pc:sldMkLst>
          <pc:docMk/>
          <pc:sldMk cId="451508171" sldId="2145705745"/>
        </pc:sldMkLst>
      </pc:sldChg>
      <pc:sldChg chg="del">
        <pc:chgData name="Ying Yang" userId="f1527f9b-a873-4aa2-b225-cf8fd3466e0d" providerId="ADAL" clId="{F42E8587-05C3-47AF-A2D7-7ADC0798A461}" dt="2022-06-14T06:22:08.394" v="0" actId="18676"/>
        <pc:sldMkLst>
          <pc:docMk/>
          <pc:sldMk cId="2453307984" sldId="2145705748"/>
        </pc:sldMkLst>
      </pc:sldChg>
      <pc:sldChg chg="del">
        <pc:chgData name="Ying Yang" userId="f1527f9b-a873-4aa2-b225-cf8fd3466e0d" providerId="ADAL" clId="{F42E8587-05C3-47AF-A2D7-7ADC0798A461}" dt="2022-06-14T06:22:08.394" v="0" actId="18676"/>
        <pc:sldMkLst>
          <pc:docMk/>
          <pc:sldMk cId="3835900212" sldId="2145705751"/>
        </pc:sldMkLst>
      </pc:sldChg>
      <pc:sldChg chg="del">
        <pc:chgData name="Ying Yang" userId="f1527f9b-a873-4aa2-b225-cf8fd3466e0d" providerId="ADAL" clId="{F42E8587-05C3-47AF-A2D7-7ADC0798A461}" dt="2022-06-14T06:22:08.394" v="0" actId="18676"/>
        <pc:sldMkLst>
          <pc:docMk/>
          <pc:sldMk cId="3197734298" sldId="2145705752"/>
        </pc:sldMkLst>
      </pc:sldChg>
      <pc:sldChg chg="del">
        <pc:chgData name="Ying Yang" userId="f1527f9b-a873-4aa2-b225-cf8fd3466e0d" providerId="ADAL" clId="{F42E8587-05C3-47AF-A2D7-7ADC0798A461}" dt="2022-06-14T06:22:08.394" v="0" actId="18676"/>
        <pc:sldMkLst>
          <pc:docMk/>
          <pc:sldMk cId="699979197" sldId="2145705753"/>
        </pc:sldMkLst>
      </pc:sldChg>
      <pc:sldChg chg="del">
        <pc:chgData name="Ying Yang" userId="f1527f9b-a873-4aa2-b225-cf8fd3466e0d" providerId="ADAL" clId="{F42E8587-05C3-47AF-A2D7-7ADC0798A461}" dt="2022-06-14T06:22:08.394" v="0" actId="18676"/>
        <pc:sldMkLst>
          <pc:docMk/>
          <pc:sldMk cId="744449952" sldId="2145705762"/>
        </pc:sldMkLst>
      </pc:sldChg>
      <pc:sldMasterChg chg="delSldLayout">
        <pc:chgData name="Ying Yang" userId="f1527f9b-a873-4aa2-b225-cf8fd3466e0d" providerId="ADAL" clId="{F42E8587-05C3-47AF-A2D7-7ADC0798A461}" dt="2022-06-14T06:22:08.394" v="0" actId="18676"/>
        <pc:sldMasterMkLst>
          <pc:docMk/>
          <pc:sldMasterMk cId="3281785214" sldId="2147483660"/>
        </pc:sldMasterMkLst>
        <pc:sldLayoutChg chg="del">
          <pc:chgData name="Ying Yang" userId="f1527f9b-a873-4aa2-b225-cf8fd3466e0d" providerId="ADAL" clId="{F42E8587-05C3-47AF-A2D7-7ADC0798A461}" dt="2022-06-14T06:22:08.394" v="0" actId="18676"/>
          <pc:sldLayoutMkLst>
            <pc:docMk/>
            <pc:sldMasterMk cId="3281785214" sldId="2147483660"/>
            <pc:sldLayoutMk cId="3325598884" sldId="2147483667"/>
          </pc:sldLayoutMkLst>
        </pc:sldLayoutChg>
        <pc:sldLayoutChg chg="del">
          <pc:chgData name="Ying Yang" userId="f1527f9b-a873-4aa2-b225-cf8fd3466e0d" providerId="ADAL" clId="{F42E8587-05C3-47AF-A2D7-7ADC0798A461}" dt="2022-06-14T06:22:08.394" v="0" actId="18676"/>
          <pc:sldLayoutMkLst>
            <pc:docMk/>
            <pc:sldMasterMk cId="3281785214" sldId="2147483660"/>
            <pc:sldLayoutMk cId="1461825184" sldId="2147483678"/>
          </pc:sldLayoutMkLst>
        </pc:sldLayoutChg>
        <pc:sldLayoutChg chg="del">
          <pc:chgData name="Ying Yang" userId="f1527f9b-a873-4aa2-b225-cf8fd3466e0d" providerId="ADAL" clId="{F42E8587-05C3-47AF-A2D7-7ADC0798A461}" dt="2022-06-14T06:22:08.394" v="0" actId="18676"/>
          <pc:sldLayoutMkLst>
            <pc:docMk/>
            <pc:sldMasterMk cId="3281785214" sldId="2147483660"/>
            <pc:sldLayoutMk cId="1881755936" sldId="2147483729"/>
          </pc:sldLayoutMkLst>
        </pc:sldLayoutChg>
      </pc:sldMasterChg>
      <pc:sldMasterChg chg="delSldLayout">
        <pc:chgData name="Ying Yang" userId="f1527f9b-a873-4aa2-b225-cf8fd3466e0d" providerId="ADAL" clId="{F42E8587-05C3-47AF-A2D7-7ADC0798A461}" dt="2022-06-14T06:22:08.394" v="0" actId="18676"/>
        <pc:sldMasterMkLst>
          <pc:docMk/>
          <pc:sldMasterMk cId="1534913859" sldId="2147483679"/>
        </pc:sldMasterMkLst>
        <pc:sldLayoutChg chg="del">
          <pc:chgData name="Ying Yang" userId="f1527f9b-a873-4aa2-b225-cf8fd3466e0d" providerId="ADAL" clId="{F42E8587-05C3-47AF-A2D7-7ADC0798A461}" dt="2022-06-14T06:22:08.394" v="0" actId="18676"/>
          <pc:sldLayoutMkLst>
            <pc:docMk/>
            <pc:sldMasterMk cId="1534913859" sldId="2147483679"/>
            <pc:sldLayoutMk cId="2072543535" sldId="2147483696"/>
          </pc:sldLayoutMkLst>
        </pc:sldLayoutChg>
      </pc:sldMasterChg>
      <pc:sldMasterChg chg="delSldLayout">
        <pc:chgData name="Ying Yang" userId="f1527f9b-a873-4aa2-b225-cf8fd3466e0d" providerId="ADAL" clId="{F42E8587-05C3-47AF-A2D7-7ADC0798A461}" dt="2022-06-14T06:22:08.394" v="0" actId="18676"/>
        <pc:sldMasterMkLst>
          <pc:docMk/>
          <pc:sldMasterMk cId="3638778561" sldId="2147483730"/>
        </pc:sldMasterMkLst>
        <pc:sldLayoutChg chg="del">
          <pc:chgData name="Ying Yang" userId="f1527f9b-a873-4aa2-b225-cf8fd3466e0d" providerId="ADAL" clId="{F42E8587-05C3-47AF-A2D7-7ADC0798A461}" dt="2022-06-14T06:22:08.394" v="0" actId="18676"/>
          <pc:sldLayoutMkLst>
            <pc:docMk/>
            <pc:sldMasterMk cId="3638778561" sldId="2147483730"/>
            <pc:sldLayoutMk cId="4275876842" sldId="2147483735"/>
          </pc:sldLayoutMkLst>
        </pc:sldLayoutChg>
      </pc:sldMasterChg>
    </pc:docChg>
  </pc:docChgLst>
  <pc:docChgLst>
    <pc:chgData name="Ying Yang" userId="f1527f9b-a873-4aa2-b225-cf8fd3466e0d" providerId="ADAL" clId="{A30A5C05-46CF-4F03-AB5B-503FD66274CE}"/>
    <pc:docChg chg="undo redo custSel addSld delSld modSld sldOrd modMainMaster addSection delSection modSection">
      <pc:chgData name="Ying Yang" userId="f1527f9b-a873-4aa2-b225-cf8fd3466e0d" providerId="ADAL" clId="{A30A5C05-46CF-4F03-AB5B-503FD66274CE}" dt="2022-06-13T10:08:58.407" v="6890" actId="1076"/>
      <pc:docMkLst>
        <pc:docMk/>
      </pc:docMkLst>
      <pc:sldChg chg="addSp modSp add del ord">
        <pc:chgData name="Ying Yang" userId="f1527f9b-a873-4aa2-b225-cf8fd3466e0d" providerId="ADAL" clId="{A30A5C05-46CF-4F03-AB5B-503FD66274CE}" dt="2022-06-13T09:00:23.218" v="5393"/>
        <pc:sldMkLst>
          <pc:docMk/>
          <pc:sldMk cId="1713740097" sldId="281"/>
        </pc:sldMkLst>
        <pc:spChg chg="mod">
          <ac:chgData name="Ying Yang" userId="f1527f9b-a873-4aa2-b225-cf8fd3466e0d" providerId="ADAL" clId="{A30A5C05-46CF-4F03-AB5B-503FD66274CE}" dt="2022-06-13T08:47:04.555" v="5197" actId="164"/>
          <ac:spMkLst>
            <pc:docMk/>
            <pc:sldMk cId="1713740097" sldId="281"/>
            <ac:spMk id="11" creationId="{00000000-0000-0000-0000-000000000000}"/>
          </ac:spMkLst>
        </pc:spChg>
        <pc:spChg chg="mod">
          <ac:chgData name="Ying Yang" userId="f1527f9b-a873-4aa2-b225-cf8fd3466e0d" providerId="ADAL" clId="{A30A5C05-46CF-4F03-AB5B-503FD66274CE}" dt="2022-06-13T08:47:04.555" v="5197" actId="164"/>
          <ac:spMkLst>
            <pc:docMk/>
            <pc:sldMk cId="1713740097" sldId="281"/>
            <ac:spMk id="12" creationId="{00000000-0000-0000-0000-000000000000}"/>
          </ac:spMkLst>
        </pc:spChg>
        <pc:spChg chg="mod">
          <ac:chgData name="Ying Yang" userId="f1527f9b-a873-4aa2-b225-cf8fd3466e0d" providerId="ADAL" clId="{A30A5C05-46CF-4F03-AB5B-503FD66274CE}" dt="2022-06-13T08:47:04.555" v="5197" actId="164"/>
          <ac:spMkLst>
            <pc:docMk/>
            <pc:sldMk cId="1713740097" sldId="281"/>
            <ac:spMk id="13" creationId="{00000000-0000-0000-0000-000000000000}"/>
          </ac:spMkLst>
        </pc:spChg>
        <pc:spChg chg="mod">
          <ac:chgData name="Ying Yang" userId="f1527f9b-a873-4aa2-b225-cf8fd3466e0d" providerId="ADAL" clId="{A30A5C05-46CF-4F03-AB5B-503FD66274CE}" dt="2022-06-13T08:47:04.555" v="5197" actId="164"/>
          <ac:spMkLst>
            <pc:docMk/>
            <pc:sldMk cId="1713740097" sldId="281"/>
            <ac:spMk id="14" creationId="{00000000-0000-0000-0000-000000000000}"/>
          </ac:spMkLst>
        </pc:spChg>
        <pc:spChg chg="mod">
          <ac:chgData name="Ying Yang" userId="f1527f9b-a873-4aa2-b225-cf8fd3466e0d" providerId="ADAL" clId="{A30A5C05-46CF-4F03-AB5B-503FD66274CE}" dt="2022-06-13T08:47:04.555" v="5197" actId="164"/>
          <ac:spMkLst>
            <pc:docMk/>
            <pc:sldMk cId="1713740097" sldId="281"/>
            <ac:spMk id="16" creationId="{00000000-0000-0000-0000-000000000000}"/>
          </ac:spMkLst>
        </pc:spChg>
        <pc:spChg chg="mod">
          <ac:chgData name="Ying Yang" userId="f1527f9b-a873-4aa2-b225-cf8fd3466e0d" providerId="ADAL" clId="{A30A5C05-46CF-4F03-AB5B-503FD66274CE}" dt="2022-06-13T08:47:04.555" v="5197" actId="164"/>
          <ac:spMkLst>
            <pc:docMk/>
            <pc:sldMk cId="1713740097" sldId="281"/>
            <ac:spMk id="17" creationId="{00000000-0000-0000-0000-000000000000}"/>
          </ac:spMkLst>
        </pc:spChg>
        <pc:spChg chg="mod">
          <ac:chgData name="Ying Yang" userId="f1527f9b-a873-4aa2-b225-cf8fd3466e0d" providerId="ADAL" clId="{A30A5C05-46CF-4F03-AB5B-503FD66274CE}" dt="2022-06-13T08:47:04.555" v="5197" actId="164"/>
          <ac:spMkLst>
            <pc:docMk/>
            <pc:sldMk cId="1713740097" sldId="281"/>
            <ac:spMk id="20" creationId="{00000000-0000-0000-0000-000000000000}"/>
          </ac:spMkLst>
        </pc:spChg>
        <pc:spChg chg="mod">
          <ac:chgData name="Ying Yang" userId="f1527f9b-a873-4aa2-b225-cf8fd3466e0d" providerId="ADAL" clId="{A30A5C05-46CF-4F03-AB5B-503FD66274CE}" dt="2022-06-13T08:47:04.555" v="5197" actId="164"/>
          <ac:spMkLst>
            <pc:docMk/>
            <pc:sldMk cId="1713740097" sldId="281"/>
            <ac:spMk id="21" creationId="{00000000-0000-0000-0000-000000000000}"/>
          </ac:spMkLst>
        </pc:spChg>
        <pc:spChg chg="mod">
          <ac:chgData name="Ying Yang" userId="f1527f9b-a873-4aa2-b225-cf8fd3466e0d" providerId="ADAL" clId="{A30A5C05-46CF-4F03-AB5B-503FD66274CE}" dt="2022-06-13T08:47:04.555" v="5197" actId="164"/>
          <ac:spMkLst>
            <pc:docMk/>
            <pc:sldMk cId="1713740097" sldId="281"/>
            <ac:spMk id="22" creationId="{00000000-0000-0000-0000-000000000000}"/>
          </ac:spMkLst>
        </pc:spChg>
        <pc:spChg chg="mod">
          <ac:chgData name="Ying Yang" userId="f1527f9b-a873-4aa2-b225-cf8fd3466e0d" providerId="ADAL" clId="{A30A5C05-46CF-4F03-AB5B-503FD66274CE}" dt="2022-06-13T08:47:04.555" v="5197" actId="164"/>
          <ac:spMkLst>
            <pc:docMk/>
            <pc:sldMk cId="1713740097" sldId="281"/>
            <ac:spMk id="23" creationId="{00000000-0000-0000-0000-000000000000}"/>
          </ac:spMkLst>
        </pc:spChg>
        <pc:spChg chg="mod">
          <ac:chgData name="Ying Yang" userId="f1527f9b-a873-4aa2-b225-cf8fd3466e0d" providerId="ADAL" clId="{A30A5C05-46CF-4F03-AB5B-503FD66274CE}" dt="2022-06-13T08:47:04.555" v="5197" actId="164"/>
          <ac:spMkLst>
            <pc:docMk/>
            <pc:sldMk cId="1713740097" sldId="281"/>
            <ac:spMk id="25" creationId="{00000000-0000-0000-0000-000000000000}"/>
          </ac:spMkLst>
        </pc:spChg>
        <pc:spChg chg="mod">
          <ac:chgData name="Ying Yang" userId="f1527f9b-a873-4aa2-b225-cf8fd3466e0d" providerId="ADAL" clId="{A30A5C05-46CF-4F03-AB5B-503FD66274CE}" dt="2022-06-13T08:47:04.555" v="5197" actId="164"/>
          <ac:spMkLst>
            <pc:docMk/>
            <pc:sldMk cId="1713740097" sldId="281"/>
            <ac:spMk id="26" creationId="{00000000-0000-0000-0000-000000000000}"/>
          </ac:spMkLst>
        </pc:spChg>
        <pc:spChg chg="mod">
          <ac:chgData name="Ying Yang" userId="f1527f9b-a873-4aa2-b225-cf8fd3466e0d" providerId="ADAL" clId="{A30A5C05-46CF-4F03-AB5B-503FD66274CE}" dt="2022-06-13T08:47:04.555" v="5197" actId="164"/>
          <ac:spMkLst>
            <pc:docMk/>
            <pc:sldMk cId="1713740097" sldId="281"/>
            <ac:spMk id="27" creationId="{00000000-0000-0000-0000-000000000000}"/>
          </ac:spMkLst>
        </pc:spChg>
        <pc:spChg chg="mod">
          <ac:chgData name="Ying Yang" userId="f1527f9b-a873-4aa2-b225-cf8fd3466e0d" providerId="ADAL" clId="{A30A5C05-46CF-4F03-AB5B-503FD66274CE}" dt="2022-06-13T08:47:04.555" v="5197" actId="164"/>
          <ac:spMkLst>
            <pc:docMk/>
            <pc:sldMk cId="1713740097" sldId="281"/>
            <ac:spMk id="28" creationId="{00000000-0000-0000-0000-000000000000}"/>
          </ac:spMkLst>
        </pc:spChg>
        <pc:spChg chg="mod">
          <ac:chgData name="Ying Yang" userId="f1527f9b-a873-4aa2-b225-cf8fd3466e0d" providerId="ADAL" clId="{A30A5C05-46CF-4F03-AB5B-503FD66274CE}" dt="2022-06-13T08:47:04.555" v="5197" actId="164"/>
          <ac:spMkLst>
            <pc:docMk/>
            <pc:sldMk cId="1713740097" sldId="281"/>
            <ac:spMk id="29" creationId="{00000000-0000-0000-0000-000000000000}"/>
          </ac:spMkLst>
        </pc:spChg>
        <pc:spChg chg="mod">
          <ac:chgData name="Ying Yang" userId="f1527f9b-a873-4aa2-b225-cf8fd3466e0d" providerId="ADAL" clId="{A30A5C05-46CF-4F03-AB5B-503FD66274CE}" dt="2022-06-13T08:47:04.555" v="5197" actId="164"/>
          <ac:spMkLst>
            <pc:docMk/>
            <pc:sldMk cId="1713740097" sldId="281"/>
            <ac:spMk id="30" creationId="{00000000-0000-0000-0000-000000000000}"/>
          </ac:spMkLst>
        </pc:spChg>
        <pc:spChg chg="mod">
          <ac:chgData name="Ying Yang" userId="f1527f9b-a873-4aa2-b225-cf8fd3466e0d" providerId="ADAL" clId="{A30A5C05-46CF-4F03-AB5B-503FD66274CE}" dt="2022-06-13T08:47:04.555" v="5197" actId="164"/>
          <ac:spMkLst>
            <pc:docMk/>
            <pc:sldMk cId="1713740097" sldId="281"/>
            <ac:spMk id="31" creationId="{00000000-0000-0000-0000-000000000000}"/>
          </ac:spMkLst>
        </pc:spChg>
        <pc:spChg chg="mod">
          <ac:chgData name="Ying Yang" userId="f1527f9b-a873-4aa2-b225-cf8fd3466e0d" providerId="ADAL" clId="{A30A5C05-46CF-4F03-AB5B-503FD66274CE}" dt="2022-06-13T08:47:04.555" v="5197" actId="164"/>
          <ac:spMkLst>
            <pc:docMk/>
            <pc:sldMk cId="1713740097" sldId="281"/>
            <ac:spMk id="32" creationId="{00000000-0000-0000-0000-000000000000}"/>
          </ac:spMkLst>
        </pc:spChg>
        <pc:spChg chg="mod">
          <ac:chgData name="Ying Yang" userId="f1527f9b-a873-4aa2-b225-cf8fd3466e0d" providerId="ADAL" clId="{A30A5C05-46CF-4F03-AB5B-503FD66274CE}" dt="2022-06-13T08:47:04.555" v="5197" actId="164"/>
          <ac:spMkLst>
            <pc:docMk/>
            <pc:sldMk cId="1713740097" sldId="281"/>
            <ac:spMk id="34" creationId="{54405246-CCE2-4201-BBB1-D3F3EB6E740D}"/>
          </ac:spMkLst>
        </pc:spChg>
        <pc:spChg chg="mod">
          <ac:chgData name="Ying Yang" userId="f1527f9b-a873-4aa2-b225-cf8fd3466e0d" providerId="ADAL" clId="{A30A5C05-46CF-4F03-AB5B-503FD66274CE}" dt="2022-06-13T08:47:04.555" v="5197" actId="164"/>
          <ac:spMkLst>
            <pc:docMk/>
            <pc:sldMk cId="1713740097" sldId="281"/>
            <ac:spMk id="35" creationId="{54405246-CCE2-4201-BBB1-D3F3EB6E740D}"/>
          </ac:spMkLst>
        </pc:spChg>
        <pc:spChg chg="mod">
          <ac:chgData name="Ying Yang" userId="f1527f9b-a873-4aa2-b225-cf8fd3466e0d" providerId="ADAL" clId="{A30A5C05-46CF-4F03-AB5B-503FD66274CE}" dt="2022-06-13T08:47:04.555" v="5197" actId="164"/>
          <ac:spMkLst>
            <pc:docMk/>
            <pc:sldMk cId="1713740097" sldId="281"/>
            <ac:spMk id="36" creationId="{54405246-CCE2-4201-BBB1-D3F3EB6E740D}"/>
          </ac:spMkLst>
        </pc:spChg>
        <pc:spChg chg="mod">
          <ac:chgData name="Ying Yang" userId="f1527f9b-a873-4aa2-b225-cf8fd3466e0d" providerId="ADAL" clId="{A30A5C05-46CF-4F03-AB5B-503FD66274CE}" dt="2022-06-13T08:47:04.555" v="5197" actId="164"/>
          <ac:spMkLst>
            <pc:docMk/>
            <pc:sldMk cId="1713740097" sldId="281"/>
            <ac:spMk id="37" creationId="{54405246-CCE2-4201-BBB1-D3F3EB6E740D}"/>
          </ac:spMkLst>
        </pc:spChg>
        <pc:spChg chg="mod">
          <ac:chgData name="Ying Yang" userId="f1527f9b-a873-4aa2-b225-cf8fd3466e0d" providerId="ADAL" clId="{A30A5C05-46CF-4F03-AB5B-503FD66274CE}" dt="2022-06-13T08:47:04.555" v="5197" actId="164"/>
          <ac:spMkLst>
            <pc:docMk/>
            <pc:sldMk cId="1713740097" sldId="281"/>
            <ac:spMk id="38" creationId="{54405246-CCE2-4201-BBB1-D3F3EB6E740D}"/>
          </ac:spMkLst>
        </pc:spChg>
        <pc:spChg chg="mod">
          <ac:chgData name="Ying Yang" userId="f1527f9b-a873-4aa2-b225-cf8fd3466e0d" providerId="ADAL" clId="{A30A5C05-46CF-4F03-AB5B-503FD66274CE}" dt="2022-06-13T08:47:04.555" v="5197" actId="164"/>
          <ac:spMkLst>
            <pc:docMk/>
            <pc:sldMk cId="1713740097" sldId="281"/>
            <ac:spMk id="40" creationId="{54405246-CCE2-4201-BBB1-D3F3EB6E740D}"/>
          </ac:spMkLst>
        </pc:spChg>
        <pc:grpChg chg="add mod">
          <ac:chgData name="Ying Yang" userId="f1527f9b-a873-4aa2-b225-cf8fd3466e0d" providerId="ADAL" clId="{A30A5C05-46CF-4F03-AB5B-503FD66274CE}" dt="2022-06-13T08:47:04.555" v="5197" actId="164"/>
          <ac:grpSpMkLst>
            <pc:docMk/>
            <pc:sldMk cId="1713740097" sldId="281"/>
            <ac:grpSpMk id="3" creationId="{2C7BD9B8-26F1-4582-992E-0F31070CBC5E}"/>
          </ac:grpSpMkLst>
        </pc:grpChg>
        <pc:cxnChg chg="mod">
          <ac:chgData name="Ying Yang" userId="f1527f9b-a873-4aa2-b225-cf8fd3466e0d" providerId="ADAL" clId="{A30A5C05-46CF-4F03-AB5B-503FD66274CE}" dt="2022-06-13T08:47:04.555" v="5197" actId="164"/>
          <ac:cxnSpMkLst>
            <pc:docMk/>
            <pc:sldMk cId="1713740097" sldId="281"/>
            <ac:cxnSpMk id="10" creationId="{00000000-0000-0000-0000-000000000000}"/>
          </ac:cxnSpMkLst>
        </pc:cxnChg>
      </pc:sldChg>
      <pc:sldChg chg="addSp delSp modSp add mod">
        <pc:chgData name="Ying Yang" userId="f1527f9b-a873-4aa2-b225-cf8fd3466e0d" providerId="ADAL" clId="{A30A5C05-46CF-4F03-AB5B-503FD66274CE}" dt="2022-06-13T09:45:17.629" v="6205" actId="164"/>
        <pc:sldMkLst>
          <pc:docMk/>
          <pc:sldMk cId="0" sldId="304"/>
        </pc:sldMkLst>
        <pc:spChg chg="add mod">
          <ac:chgData name="Ying Yang" userId="f1527f9b-a873-4aa2-b225-cf8fd3466e0d" providerId="ADAL" clId="{A30A5C05-46CF-4F03-AB5B-503FD66274CE}" dt="2022-06-09T02:09:33.660" v="2818" actId="948"/>
          <ac:spMkLst>
            <pc:docMk/>
            <pc:sldMk cId="0" sldId="304"/>
            <ac:spMk id="7" creationId="{5405E20E-DDAB-4F9B-8028-923099637D54}"/>
          </ac:spMkLst>
        </pc:spChg>
        <pc:spChg chg="add del mod">
          <ac:chgData name="Ying Yang" userId="f1527f9b-a873-4aa2-b225-cf8fd3466e0d" providerId="ADAL" clId="{A30A5C05-46CF-4F03-AB5B-503FD66274CE}" dt="2022-06-08T08:16:34.745" v="1192" actId="478"/>
          <ac:spMkLst>
            <pc:docMk/>
            <pc:sldMk cId="0" sldId="304"/>
            <ac:spMk id="8" creationId="{A6C8E352-CC92-455C-9ABD-ADA540306185}"/>
          </ac:spMkLst>
        </pc:spChg>
        <pc:spChg chg="mod">
          <ac:chgData name="Ying Yang" userId="f1527f9b-a873-4aa2-b225-cf8fd3466e0d" providerId="ADAL" clId="{A30A5C05-46CF-4F03-AB5B-503FD66274CE}" dt="2022-06-13T07:45:21.173" v="4390" actId="404"/>
          <ac:spMkLst>
            <pc:docMk/>
            <pc:sldMk cId="0" sldId="304"/>
            <ac:spMk id="14" creationId="{00000000-0000-0000-0000-000000000000}"/>
          </ac:spMkLst>
        </pc:spChg>
        <pc:spChg chg="mod">
          <ac:chgData name="Ying Yang" userId="f1527f9b-a873-4aa2-b225-cf8fd3466e0d" providerId="ADAL" clId="{A30A5C05-46CF-4F03-AB5B-503FD66274CE}" dt="2022-06-13T07:45:21.173" v="4390" actId="404"/>
          <ac:spMkLst>
            <pc:docMk/>
            <pc:sldMk cId="0" sldId="304"/>
            <ac:spMk id="15" creationId="{00000000-0000-0000-0000-000000000000}"/>
          </ac:spMkLst>
        </pc:spChg>
        <pc:spChg chg="add del mod">
          <ac:chgData name="Ying Yang" userId="f1527f9b-a873-4aa2-b225-cf8fd3466e0d" providerId="ADAL" clId="{A30A5C05-46CF-4F03-AB5B-503FD66274CE}" dt="2022-06-08T08:21:43.661" v="1283" actId="478"/>
          <ac:spMkLst>
            <pc:docMk/>
            <pc:sldMk cId="0" sldId="304"/>
            <ac:spMk id="17" creationId="{0DFA595B-9680-4CF0-9867-399D9A300B8A}"/>
          </ac:spMkLst>
        </pc:spChg>
        <pc:spChg chg="mod">
          <ac:chgData name="Ying Yang" userId="f1527f9b-a873-4aa2-b225-cf8fd3466e0d" providerId="ADAL" clId="{A30A5C05-46CF-4F03-AB5B-503FD66274CE}" dt="2022-06-13T09:45:17.629" v="6205" actId="164"/>
          <ac:spMkLst>
            <pc:docMk/>
            <pc:sldMk cId="0" sldId="304"/>
            <ac:spMk id="18" creationId="{00000000-0000-0000-0000-000000000000}"/>
          </ac:spMkLst>
        </pc:spChg>
        <pc:spChg chg="add del mod">
          <ac:chgData name="Ying Yang" userId="f1527f9b-a873-4aa2-b225-cf8fd3466e0d" providerId="ADAL" clId="{A30A5C05-46CF-4F03-AB5B-503FD66274CE}" dt="2022-06-08T08:21:44.296" v="1284" actId="478"/>
          <ac:spMkLst>
            <pc:docMk/>
            <pc:sldMk cId="0" sldId="304"/>
            <ac:spMk id="21" creationId="{EBA1C80E-4CA8-4C9C-812C-A0DFD1E32070}"/>
          </ac:spMkLst>
        </pc:spChg>
        <pc:spChg chg="add del mod">
          <ac:chgData name="Ying Yang" userId="f1527f9b-a873-4aa2-b225-cf8fd3466e0d" providerId="ADAL" clId="{A30A5C05-46CF-4F03-AB5B-503FD66274CE}" dt="2022-06-08T08:21:44.661" v="1285" actId="478"/>
          <ac:spMkLst>
            <pc:docMk/>
            <pc:sldMk cId="0" sldId="304"/>
            <ac:spMk id="22" creationId="{161C649F-4E46-47D8-BF4D-7A34F794E969}"/>
          </ac:spMkLst>
        </pc:spChg>
        <pc:spChg chg="add del mod">
          <ac:chgData name="Ying Yang" userId="f1527f9b-a873-4aa2-b225-cf8fd3466e0d" providerId="ADAL" clId="{A30A5C05-46CF-4F03-AB5B-503FD66274CE}" dt="2022-06-08T08:21:45.328" v="1286" actId="478"/>
          <ac:spMkLst>
            <pc:docMk/>
            <pc:sldMk cId="0" sldId="304"/>
            <ac:spMk id="23" creationId="{FBAB8EF1-115A-4341-9737-39D75A3C4BB4}"/>
          </ac:spMkLst>
        </pc:spChg>
        <pc:spChg chg="add del mod">
          <ac:chgData name="Ying Yang" userId="f1527f9b-a873-4aa2-b225-cf8fd3466e0d" providerId="ADAL" clId="{A30A5C05-46CF-4F03-AB5B-503FD66274CE}" dt="2022-06-08T08:16:29.213" v="1188"/>
          <ac:spMkLst>
            <pc:docMk/>
            <pc:sldMk cId="0" sldId="304"/>
            <ac:spMk id="24" creationId="{5C28A3E5-459B-40BF-A5CB-320A20977379}"/>
          </ac:spMkLst>
        </pc:spChg>
        <pc:spChg chg="add del mod">
          <ac:chgData name="Ying Yang" userId="f1527f9b-a873-4aa2-b225-cf8fd3466e0d" providerId="ADAL" clId="{A30A5C05-46CF-4F03-AB5B-503FD66274CE}" dt="2022-06-08T08:17:45.142" v="1211" actId="478"/>
          <ac:spMkLst>
            <pc:docMk/>
            <pc:sldMk cId="0" sldId="304"/>
            <ac:spMk id="25" creationId="{BB849144-A08A-44EA-BB78-E6B0E6C9465A}"/>
          </ac:spMkLst>
        </pc:spChg>
        <pc:spChg chg="add mod">
          <ac:chgData name="Ying Yang" userId="f1527f9b-a873-4aa2-b225-cf8fd3466e0d" providerId="ADAL" clId="{A30A5C05-46CF-4F03-AB5B-503FD66274CE}" dt="2022-06-08T10:01:59.732" v="2693" actId="14100"/>
          <ac:spMkLst>
            <pc:docMk/>
            <pc:sldMk cId="0" sldId="304"/>
            <ac:spMk id="26" creationId="{FEE1F014-AB82-4097-A894-130DDC59DA15}"/>
          </ac:spMkLst>
        </pc:spChg>
        <pc:spChg chg="add del mod ord">
          <ac:chgData name="Ying Yang" userId="f1527f9b-a873-4aa2-b225-cf8fd3466e0d" providerId="ADAL" clId="{A30A5C05-46CF-4F03-AB5B-503FD66274CE}" dt="2022-06-08T08:20:33.910" v="1273" actId="478"/>
          <ac:spMkLst>
            <pc:docMk/>
            <pc:sldMk cId="0" sldId="304"/>
            <ac:spMk id="27" creationId="{5DD27AF3-FEAC-45EB-BE9D-959D3827753E}"/>
          </ac:spMkLst>
        </pc:spChg>
        <pc:spChg chg="mod">
          <ac:chgData name="Ying Yang" userId="f1527f9b-a873-4aa2-b225-cf8fd3466e0d" providerId="ADAL" clId="{A30A5C05-46CF-4F03-AB5B-503FD66274CE}" dt="2022-06-08T08:21:41.782" v="1282"/>
          <ac:spMkLst>
            <pc:docMk/>
            <pc:sldMk cId="0" sldId="304"/>
            <ac:spMk id="29" creationId="{D4C2E19A-8C70-475C-BB7F-70E2F1A54F0C}"/>
          </ac:spMkLst>
        </pc:spChg>
        <pc:spChg chg="mod">
          <ac:chgData name="Ying Yang" userId="f1527f9b-a873-4aa2-b225-cf8fd3466e0d" providerId="ADAL" clId="{A30A5C05-46CF-4F03-AB5B-503FD66274CE}" dt="2022-06-08T08:21:41.782" v="1282"/>
          <ac:spMkLst>
            <pc:docMk/>
            <pc:sldMk cId="0" sldId="304"/>
            <ac:spMk id="30" creationId="{8325D098-93E3-4CB8-85E5-386537049AC7}"/>
          </ac:spMkLst>
        </pc:spChg>
        <pc:spChg chg="mod">
          <ac:chgData name="Ying Yang" userId="f1527f9b-a873-4aa2-b225-cf8fd3466e0d" providerId="ADAL" clId="{A30A5C05-46CF-4F03-AB5B-503FD66274CE}" dt="2022-06-08T09:06:13.477" v="1872" actId="207"/>
          <ac:spMkLst>
            <pc:docMk/>
            <pc:sldMk cId="0" sldId="304"/>
            <ac:spMk id="32" creationId="{F875A037-4328-4A36-A4F9-09F3FFF88E75}"/>
          </ac:spMkLst>
        </pc:spChg>
        <pc:spChg chg="mod">
          <ac:chgData name="Ying Yang" userId="f1527f9b-a873-4aa2-b225-cf8fd3466e0d" providerId="ADAL" clId="{A30A5C05-46CF-4F03-AB5B-503FD66274CE}" dt="2022-06-08T09:02:36.783" v="1673" actId="339"/>
          <ac:spMkLst>
            <pc:docMk/>
            <pc:sldMk cId="0" sldId="304"/>
            <ac:spMk id="33" creationId="{D688DC25-F637-413C-895D-828AC22BC2F2}"/>
          </ac:spMkLst>
        </pc:spChg>
        <pc:spChg chg="mod">
          <ac:chgData name="Ying Yang" userId="f1527f9b-a873-4aa2-b225-cf8fd3466e0d" providerId="ADAL" clId="{A30A5C05-46CF-4F03-AB5B-503FD66274CE}" dt="2022-06-08T09:06:07.014" v="1870" actId="207"/>
          <ac:spMkLst>
            <pc:docMk/>
            <pc:sldMk cId="0" sldId="304"/>
            <ac:spMk id="35" creationId="{5D9420D3-0EEF-4F60-96D6-B7E7FDD4ACA8}"/>
          </ac:spMkLst>
        </pc:spChg>
        <pc:spChg chg="mod">
          <ac:chgData name="Ying Yang" userId="f1527f9b-a873-4aa2-b225-cf8fd3466e0d" providerId="ADAL" clId="{A30A5C05-46CF-4F03-AB5B-503FD66274CE}" dt="2022-06-08T09:02:32.258" v="1672" actId="339"/>
          <ac:spMkLst>
            <pc:docMk/>
            <pc:sldMk cId="0" sldId="304"/>
            <ac:spMk id="36" creationId="{1165D3EF-009F-41FC-A785-A276FD1745CE}"/>
          </ac:spMkLst>
        </pc:spChg>
        <pc:spChg chg="mod">
          <ac:chgData name="Ying Yang" userId="f1527f9b-a873-4aa2-b225-cf8fd3466e0d" providerId="ADAL" clId="{A30A5C05-46CF-4F03-AB5B-503FD66274CE}" dt="2022-06-09T02:10:25.270" v="2835" actId="14100"/>
          <ac:spMkLst>
            <pc:docMk/>
            <pc:sldMk cId="0" sldId="304"/>
            <ac:spMk id="38" creationId="{1183F29C-CC1D-49A4-8130-B850FBF1869D}"/>
          </ac:spMkLst>
        </pc:spChg>
        <pc:spChg chg="mod">
          <ac:chgData name="Ying Yang" userId="f1527f9b-a873-4aa2-b225-cf8fd3466e0d" providerId="ADAL" clId="{A30A5C05-46CF-4F03-AB5B-503FD66274CE}" dt="2022-06-08T09:02:26.943" v="1671" actId="339"/>
          <ac:spMkLst>
            <pc:docMk/>
            <pc:sldMk cId="0" sldId="304"/>
            <ac:spMk id="39" creationId="{2895C0BA-25C5-4691-AB13-8F17A2BE55C7}"/>
          </ac:spMkLst>
        </pc:spChg>
        <pc:spChg chg="mod">
          <ac:chgData name="Ying Yang" userId="f1527f9b-a873-4aa2-b225-cf8fd3466e0d" providerId="ADAL" clId="{A30A5C05-46CF-4F03-AB5B-503FD66274CE}" dt="2022-06-08T09:05:41.770" v="1855" actId="207"/>
          <ac:spMkLst>
            <pc:docMk/>
            <pc:sldMk cId="0" sldId="304"/>
            <ac:spMk id="41" creationId="{67428D2D-B039-41DE-902A-DD249AA613B9}"/>
          </ac:spMkLst>
        </pc:spChg>
        <pc:spChg chg="mod">
          <ac:chgData name="Ying Yang" userId="f1527f9b-a873-4aa2-b225-cf8fd3466e0d" providerId="ADAL" clId="{A30A5C05-46CF-4F03-AB5B-503FD66274CE}" dt="2022-06-08T08:59:36.455" v="1631" actId="207"/>
          <ac:spMkLst>
            <pc:docMk/>
            <pc:sldMk cId="0" sldId="304"/>
            <ac:spMk id="42" creationId="{0D383D67-1F1C-458E-8C4D-B0DAD031D6A2}"/>
          </ac:spMkLst>
        </pc:spChg>
        <pc:spChg chg="mod">
          <ac:chgData name="Ying Yang" userId="f1527f9b-a873-4aa2-b225-cf8fd3466e0d" providerId="ADAL" clId="{A30A5C05-46CF-4F03-AB5B-503FD66274CE}" dt="2022-06-08T08:48:35.199" v="1421" actId="165"/>
          <ac:spMkLst>
            <pc:docMk/>
            <pc:sldMk cId="0" sldId="304"/>
            <ac:spMk id="47" creationId="{1B8A3490-EDF7-49B4-860A-04CAAD5D8EA3}"/>
          </ac:spMkLst>
        </pc:spChg>
        <pc:spChg chg="mod">
          <ac:chgData name="Ying Yang" userId="f1527f9b-a873-4aa2-b225-cf8fd3466e0d" providerId="ADAL" clId="{A30A5C05-46CF-4F03-AB5B-503FD66274CE}" dt="2022-06-08T08:48:35.199" v="1421" actId="165"/>
          <ac:spMkLst>
            <pc:docMk/>
            <pc:sldMk cId="0" sldId="304"/>
            <ac:spMk id="48" creationId="{17C41705-A231-42C5-9198-6491663DCA3D}"/>
          </ac:spMkLst>
        </pc:spChg>
        <pc:spChg chg="mod">
          <ac:chgData name="Ying Yang" userId="f1527f9b-a873-4aa2-b225-cf8fd3466e0d" providerId="ADAL" clId="{A30A5C05-46CF-4F03-AB5B-503FD66274CE}" dt="2022-06-08T08:50:12.622" v="1465" actId="1076"/>
          <ac:spMkLst>
            <pc:docMk/>
            <pc:sldMk cId="0" sldId="304"/>
            <ac:spMk id="49" creationId="{D387452E-9377-4BFE-9AF7-28FF00AF0DF5}"/>
          </ac:spMkLst>
        </pc:spChg>
        <pc:spChg chg="mod">
          <ac:chgData name="Ying Yang" userId="f1527f9b-a873-4aa2-b225-cf8fd3466e0d" providerId="ADAL" clId="{A30A5C05-46CF-4F03-AB5B-503FD66274CE}" dt="2022-06-09T02:09:59.519" v="2821" actId="108"/>
          <ac:spMkLst>
            <pc:docMk/>
            <pc:sldMk cId="0" sldId="304"/>
            <ac:spMk id="50" creationId="{27B94417-3E30-4A71-9D4D-3C2EFA161513}"/>
          </ac:spMkLst>
        </pc:spChg>
        <pc:spChg chg="mod">
          <ac:chgData name="Ying Yang" userId="f1527f9b-a873-4aa2-b225-cf8fd3466e0d" providerId="ADAL" clId="{A30A5C05-46CF-4F03-AB5B-503FD66274CE}" dt="2022-06-08T08:50:02.025" v="1462" actId="1076"/>
          <ac:spMkLst>
            <pc:docMk/>
            <pc:sldMk cId="0" sldId="304"/>
            <ac:spMk id="51" creationId="{0316BE0E-DC2D-481C-B8A4-2C8AC1BBE379}"/>
          </ac:spMkLst>
        </pc:spChg>
        <pc:spChg chg="del mod">
          <ac:chgData name="Ying Yang" userId="f1527f9b-a873-4aa2-b225-cf8fd3466e0d" providerId="ADAL" clId="{A30A5C05-46CF-4F03-AB5B-503FD66274CE}" dt="2022-06-08T08:49:16.778" v="1434" actId="478"/>
          <ac:spMkLst>
            <pc:docMk/>
            <pc:sldMk cId="0" sldId="304"/>
            <ac:spMk id="52" creationId="{EF2A0A01-B5C6-465B-95C0-ED4FBD2C35A9}"/>
          </ac:spMkLst>
        </pc:spChg>
        <pc:spChg chg="mod">
          <ac:chgData name="Ying Yang" userId="f1527f9b-a873-4aa2-b225-cf8fd3466e0d" providerId="ADAL" clId="{A30A5C05-46CF-4F03-AB5B-503FD66274CE}" dt="2022-06-08T08:48:35.199" v="1421" actId="165"/>
          <ac:spMkLst>
            <pc:docMk/>
            <pc:sldMk cId="0" sldId="304"/>
            <ac:spMk id="53" creationId="{EC33DBF0-6752-4C3F-A272-8E10A680223E}"/>
          </ac:spMkLst>
        </pc:spChg>
        <pc:spChg chg="mod">
          <ac:chgData name="Ying Yang" userId="f1527f9b-a873-4aa2-b225-cf8fd3466e0d" providerId="ADAL" clId="{A30A5C05-46CF-4F03-AB5B-503FD66274CE}" dt="2022-06-08T08:48:35.199" v="1421" actId="165"/>
          <ac:spMkLst>
            <pc:docMk/>
            <pc:sldMk cId="0" sldId="304"/>
            <ac:spMk id="54" creationId="{1E2AFD45-682B-4C6F-BE26-B95BD3F038B5}"/>
          </ac:spMkLst>
        </pc:spChg>
        <pc:spChg chg="mod">
          <ac:chgData name="Ying Yang" userId="f1527f9b-a873-4aa2-b225-cf8fd3466e0d" providerId="ADAL" clId="{A30A5C05-46CF-4F03-AB5B-503FD66274CE}" dt="2022-06-08T08:48:35.199" v="1421" actId="165"/>
          <ac:spMkLst>
            <pc:docMk/>
            <pc:sldMk cId="0" sldId="304"/>
            <ac:spMk id="55" creationId="{023DD75D-6B0C-4556-81C0-E86B4B5FF13D}"/>
          </ac:spMkLst>
        </pc:spChg>
        <pc:spChg chg="mod">
          <ac:chgData name="Ying Yang" userId="f1527f9b-a873-4aa2-b225-cf8fd3466e0d" providerId="ADAL" clId="{A30A5C05-46CF-4F03-AB5B-503FD66274CE}" dt="2022-06-08T08:48:35.199" v="1421" actId="165"/>
          <ac:spMkLst>
            <pc:docMk/>
            <pc:sldMk cId="0" sldId="304"/>
            <ac:spMk id="56" creationId="{5F15A462-DDB5-4653-B44A-39BEC4282833}"/>
          </ac:spMkLst>
        </pc:spChg>
        <pc:spChg chg="mod">
          <ac:chgData name="Ying Yang" userId="f1527f9b-a873-4aa2-b225-cf8fd3466e0d" providerId="ADAL" clId="{A30A5C05-46CF-4F03-AB5B-503FD66274CE}" dt="2022-06-08T08:48:35.199" v="1421" actId="165"/>
          <ac:spMkLst>
            <pc:docMk/>
            <pc:sldMk cId="0" sldId="304"/>
            <ac:spMk id="57" creationId="{28F4AA1D-A081-4BCA-9495-EDD6AB819DB9}"/>
          </ac:spMkLst>
        </pc:spChg>
        <pc:spChg chg="mod">
          <ac:chgData name="Ying Yang" userId="f1527f9b-a873-4aa2-b225-cf8fd3466e0d" providerId="ADAL" clId="{A30A5C05-46CF-4F03-AB5B-503FD66274CE}" dt="2022-06-08T08:49:48.619" v="1456" actId="1076"/>
          <ac:spMkLst>
            <pc:docMk/>
            <pc:sldMk cId="0" sldId="304"/>
            <ac:spMk id="58" creationId="{2290E371-3AAF-47D5-94A5-726F218B51AE}"/>
          </ac:spMkLst>
        </pc:spChg>
        <pc:spChg chg="mod">
          <ac:chgData name="Ying Yang" userId="f1527f9b-a873-4aa2-b225-cf8fd3466e0d" providerId="ADAL" clId="{A30A5C05-46CF-4F03-AB5B-503FD66274CE}" dt="2022-06-09T02:10:03.905" v="2825" actId="1036"/>
          <ac:spMkLst>
            <pc:docMk/>
            <pc:sldMk cId="0" sldId="304"/>
            <ac:spMk id="59" creationId="{A84B1787-CC23-4C36-B906-7593FCF99B12}"/>
          </ac:spMkLst>
        </pc:spChg>
        <pc:spChg chg="mod">
          <ac:chgData name="Ying Yang" userId="f1527f9b-a873-4aa2-b225-cf8fd3466e0d" providerId="ADAL" clId="{A30A5C05-46CF-4F03-AB5B-503FD66274CE}" dt="2022-06-08T08:48:35.199" v="1421" actId="165"/>
          <ac:spMkLst>
            <pc:docMk/>
            <pc:sldMk cId="0" sldId="304"/>
            <ac:spMk id="60" creationId="{9A3E25A4-A0CD-4A16-AE17-C73FA82CED9A}"/>
          </ac:spMkLst>
        </pc:spChg>
        <pc:spChg chg="del mod">
          <ac:chgData name="Ying Yang" userId="f1527f9b-a873-4aa2-b225-cf8fd3466e0d" providerId="ADAL" clId="{A30A5C05-46CF-4F03-AB5B-503FD66274CE}" dt="2022-06-08T08:49:15.540" v="1433" actId="478"/>
          <ac:spMkLst>
            <pc:docMk/>
            <pc:sldMk cId="0" sldId="304"/>
            <ac:spMk id="61" creationId="{CE0F5A5C-793A-424D-95F8-D1DFAB9B6C2F}"/>
          </ac:spMkLst>
        </pc:spChg>
        <pc:spChg chg="mod">
          <ac:chgData name="Ying Yang" userId="f1527f9b-a873-4aa2-b225-cf8fd3466e0d" providerId="ADAL" clId="{A30A5C05-46CF-4F03-AB5B-503FD66274CE}" dt="2022-06-08T08:48:35.199" v="1421" actId="165"/>
          <ac:spMkLst>
            <pc:docMk/>
            <pc:sldMk cId="0" sldId="304"/>
            <ac:spMk id="62" creationId="{548FD43D-4D6C-4ABF-BFB2-21E316C44DA9}"/>
          </ac:spMkLst>
        </pc:spChg>
        <pc:spChg chg="mod">
          <ac:chgData name="Ying Yang" userId="f1527f9b-a873-4aa2-b225-cf8fd3466e0d" providerId="ADAL" clId="{A30A5C05-46CF-4F03-AB5B-503FD66274CE}" dt="2022-06-08T08:48:35.199" v="1421" actId="165"/>
          <ac:spMkLst>
            <pc:docMk/>
            <pc:sldMk cId="0" sldId="304"/>
            <ac:spMk id="63" creationId="{A00AF7E8-4996-4A32-881E-6E6F412DFD5A}"/>
          </ac:spMkLst>
        </pc:spChg>
        <pc:spChg chg="mod">
          <ac:chgData name="Ying Yang" userId="f1527f9b-a873-4aa2-b225-cf8fd3466e0d" providerId="ADAL" clId="{A30A5C05-46CF-4F03-AB5B-503FD66274CE}" dt="2022-06-08T08:48:35.199" v="1421" actId="165"/>
          <ac:spMkLst>
            <pc:docMk/>
            <pc:sldMk cId="0" sldId="304"/>
            <ac:spMk id="64" creationId="{E8973990-32DA-4773-B268-CF1D6EF06BC7}"/>
          </ac:spMkLst>
        </pc:spChg>
        <pc:spChg chg="mod">
          <ac:chgData name="Ying Yang" userId="f1527f9b-a873-4aa2-b225-cf8fd3466e0d" providerId="ADAL" clId="{A30A5C05-46CF-4F03-AB5B-503FD66274CE}" dt="2022-06-08T08:48:35.199" v="1421" actId="165"/>
          <ac:spMkLst>
            <pc:docMk/>
            <pc:sldMk cId="0" sldId="304"/>
            <ac:spMk id="65" creationId="{F3B823AA-A9E8-40F7-B2FB-24A9D855944B}"/>
          </ac:spMkLst>
        </pc:spChg>
        <pc:spChg chg="mod">
          <ac:chgData name="Ying Yang" userId="f1527f9b-a873-4aa2-b225-cf8fd3466e0d" providerId="ADAL" clId="{A30A5C05-46CF-4F03-AB5B-503FD66274CE}" dt="2022-06-08T08:48:35.199" v="1421" actId="165"/>
          <ac:spMkLst>
            <pc:docMk/>
            <pc:sldMk cId="0" sldId="304"/>
            <ac:spMk id="66" creationId="{A99B7382-1E06-420A-BFA4-F3706FE86E02}"/>
          </ac:spMkLst>
        </pc:spChg>
        <pc:spChg chg="mod">
          <ac:chgData name="Ying Yang" userId="f1527f9b-a873-4aa2-b225-cf8fd3466e0d" providerId="ADAL" clId="{A30A5C05-46CF-4F03-AB5B-503FD66274CE}" dt="2022-06-08T08:54:43.128" v="1560" actId="14100"/>
          <ac:spMkLst>
            <pc:docMk/>
            <pc:sldMk cId="0" sldId="304"/>
            <ac:spMk id="67" creationId="{CCCA27DD-95D7-4792-9216-BAD6A11FEE96}"/>
          </ac:spMkLst>
        </pc:spChg>
        <pc:spChg chg="mod">
          <ac:chgData name="Ying Yang" userId="f1527f9b-a873-4aa2-b225-cf8fd3466e0d" providerId="ADAL" clId="{A30A5C05-46CF-4F03-AB5B-503FD66274CE}" dt="2022-06-09T02:09:55.092" v="2819" actId="108"/>
          <ac:spMkLst>
            <pc:docMk/>
            <pc:sldMk cId="0" sldId="304"/>
            <ac:spMk id="68" creationId="{D01A8D23-9A95-455A-9517-29FD0E9D51D7}"/>
          </ac:spMkLst>
        </pc:spChg>
        <pc:spChg chg="mod">
          <ac:chgData name="Ying Yang" userId="f1527f9b-a873-4aa2-b225-cf8fd3466e0d" providerId="ADAL" clId="{A30A5C05-46CF-4F03-AB5B-503FD66274CE}" dt="2022-06-08T08:48:35.199" v="1421" actId="165"/>
          <ac:spMkLst>
            <pc:docMk/>
            <pc:sldMk cId="0" sldId="304"/>
            <ac:spMk id="69" creationId="{BDA8A365-FF33-4BE6-82C6-92179D772E00}"/>
          </ac:spMkLst>
        </pc:spChg>
        <pc:spChg chg="del mod">
          <ac:chgData name="Ying Yang" userId="f1527f9b-a873-4aa2-b225-cf8fd3466e0d" providerId="ADAL" clId="{A30A5C05-46CF-4F03-AB5B-503FD66274CE}" dt="2022-06-08T08:49:03.921" v="1429" actId="478"/>
          <ac:spMkLst>
            <pc:docMk/>
            <pc:sldMk cId="0" sldId="304"/>
            <ac:spMk id="70" creationId="{36034BE2-3BEE-42A4-9235-2096A78FA348}"/>
          </ac:spMkLst>
        </pc:spChg>
        <pc:spChg chg="mod">
          <ac:chgData name="Ying Yang" userId="f1527f9b-a873-4aa2-b225-cf8fd3466e0d" providerId="ADAL" clId="{A30A5C05-46CF-4F03-AB5B-503FD66274CE}" dt="2022-06-08T08:48:35.199" v="1421" actId="165"/>
          <ac:spMkLst>
            <pc:docMk/>
            <pc:sldMk cId="0" sldId="304"/>
            <ac:spMk id="71" creationId="{87C89BF9-8216-4322-9030-0D8F85D9509C}"/>
          </ac:spMkLst>
        </pc:spChg>
        <pc:spChg chg="mod">
          <ac:chgData name="Ying Yang" userId="f1527f9b-a873-4aa2-b225-cf8fd3466e0d" providerId="ADAL" clId="{A30A5C05-46CF-4F03-AB5B-503FD66274CE}" dt="2022-06-08T08:48:35.199" v="1421" actId="165"/>
          <ac:spMkLst>
            <pc:docMk/>
            <pc:sldMk cId="0" sldId="304"/>
            <ac:spMk id="72" creationId="{0E6C2E64-3087-4578-8899-3045BBFA4A3B}"/>
          </ac:spMkLst>
        </pc:spChg>
        <pc:spChg chg="mod">
          <ac:chgData name="Ying Yang" userId="f1527f9b-a873-4aa2-b225-cf8fd3466e0d" providerId="ADAL" clId="{A30A5C05-46CF-4F03-AB5B-503FD66274CE}" dt="2022-06-08T08:48:35.199" v="1421" actId="165"/>
          <ac:spMkLst>
            <pc:docMk/>
            <pc:sldMk cId="0" sldId="304"/>
            <ac:spMk id="73" creationId="{C3620EC4-594C-4BBA-A5B1-0B8BC9FD9EDD}"/>
          </ac:spMkLst>
        </pc:spChg>
        <pc:spChg chg="mod">
          <ac:chgData name="Ying Yang" userId="f1527f9b-a873-4aa2-b225-cf8fd3466e0d" providerId="ADAL" clId="{A30A5C05-46CF-4F03-AB5B-503FD66274CE}" dt="2022-06-08T09:03:33.194" v="1682" actId="14100"/>
          <ac:spMkLst>
            <pc:docMk/>
            <pc:sldMk cId="0" sldId="304"/>
            <ac:spMk id="74" creationId="{00000000-0000-0000-0000-000000000000}"/>
          </ac:spMkLst>
        </pc:spChg>
        <pc:spChg chg="add del mod">
          <ac:chgData name="Ying Yang" userId="f1527f9b-a873-4aa2-b225-cf8fd3466e0d" providerId="ADAL" clId="{A30A5C05-46CF-4F03-AB5B-503FD66274CE}" dt="2022-06-08T09:05:43.863" v="1856" actId="478"/>
          <ac:spMkLst>
            <pc:docMk/>
            <pc:sldMk cId="0" sldId="304"/>
            <ac:spMk id="75" creationId="{810D289A-22E6-43C8-A28B-4B71A6DAFCD2}"/>
          </ac:spMkLst>
        </pc:spChg>
        <pc:spChg chg="mod">
          <ac:chgData name="Ying Yang" userId="f1527f9b-a873-4aa2-b225-cf8fd3466e0d" providerId="ADAL" clId="{A30A5C05-46CF-4F03-AB5B-503FD66274CE}" dt="2022-06-08T09:03:30.917" v="1681" actId="14100"/>
          <ac:spMkLst>
            <pc:docMk/>
            <pc:sldMk cId="0" sldId="304"/>
            <ac:spMk id="77" creationId="{00000000-0000-0000-0000-000000000000}"/>
          </ac:spMkLst>
        </pc:spChg>
        <pc:spChg chg="mod">
          <ac:chgData name="Ying Yang" userId="f1527f9b-a873-4aa2-b225-cf8fd3466e0d" providerId="ADAL" clId="{A30A5C05-46CF-4F03-AB5B-503FD66274CE}" dt="2022-06-08T09:03:28.555" v="1680" actId="14100"/>
          <ac:spMkLst>
            <pc:docMk/>
            <pc:sldMk cId="0" sldId="304"/>
            <ac:spMk id="80" creationId="{00000000-0000-0000-0000-000000000000}"/>
          </ac:spMkLst>
        </pc:spChg>
        <pc:spChg chg="mod">
          <ac:chgData name="Ying Yang" userId="f1527f9b-a873-4aa2-b225-cf8fd3466e0d" providerId="ADAL" clId="{A30A5C05-46CF-4F03-AB5B-503FD66274CE}" dt="2022-06-08T10:03:11.402" v="2716"/>
          <ac:spMkLst>
            <pc:docMk/>
            <pc:sldMk cId="0" sldId="304"/>
            <ac:spMk id="85" creationId="{FAD0CC2D-B77B-4122-9348-E8B94A907810}"/>
          </ac:spMkLst>
        </pc:spChg>
        <pc:spChg chg="mod">
          <ac:chgData name="Ying Yang" userId="f1527f9b-a873-4aa2-b225-cf8fd3466e0d" providerId="ADAL" clId="{A30A5C05-46CF-4F03-AB5B-503FD66274CE}" dt="2022-06-08T10:03:11.402" v="2716"/>
          <ac:spMkLst>
            <pc:docMk/>
            <pc:sldMk cId="0" sldId="304"/>
            <ac:spMk id="87" creationId="{662C3669-F743-41D5-8439-B3E4EA7B4AB7}"/>
          </ac:spMkLst>
        </pc:spChg>
        <pc:spChg chg="mod">
          <ac:chgData name="Ying Yang" userId="f1527f9b-a873-4aa2-b225-cf8fd3466e0d" providerId="ADAL" clId="{A30A5C05-46CF-4F03-AB5B-503FD66274CE}" dt="2022-06-08T10:03:11.402" v="2716"/>
          <ac:spMkLst>
            <pc:docMk/>
            <pc:sldMk cId="0" sldId="304"/>
            <ac:spMk id="88" creationId="{DE389969-1AB0-4108-8A96-C25E0C073568}"/>
          </ac:spMkLst>
        </pc:spChg>
        <pc:spChg chg="mod">
          <ac:chgData name="Ying Yang" userId="f1527f9b-a873-4aa2-b225-cf8fd3466e0d" providerId="ADAL" clId="{A30A5C05-46CF-4F03-AB5B-503FD66274CE}" dt="2022-06-08T10:03:11.402" v="2716"/>
          <ac:spMkLst>
            <pc:docMk/>
            <pc:sldMk cId="0" sldId="304"/>
            <ac:spMk id="89" creationId="{ADA9D5AE-72BA-452C-8354-05E6482719D3}"/>
          </ac:spMkLst>
        </pc:spChg>
        <pc:spChg chg="mod">
          <ac:chgData name="Ying Yang" userId="f1527f9b-a873-4aa2-b225-cf8fd3466e0d" providerId="ADAL" clId="{A30A5C05-46CF-4F03-AB5B-503FD66274CE}" dt="2022-06-08T10:03:11.402" v="2716"/>
          <ac:spMkLst>
            <pc:docMk/>
            <pc:sldMk cId="0" sldId="304"/>
            <ac:spMk id="90" creationId="{97B43E71-DF9A-4C52-A018-82A02FD2BB61}"/>
          </ac:spMkLst>
        </pc:spChg>
        <pc:spChg chg="mod">
          <ac:chgData name="Ying Yang" userId="f1527f9b-a873-4aa2-b225-cf8fd3466e0d" providerId="ADAL" clId="{A30A5C05-46CF-4F03-AB5B-503FD66274CE}" dt="2022-06-08T10:03:11.402" v="2716"/>
          <ac:spMkLst>
            <pc:docMk/>
            <pc:sldMk cId="0" sldId="304"/>
            <ac:spMk id="91" creationId="{E08D4C99-ED0D-4E75-9938-439C61E6886E}"/>
          </ac:spMkLst>
        </pc:spChg>
        <pc:spChg chg="mod">
          <ac:chgData name="Ying Yang" userId="f1527f9b-a873-4aa2-b225-cf8fd3466e0d" providerId="ADAL" clId="{A30A5C05-46CF-4F03-AB5B-503FD66274CE}" dt="2022-06-08T10:03:11.402" v="2716"/>
          <ac:spMkLst>
            <pc:docMk/>
            <pc:sldMk cId="0" sldId="304"/>
            <ac:spMk id="95" creationId="{C51D1422-D4CA-4307-A1A5-894225D568CA}"/>
          </ac:spMkLst>
        </pc:spChg>
        <pc:spChg chg="mod">
          <ac:chgData name="Ying Yang" userId="f1527f9b-a873-4aa2-b225-cf8fd3466e0d" providerId="ADAL" clId="{A30A5C05-46CF-4F03-AB5B-503FD66274CE}" dt="2022-06-08T10:03:11.402" v="2716"/>
          <ac:spMkLst>
            <pc:docMk/>
            <pc:sldMk cId="0" sldId="304"/>
            <ac:spMk id="96" creationId="{4FB8AA1D-B2C6-4703-9DDE-D2A6DC73E481}"/>
          </ac:spMkLst>
        </pc:spChg>
        <pc:spChg chg="mod">
          <ac:chgData name="Ying Yang" userId="f1527f9b-a873-4aa2-b225-cf8fd3466e0d" providerId="ADAL" clId="{A30A5C05-46CF-4F03-AB5B-503FD66274CE}" dt="2022-06-08T10:03:11.402" v="2716"/>
          <ac:spMkLst>
            <pc:docMk/>
            <pc:sldMk cId="0" sldId="304"/>
            <ac:spMk id="97" creationId="{F1019A52-791D-490E-BAEA-C400671B6CEE}"/>
          </ac:spMkLst>
        </pc:spChg>
        <pc:spChg chg="mod">
          <ac:chgData name="Ying Yang" userId="f1527f9b-a873-4aa2-b225-cf8fd3466e0d" providerId="ADAL" clId="{A30A5C05-46CF-4F03-AB5B-503FD66274CE}" dt="2022-06-08T10:03:11.402" v="2716"/>
          <ac:spMkLst>
            <pc:docMk/>
            <pc:sldMk cId="0" sldId="304"/>
            <ac:spMk id="98" creationId="{1060296B-509F-4FAB-ADCA-44B9FC2F392E}"/>
          </ac:spMkLst>
        </pc:spChg>
        <pc:spChg chg="mod">
          <ac:chgData name="Ying Yang" userId="f1527f9b-a873-4aa2-b225-cf8fd3466e0d" providerId="ADAL" clId="{A30A5C05-46CF-4F03-AB5B-503FD66274CE}" dt="2022-06-08T10:03:11.402" v="2716"/>
          <ac:spMkLst>
            <pc:docMk/>
            <pc:sldMk cId="0" sldId="304"/>
            <ac:spMk id="99" creationId="{729932B6-C2F9-43BF-90E3-F9BC4DEAC7F8}"/>
          </ac:spMkLst>
        </pc:spChg>
        <pc:spChg chg="mod">
          <ac:chgData name="Ying Yang" userId="f1527f9b-a873-4aa2-b225-cf8fd3466e0d" providerId="ADAL" clId="{A30A5C05-46CF-4F03-AB5B-503FD66274CE}" dt="2022-06-08T10:03:11.402" v="2716"/>
          <ac:spMkLst>
            <pc:docMk/>
            <pc:sldMk cId="0" sldId="304"/>
            <ac:spMk id="100" creationId="{1939D5C3-00B1-42BD-ADF0-586B0CBA7915}"/>
          </ac:spMkLst>
        </pc:spChg>
        <pc:grpChg chg="add mod">
          <ac:chgData name="Ying Yang" userId="f1527f9b-a873-4aa2-b225-cf8fd3466e0d" providerId="ADAL" clId="{A30A5C05-46CF-4F03-AB5B-503FD66274CE}" dt="2022-06-13T07:45:29.464" v="4394" actId="1076"/>
          <ac:grpSpMkLst>
            <pc:docMk/>
            <pc:sldMk cId="0" sldId="304"/>
            <ac:grpSpMk id="3" creationId="{0018DC9E-3261-46DE-9668-9430BFDFE9CD}"/>
          </ac:grpSpMkLst>
        </pc:grpChg>
        <pc:grpChg chg="add mod">
          <ac:chgData name="Ying Yang" userId="f1527f9b-a873-4aa2-b225-cf8fd3466e0d" providerId="ADAL" clId="{A30A5C05-46CF-4F03-AB5B-503FD66274CE}" dt="2022-06-13T09:45:17.629" v="6205" actId="164"/>
          <ac:grpSpMkLst>
            <pc:docMk/>
            <pc:sldMk cId="0" sldId="304"/>
            <ac:grpSpMk id="4" creationId="{A8222DD4-8E9F-403E-BB13-1C61A22274BE}"/>
          </ac:grpSpMkLst>
        </pc:grpChg>
        <pc:grpChg chg="mod">
          <ac:chgData name="Ying Yang" userId="f1527f9b-a873-4aa2-b225-cf8fd3466e0d" providerId="ADAL" clId="{A30A5C05-46CF-4F03-AB5B-503FD66274CE}" dt="2022-06-13T09:45:17.629" v="6205" actId="164"/>
          <ac:grpSpMkLst>
            <pc:docMk/>
            <pc:sldMk cId="0" sldId="304"/>
            <ac:grpSpMk id="5" creationId="{00000000-0000-0000-0000-000000000000}"/>
          </ac:grpSpMkLst>
        </pc:grpChg>
        <pc:grpChg chg="add mod">
          <ac:chgData name="Ying Yang" userId="f1527f9b-a873-4aa2-b225-cf8fd3466e0d" providerId="ADAL" clId="{A30A5C05-46CF-4F03-AB5B-503FD66274CE}" dt="2022-06-13T07:45:29.464" v="4394" actId="1076"/>
          <ac:grpSpMkLst>
            <pc:docMk/>
            <pc:sldMk cId="0" sldId="304"/>
            <ac:grpSpMk id="10" creationId="{6E19E5A5-C02A-42FE-8A6A-3300D2E82851}"/>
          </ac:grpSpMkLst>
        </pc:grpChg>
        <pc:grpChg chg="add del mod ord">
          <ac:chgData name="Ying Yang" userId="f1527f9b-a873-4aa2-b225-cf8fd3466e0d" providerId="ADAL" clId="{A30A5C05-46CF-4F03-AB5B-503FD66274CE}" dt="2022-06-08T09:03:55.045" v="1685" actId="1076"/>
          <ac:grpSpMkLst>
            <pc:docMk/>
            <pc:sldMk cId="0" sldId="304"/>
            <ac:grpSpMk id="11" creationId="{835777C3-7480-4D14-A87E-A9664498F92D}"/>
          </ac:grpSpMkLst>
        </pc:grpChg>
        <pc:grpChg chg="add del mod">
          <ac:chgData name="Ying Yang" userId="f1527f9b-a873-4aa2-b225-cf8fd3466e0d" providerId="ADAL" clId="{A30A5C05-46CF-4F03-AB5B-503FD66274CE}" dt="2022-06-08T08:21:59.869" v="1291" actId="478"/>
          <ac:grpSpMkLst>
            <pc:docMk/>
            <pc:sldMk cId="0" sldId="304"/>
            <ac:grpSpMk id="28" creationId="{51E230F7-867F-4BA8-903C-0888B29A0E73}"/>
          </ac:grpSpMkLst>
        </pc:grpChg>
        <pc:grpChg chg="add mod">
          <ac:chgData name="Ying Yang" userId="f1527f9b-a873-4aa2-b225-cf8fd3466e0d" providerId="ADAL" clId="{A30A5C05-46CF-4F03-AB5B-503FD66274CE}" dt="2022-06-13T07:45:29.464" v="4394" actId="1076"/>
          <ac:grpSpMkLst>
            <pc:docMk/>
            <pc:sldMk cId="0" sldId="304"/>
            <ac:grpSpMk id="31" creationId="{41785589-7329-4587-9BC8-31B79CFF4CC8}"/>
          </ac:grpSpMkLst>
        </pc:grpChg>
        <pc:grpChg chg="add mod">
          <ac:chgData name="Ying Yang" userId="f1527f9b-a873-4aa2-b225-cf8fd3466e0d" providerId="ADAL" clId="{A30A5C05-46CF-4F03-AB5B-503FD66274CE}" dt="2022-06-09T02:10:30.401" v="2836" actId="164"/>
          <ac:grpSpMkLst>
            <pc:docMk/>
            <pc:sldMk cId="0" sldId="304"/>
            <ac:grpSpMk id="34" creationId="{FBC70C0D-7E2B-4AB9-9DE6-97E2243E482F}"/>
          </ac:grpSpMkLst>
        </pc:grpChg>
        <pc:grpChg chg="add mod">
          <ac:chgData name="Ying Yang" userId="f1527f9b-a873-4aa2-b225-cf8fd3466e0d" providerId="ADAL" clId="{A30A5C05-46CF-4F03-AB5B-503FD66274CE}" dt="2022-06-09T02:10:30.401" v="2836" actId="164"/>
          <ac:grpSpMkLst>
            <pc:docMk/>
            <pc:sldMk cId="0" sldId="304"/>
            <ac:grpSpMk id="37" creationId="{44BA05D2-3213-4782-8F22-06E735F1B16E}"/>
          </ac:grpSpMkLst>
        </pc:grpChg>
        <pc:grpChg chg="add mod ord">
          <ac:chgData name="Ying Yang" userId="f1527f9b-a873-4aa2-b225-cf8fd3466e0d" providerId="ADAL" clId="{A30A5C05-46CF-4F03-AB5B-503FD66274CE}" dt="2022-06-13T07:45:29.464" v="4394" actId="1076"/>
          <ac:grpSpMkLst>
            <pc:docMk/>
            <pc:sldMk cId="0" sldId="304"/>
            <ac:grpSpMk id="40" creationId="{75BC67DC-66A0-4F11-9ACD-6CBDC8387FD1}"/>
          </ac:grpSpMkLst>
        </pc:grpChg>
        <pc:grpChg chg="add del mod">
          <ac:chgData name="Ying Yang" userId="f1527f9b-a873-4aa2-b225-cf8fd3466e0d" providerId="ADAL" clId="{A30A5C05-46CF-4F03-AB5B-503FD66274CE}" dt="2022-06-08T08:48:35.199" v="1421" actId="165"/>
          <ac:grpSpMkLst>
            <pc:docMk/>
            <pc:sldMk cId="0" sldId="304"/>
            <ac:grpSpMk id="43" creationId="{CB2C174E-1E29-4533-A7C3-A4648CE7A8C3}"/>
          </ac:grpSpMkLst>
        </pc:grpChg>
        <pc:grpChg chg="mod topLvl">
          <ac:chgData name="Ying Yang" userId="f1527f9b-a873-4aa2-b225-cf8fd3466e0d" providerId="ADAL" clId="{A30A5C05-46CF-4F03-AB5B-503FD66274CE}" dt="2022-06-09T02:10:30.401" v="2836" actId="164"/>
          <ac:grpSpMkLst>
            <pc:docMk/>
            <pc:sldMk cId="0" sldId="304"/>
            <ac:grpSpMk id="44" creationId="{C2323B32-F045-4B94-961D-C277F7BE936E}"/>
          </ac:grpSpMkLst>
        </pc:grpChg>
        <pc:grpChg chg="mod topLvl">
          <ac:chgData name="Ying Yang" userId="f1527f9b-a873-4aa2-b225-cf8fd3466e0d" providerId="ADAL" clId="{A30A5C05-46CF-4F03-AB5B-503FD66274CE}" dt="2022-06-09T02:10:30.401" v="2836" actId="164"/>
          <ac:grpSpMkLst>
            <pc:docMk/>
            <pc:sldMk cId="0" sldId="304"/>
            <ac:grpSpMk id="45" creationId="{67B0E1A9-62A0-474E-A4A7-930342987425}"/>
          </ac:grpSpMkLst>
        </pc:grpChg>
        <pc:grpChg chg="mod topLvl">
          <ac:chgData name="Ying Yang" userId="f1527f9b-a873-4aa2-b225-cf8fd3466e0d" providerId="ADAL" clId="{A30A5C05-46CF-4F03-AB5B-503FD66274CE}" dt="2022-06-09T02:10:30.401" v="2836" actId="164"/>
          <ac:grpSpMkLst>
            <pc:docMk/>
            <pc:sldMk cId="0" sldId="304"/>
            <ac:grpSpMk id="46" creationId="{201B4F57-5C74-4359-9334-8A3A3B12A762}"/>
          </ac:grpSpMkLst>
        </pc:grpChg>
        <pc:grpChg chg="mod ord">
          <ac:chgData name="Ying Yang" userId="f1527f9b-a873-4aa2-b225-cf8fd3466e0d" providerId="ADAL" clId="{A30A5C05-46CF-4F03-AB5B-503FD66274CE}" dt="2022-06-08T08:57:28.013" v="1614" actId="164"/>
          <ac:grpSpMkLst>
            <pc:docMk/>
            <pc:sldMk cId="0" sldId="304"/>
            <ac:grpSpMk id="78" creationId="{00000000-0000-0000-0000-000000000000}"/>
          </ac:grpSpMkLst>
        </pc:grpChg>
        <pc:grpChg chg="add del mod">
          <ac:chgData name="Ying Yang" userId="f1527f9b-a873-4aa2-b225-cf8fd3466e0d" providerId="ADAL" clId="{A30A5C05-46CF-4F03-AB5B-503FD66274CE}" dt="2022-06-08T10:02:03.815" v="2695" actId="21"/>
          <ac:grpSpMkLst>
            <pc:docMk/>
            <pc:sldMk cId="0" sldId="304"/>
            <ac:grpSpMk id="81" creationId="{49D30D39-3013-491A-B36E-67F2390E4227}"/>
          </ac:grpSpMkLst>
        </pc:grpChg>
        <pc:grpChg chg="add del mod">
          <ac:chgData name="Ying Yang" userId="f1527f9b-a873-4aa2-b225-cf8fd3466e0d" providerId="ADAL" clId="{A30A5C05-46CF-4F03-AB5B-503FD66274CE}" dt="2022-06-08T10:05:37.994" v="2756" actId="478"/>
          <ac:grpSpMkLst>
            <pc:docMk/>
            <pc:sldMk cId="0" sldId="304"/>
            <ac:grpSpMk id="84" creationId="{92EC5F1A-5BF3-4AF1-BD07-F2AECC12FD9D}"/>
          </ac:grpSpMkLst>
        </pc:grpChg>
        <pc:grpChg chg="mod">
          <ac:chgData name="Ying Yang" userId="f1527f9b-a873-4aa2-b225-cf8fd3466e0d" providerId="ADAL" clId="{A30A5C05-46CF-4F03-AB5B-503FD66274CE}" dt="2022-06-08T10:03:11.402" v="2716"/>
          <ac:grpSpMkLst>
            <pc:docMk/>
            <pc:sldMk cId="0" sldId="304"/>
            <ac:grpSpMk id="86" creationId="{67FD4B07-215D-4310-B0C6-CFFE8EF7208B}"/>
          </ac:grpSpMkLst>
        </pc:grpChg>
        <pc:grpChg chg="mod">
          <ac:chgData name="Ying Yang" userId="f1527f9b-a873-4aa2-b225-cf8fd3466e0d" providerId="ADAL" clId="{A30A5C05-46CF-4F03-AB5B-503FD66274CE}" dt="2022-06-08T10:03:11.402" v="2716"/>
          <ac:grpSpMkLst>
            <pc:docMk/>
            <pc:sldMk cId="0" sldId="304"/>
            <ac:grpSpMk id="92" creationId="{187099FE-59CC-4F1E-8866-D5AE2CB90551}"/>
          </ac:grpSpMkLst>
        </pc:grpChg>
        <pc:grpChg chg="mod">
          <ac:chgData name="Ying Yang" userId="f1527f9b-a873-4aa2-b225-cf8fd3466e0d" providerId="ADAL" clId="{A30A5C05-46CF-4F03-AB5B-503FD66274CE}" dt="2022-06-08T10:03:11.402" v="2716"/>
          <ac:grpSpMkLst>
            <pc:docMk/>
            <pc:sldMk cId="0" sldId="304"/>
            <ac:grpSpMk id="93" creationId="{5B2463B4-6A3C-496A-83CE-F24FF5E746BD}"/>
          </ac:grpSpMkLst>
        </pc:grpChg>
        <pc:grpChg chg="mod">
          <ac:chgData name="Ying Yang" userId="f1527f9b-a873-4aa2-b225-cf8fd3466e0d" providerId="ADAL" clId="{A30A5C05-46CF-4F03-AB5B-503FD66274CE}" dt="2022-06-08T10:03:11.402" v="2716"/>
          <ac:grpSpMkLst>
            <pc:docMk/>
            <pc:sldMk cId="0" sldId="304"/>
            <ac:grpSpMk id="94" creationId="{EA41255C-17C3-4AC1-A6B5-82AA1386AD5A}"/>
          </ac:grpSpMkLst>
        </pc:grpChg>
        <pc:picChg chg="add del mod">
          <ac:chgData name="Ying Yang" userId="f1527f9b-a873-4aa2-b225-cf8fd3466e0d" providerId="ADAL" clId="{A30A5C05-46CF-4F03-AB5B-503FD66274CE}" dt="2022-06-13T02:15:15.425" v="4223" actId="478"/>
          <ac:picMkLst>
            <pc:docMk/>
            <pc:sldMk cId="0" sldId="304"/>
            <ac:picMk id="76" creationId="{D45394EE-4103-4755-AAE0-5D824C7126B7}"/>
          </ac:picMkLst>
        </pc:picChg>
        <pc:cxnChg chg="mod">
          <ac:chgData name="Ying Yang" userId="f1527f9b-a873-4aa2-b225-cf8fd3466e0d" providerId="ADAL" clId="{A30A5C05-46CF-4F03-AB5B-503FD66274CE}" dt="2022-06-08T07:55:27.782" v="1155" actId="14100"/>
          <ac:cxnSpMkLst>
            <pc:docMk/>
            <pc:sldMk cId="0" sldId="304"/>
            <ac:cxnSpMk id="19" creationId="{00000000-0000-0000-0000-000000000000}"/>
          </ac:cxnSpMkLst>
        </pc:cxnChg>
        <pc:cxnChg chg="mod">
          <ac:chgData name="Ying Yang" userId="f1527f9b-a873-4aa2-b225-cf8fd3466e0d" providerId="ADAL" clId="{A30A5C05-46CF-4F03-AB5B-503FD66274CE}" dt="2022-06-08T07:55:24.897" v="1151" actId="14100"/>
          <ac:cxnSpMkLst>
            <pc:docMk/>
            <pc:sldMk cId="0" sldId="304"/>
            <ac:cxnSpMk id="20" creationId="{00000000-0000-0000-0000-000000000000}"/>
          </ac:cxnSpMkLst>
        </pc:cxnChg>
        <pc:cxnChg chg="add del mod">
          <ac:chgData name="Ying Yang" userId="f1527f9b-a873-4aa2-b225-cf8fd3466e0d" providerId="ADAL" clId="{A30A5C05-46CF-4F03-AB5B-503FD66274CE}" dt="2022-06-08T10:01:13.399" v="2675" actId="478"/>
          <ac:cxnSpMkLst>
            <pc:docMk/>
            <pc:sldMk cId="0" sldId="304"/>
            <ac:cxnSpMk id="79" creationId="{678F14C9-67A7-4524-A342-092E8A595004}"/>
          </ac:cxnSpMkLst>
        </pc:cxnChg>
        <pc:cxnChg chg="mod">
          <ac:chgData name="Ying Yang" userId="f1527f9b-a873-4aa2-b225-cf8fd3466e0d" providerId="ADAL" clId="{A30A5C05-46CF-4F03-AB5B-503FD66274CE}" dt="2022-06-08T10:01:43.492" v="2686"/>
          <ac:cxnSpMkLst>
            <pc:docMk/>
            <pc:sldMk cId="0" sldId="304"/>
            <ac:cxnSpMk id="82" creationId="{E8CD102F-C033-42D0-8E23-DA99BD968D52}"/>
          </ac:cxnSpMkLst>
        </pc:cxnChg>
        <pc:cxnChg chg="mod">
          <ac:chgData name="Ying Yang" userId="f1527f9b-a873-4aa2-b225-cf8fd3466e0d" providerId="ADAL" clId="{A30A5C05-46CF-4F03-AB5B-503FD66274CE}" dt="2022-06-08T10:01:43.492" v="2686"/>
          <ac:cxnSpMkLst>
            <pc:docMk/>
            <pc:sldMk cId="0" sldId="304"/>
            <ac:cxnSpMk id="83" creationId="{FCCFC780-6ABE-49E6-9BE2-1F5E29600EF0}"/>
          </ac:cxnSpMkLst>
        </pc:cxnChg>
      </pc:sldChg>
      <pc:sldChg chg="modSp add del mod">
        <pc:chgData name="Ying Yang" userId="f1527f9b-a873-4aa2-b225-cf8fd3466e0d" providerId="ADAL" clId="{A30A5C05-46CF-4F03-AB5B-503FD66274CE}" dt="2022-06-09T03:02:24.237" v="3705" actId="47"/>
        <pc:sldMkLst>
          <pc:docMk/>
          <pc:sldMk cId="923320047" sldId="309"/>
        </pc:sldMkLst>
        <pc:spChg chg="mod">
          <ac:chgData name="Ying Yang" userId="f1527f9b-a873-4aa2-b225-cf8fd3466e0d" providerId="ADAL" clId="{A30A5C05-46CF-4F03-AB5B-503FD66274CE}" dt="2022-06-08T09:28:10.697" v="2005" actId="20577"/>
          <ac:spMkLst>
            <pc:docMk/>
            <pc:sldMk cId="923320047" sldId="309"/>
            <ac:spMk id="107" creationId="{D6B0582D-E4F2-49BD-8555-709B812A9646}"/>
          </ac:spMkLst>
        </pc:spChg>
        <pc:spChg chg="mod">
          <ac:chgData name="Ying Yang" userId="f1527f9b-a873-4aa2-b225-cf8fd3466e0d" providerId="ADAL" clId="{A30A5C05-46CF-4F03-AB5B-503FD66274CE}" dt="2022-06-08T09:28:15.741" v="2009" actId="20577"/>
          <ac:spMkLst>
            <pc:docMk/>
            <pc:sldMk cId="923320047" sldId="309"/>
            <ac:spMk id="108" creationId="{F5DA0E0B-3276-4068-9556-A9AB5E6894BF}"/>
          </ac:spMkLst>
        </pc:spChg>
        <pc:spChg chg="mod">
          <ac:chgData name="Ying Yang" userId="f1527f9b-a873-4aa2-b225-cf8fd3466e0d" providerId="ADAL" clId="{A30A5C05-46CF-4F03-AB5B-503FD66274CE}" dt="2022-06-08T09:21:26.070" v="1944"/>
          <ac:spMkLst>
            <pc:docMk/>
            <pc:sldMk cId="923320047" sldId="309"/>
            <ac:spMk id="110" creationId="{67C69ED3-4DA6-4079-85FE-82F34DE468D8}"/>
          </ac:spMkLst>
        </pc:spChg>
        <pc:spChg chg="mod">
          <ac:chgData name="Ying Yang" userId="f1527f9b-a873-4aa2-b225-cf8fd3466e0d" providerId="ADAL" clId="{A30A5C05-46CF-4F03-AB5B-503FD66274CE}" dt="2022-06-08T09:28:14.007" v="2008" actId="20577"/>
          <ac:spMkLst>
            <pc:docMk/>
            <pc:sldMk cId="923320047" sldId="309"/>
            <ac:spMk id="111" creationId="{D589CF49-952E-4F19-A8EE-881E1E9215CA}"/>
          </ac:spMkLst>
        </pc:spChg>
        <pc:spChg chg="mod">
          <ac:chgData name="Ying Yang" userId="f1527f9b-a873-4aa2-b225-cf8fd3466e0d" providerId="ADAL" clId="{A30A5C05-46CF-4F03-AB5B-503FD66274CE}" dt="2022-06-08T09:28:17.355" v="2010" actId="20577"/>
          <ac:spMkLst>
            <pc:docMk/>
            <pc:sldMk cId="923320047" sldId="309"/>
            <ac:spMk id="112" creationId="{F3828EBC-69FB-4991-8036-5175DA69BE6D}"/>
          </ac:spMkLst>
        </pc:spChg>
      </pc:sldChg>
      <pc:sldChg chg="addSp modSp mod ord modShow">
        <pc:chgData name="Ying Yang" userId="f1527f9b-a873-4aa2-b225-cf8fd3466e0d" providerId="ADAL" clId="{A30A5C05-46CF-4F03-AB5B-503FD66274CE}" dt="2022-06-07T06:44:37.403" v="499"/>
        <pc:sldMkLst>
          <pc:docMk/>
          <pc:sldMk cId="1914631551" sldId="321"/>
        </pc:sldMkLst>
        <pc:spChg chg="add mod">
          <ac:chgData name="Ying Yang" userId="f1527f9b-a873-4aa2-b225-cf8fd3466e0d" providerId="ADAL" clId="{A30A5C05-46CF-4F03-AB5B-503FD66274CE}" dt="2022-06-07T06:44:30.944" v="497" actId="20577"/>
          <ac:spMkLst>
            <pc:docMk/>
            <pc:sldMk cId="1914631551" sldId="321"/>
            <ac:spMk id="51" creationId="{7D3B07F8-8898-41E1-BADE-4854762A7BC5}"/>
          </ac:spMkLst>
        </pc:spChg>
      </pc:sldChg>
      <pc:sldChg chg="del">
        <pc:chgData name="Ying Yang" userId="f1527f9b-a873-4aa2-b225-cf8fd3466e0d" providerId="ADAL" clId="{A30A5C05-46CF-4F03-AB5B-503FD66274CE}" dt="2022-06-07T07:26:22.427" v="692" actId="47"/>
        <pc:sldMkLst>
          <pc:docMk/>
          <pc:sldMk cId="0" sldId="367"/>
        </pc:sldMkLst>
      </pc:sldChg>
      <pc:sldChg chg="del">
        <pc:chgData name="Ying Yang" userId="f1527f9b-a873-4aa2-b225-cf8fd3466e0d" providerId="ADAL" clId="{A30A5C05-46CF-4F03-AB5B-503FD66274CE}" dt="2022-06-07T07:26:23.288" v="693" actId="47"/>
        <pc:sldMkLst>
          <pc:docMk/>
          <pc:sldMk cId="0" sldId="376"/>
        </pc:sldMkLst>
      </pc:sldChg>
      <pc:sldChg chg="addSp delSp modSp mod ord addCm modCm">
        <pc:chgData name="Ying Yang" userId="f1527f9b-a873-4aa2-b225-cf8fd3466e0d" providerId="ADAL" clId="{A30A5C05-46CF-4F03-AB5B-503FD66274CE}" dt="2022-06-13T09:42:03.212" v="6163"/>
        <pc:sldMkLst>
          <pc:docMk/>
          <pc:sldMk cId="2831857267" sldId="430"/>
        </pc:sldMkLst>
        <pc:spChg chg="add del mod">
          <ac:chgData name="Ying Yang" userId="f1527f9b-a873-4aa2-b225-cf8fd3466e0d" providerId="ADAL" clId="{A30A5C05-46CF-4F03-AB5B-503FD66274CE}" dt="2022-06-07T06:37:14.852" v="283"/>
          <ac:spMkLst>
            <pc:docMk/>
            <pc:sldMk cId="2831857267" sldId="430"/>
            <ac:spMk id="2" creationId="{D426CFAB-1706-46B6-9C3A-0FA88CA5B52C}"/>
          </ac:spMkLst>
        </pc:spChg>
        <pc:spChg chg="del">
          <ac:chgData name="Ying Yang" userId="f1527f9b-a873-4aa2-b225-cf8fd3466e0d" providerId="ADAL" clId="{A30A5C05-46CF-4F03-AB5B-503FD66274CE}" dt="2022-06-07T06:31:33.656" v="266" actId="478"/>
          <ac:spMkLst>
            <pc:docMk/>
            <pc:sldMk cId="2831857267" sldId="430"/>
            <ac:spMk id="3" creationId="{76AC02EB-EAF9-43C5-A6CB-3F5C2D03277E}"/>
          </ac:spMkLst>
        </pc:spChg>
        <pc:spChg chg="add mod">
          <ac:chgData name="Ying Yang" userId="f1527f9b-a873-4aa2-b225-cf8fd3466e0d" providerId="ADAL" clId="{A30A5C05-46CF-4F03-AB5B-503FD66274CE}" dt="2022-06-07T06:39:27.083" v="296" actId="403"/>
          <ac:spMkLst>
            <pc:docMk/>
            <pc:sldMk cId="2831857267" sldId="430"/>
            <ac:spMk id="5" creationId="{8F2890C5-9BEB-497A-886C-E6E92606C08D}"/>
          </ac:spMkLst>
        </pc:spChg>
        <pc:spChg chg="add mod">
          <ac:chgData name="Ying Yang" userId="f1527f9b-a873-4aa2-b225-cf8fd3466e0d" providerId="ADAL" clId="{A30A5C05-46CF-4F03-AB5B-503FD66274CE}" dt="2022-06-13T08:11:01.648" v="4798" actId="1076"/>
          <ac:spMkLst>
            <pc:docMk/>
            <pc:sldMk cId="2831857267" sldId="430"/>
            <ac:spMk id="16" creationId="{577F9F0B-61CF-440B-BEAF-F394A5D21C28}"/>
          </ac:spMkLst>
        </pc:spChg>
        <pc:spChg chg="mod">
          <ac:chgData name="Ying Yang" userId="f1527f9b-a873-4aa2-b225-cf8fd3466e0d" providerId="ADAL" clId="{A30A5C05-46CF-4F03-AB5B-503FD66274CE}" dt="2022-06-07T06:36:28.604" v="276" actId="14100"/>
          <ac:spMkLst>
            <pc:docMk/>
            <pc:sldMk cId="2831857267" sldId="430"/>
            <ac:spMk id="28" creationId="{EB50B15B-AF44-4627-AE43-E39055E74E41}"/>
          </ac:spMkLst>
        </pc:spChg>
        <pc:spChg chg="mod">
          <ac:chgData name="Ying Yang" userId="f1527f9b-a873-4aa2-b225-cf8fd3466e0d" providerId="ADAL" clId="{A30A5C05-46CF-4F03-AB5B-503FD66274CE}" dt="2022-06-13T09:41:36.320" v="6154" actId="21"/>
          <ac:spMkLst>
            <pc:docMk/>
            <pc:sldMk cId="2831857267" sldId="430"/>
            <ac:spMk id="30" creationId="{5274A65F-96B7-4FB5-9C8B-27DEE17FE908}"/>
          </ac:spMkLst>
        </pc:spChg>
      </pc:sldChg>
      <pc:sldChg chg="addSp delSp modSp mod">
        <pc:chgData name="Ying Yang" userId="f1527f9b-a873-4aa2-b225-cf8fd3466e0d" providerId="ADAL" clId="{A30A5C05-46CF-4F03-AB5B-503FD66274CE}" dt="2022-06-13T02:15:11.899" v="4222" actId="478"/>
        <pc:sldMkLst>
          <pc:docMk/>
          <pc:sldMk cId="2871959503" sldId="881"/>
        </pc:sldMkLst>
        <pc:spChg chg="mod">
          <ac:chgData name="Ying Yang" userId="f1527f9b-a873-4aa2-b225-cf8fd3466e0d" providerId="ADAL" clId="{A30A5C05-46CF-4F03-AB5B-503FD66274CE}" dt="2022-06-08T07:44:08.391" v="994" actId="207"/>
          <ac:spMkLst>
            <pc:docMk/>
            <pc:sldMk cId="2871959503" sldId="881"/>
            <ac:spMk id="3" creationId="{EC2E729B-5960-4533-8386-330A3398EE35}"/>
          </ac:spMkLst>
        </pc:spChg>
        <pc:spChg chg="mod">
          <ac:chgData name="Ying Yang" userId="f1527f9b-a873-4aa2-b225-cf8fd3466e0d" providerId="ADAL" clId="{A30A5C05-46CF-4F03-AB5B-503FD66274CE}" dt="2022-06-08T07:44:05.879" v="993" actId="207"/>
          <ac:spMkLst>
            <pc:docMk/>
            <pc:sldMk cId="2871959503" sldId="881"/>
            <ac:spMk id="4" creationId="{E7129326-A5E8-40CA-ADF8-8E4D8332632C}"/>
          </ac:spMkLst>
        </pc:spChg>
        <pc:spChg chg="add del mod">
          <ac:chgData name="Ying Yang" userId="f1527f9b-a873-4aa2-b225-cf8fd3466e0d" providerId="ADAL" clId="{A30A5C05-46CF-4F03-AB5B-503FD66274CE}" dt="2022-06-08T07:44:09.407" v="995" actId="478"/>
          <ac:spMkLst>
            <pc:docMk/>
            <pc:sldMk cId="2871959503" sldId="881"/>
            <ac:spMk id="6" creationId="{5B2A87B4-3D56-438E-9B97-60475E9977DC}"/>
          </ac:spMkLst>
        </pc:spChg>
        <pc:spChg chg="mod">
          <ac:chgData name="Ying Yang" userId="f1527f9b-a873-4aa2-b225-cf8fd3466e0d" providerId="ADAL" clId="{A30A5C05-46CF-4F03-AB5B-503FD66274CE}" dt="2022-06-09T03:25:04.617" v="4079"/>
          <ac:spMkLst>
            <pc:docMk/>
            <pc:sldMk cId="2871959503" sldId="881"/>
            <ac:spMk id="6" creationId="{CC1FBEE7-E7AC-45F8-8100-58175D0F34F1}"/>
          </ac:spMkLst>
        </pc:spChg>
        <pc:spChg chg="add del mod ord">
          <ac:chgData name="Ying Yang" userId="f1527f9b-a873-4aa2-b225-cf8fd3466e0d" providerId="ADAL" clId="{A30A5C05-46CF-4F03-AB5B-503FD66274CE}" dt="2022-06-08T07:44:26.172" v="1000" actId="478"/>
          <ac:spMkLst>
            <pc:docMk/>
            <pc:sldMk cId="2871959503" sldId="881"/>
            <ac:spMk id="8" creationId="{22EB070E-A0C2-4DE9-A61F-17AB1C5C70B0}"/>
          </ac:spMkLst>
        </pc:spChg>
        <pc:spChg chg="mod">
          <ac:chgData name="Ying Yang" userId="f1527f9b-a873-4aa2-b225-cf8fd3466e0d" providerId="ADAL" clId="{A30A5C05-46CF-4F03-AB5B-503FD66274CE}" dt="2022-06-09T03:25:04.617" v="4079"/>
          <ac:spMkLst>
            <pc:docMk/>
            <pc:sldMk cId="2871959503" sldId="881"/>
            <ac:spMk id="8" creationId="{FAB85EA6-1F6E-4DDA-A499-92A96F3A0EB1}"/>
          </ac:spMkLst>
        </pc:spChg>
        <pc:spChg chg="mod">
          <ac:chgData name="Ying Yang" userId="f1527f9b-a873-4aa2-b225-cf8fd3466e0d" providerId="ADAL" clId="{A30A5C05-46CF-4F03-AB5B-503FD66274CE}" dt="2022-06-09T03:25:04.617" v="4079"/>
          <ac:spMkLst>
            <pc:docMk/>
            <pc:sldMk cId="2871959503" sldId="881"/>
            <ac:spMk id="9" creationId="{D4EF60F2-A1DA-40DC-97F1-BBCD36F72FFB}"/>
          </ac:spMkLst>
        </pc:spChg>
        <pc:grpChg chg="add mod">
          <ac:chgData name="Ying Yang" userId="f1527f9b-a873-4aa2-b225-cf8fd3466e0d" providerId="ADAL" clId="{A30A5C05-46CF-4F03-AB5B-503FD66274CE}" dt="2022-06-09T03:25:04.617" v="4079"/>
          <ac:grpSpMkLst>
            <pc:docMk/>
            <pc:sldMk cId="2871959503" sldId="881"/>
            <ac:grpSpMk id="5" creationId="{9B116FC0-E663-434F-B4F1-A4BB360EC7DF}"/>
          </ac:grpSpMkLst>
        </pc:grpChg>
        <pc:picChg chg="add del mod ord">
          <ac:chgData name="Ying Yang" userId="f1527f9b-a873-4aa2-b225-cf8fd3466e0d" providerId="ADAL" clId="{A30A5C05-46CF-4F03-AB5B-503FD66274CE}" dt="2022-06-08T07:43:58.829" v="992" actId="478"/>
          <ac:picMkLst>
            <pc:docMk/>
            <pc:sldMk cId="2871959503" sldId="881"/>
            <ac:picMk id="5" creationId="{AE34F578-044C-4BDE-BE79-1220B52ADBBC}"/>
          </ac:picMkLst>
        </pc:picChg>
        <pc:picChg chg="del">
          <ac:chgData name="Ying Yang" userId="f1527f9b-a873-4aa2-b225-cf8fd3466e0d" providerId="ADAL" clId="{A30A5C05-46CF-4F03-AB5B-503FD66274CE}" dt="2022-06-13T02:14:35.252" v="4211" actId="478"/>
          <ac:picMkLst>
            <pc:docMk/>
            <pc:sldMk cId="2871959503" sldId="881"/>
            <ac:picMk id="7" creationId="{D4E59D77-F60C-4F16-B1D9-276BEEC8E853}"/>
          </ac:picMkLst>
        </pc:picChg>
        <pc:picChg chg="add del mod">
          <ac:chgData name="Ying Yang" userId="f1527f9b-a873-4aa2-b225-cf8fd3466e0d" providerId="ADAL" clId="{A30A5C05-46CF-4F03-AB5B-503FD66274CE}" dt="2022-06-13T02:15:11.899" v="4222" actId="478"/>
          <ac:picMkLst>
            <pc:docMk/>
            <pc:sldMk cId="2871959503" sldId="881"/>
            <ac:picMk id="10" creationId="{2AC8A59B-D327-456C-BE22-7F561594DD0C}"/>
          </ac:picMkLst>
        </pc:picChg>
      </pc:sldChg>
      <pc:sldChg chg="addSp delSp modSp add del ord">
        <pc:chgData name="Ying Yang" userId="f1527f9b-a873-4aa2-b225-cf8fd3466e0d" providerId="ADAL" clId="{A30A5C05-46CF-4F03-AB5B-503FD66274CE}" dt="2022-06-09T03:02:22.872" v="3704" actId="47"/>
        <pc:sldMkLst>
          <pc:docMk/>
          <pc:sldMk cId="1008915649" sldId="7520"/>
        </pc:sldMkLst>
        <pc:spChg chg="add del mod">
          <ac:chgData name="Ying Yang" userId="f1527f9b-a873-4aa2-b225-cf8fd3466e0d" providerId="ADAL" clId="{A30A5C05-46CF-4F03-AB5B-503FD66274CE}" dt="2022-06-09T02:24:34.815" v="3196"/>
          <ac:spMkLst>
            <pc:docMk/>
            <pc:sldMk cId="1008915649" sldId="7520"/>
            <ac:spMk id="65" creationId="{9F00FFC6-B2A1-496B-BE54-A287B18B8EFC}"/>
          </ac:spMkLst>
        </pc:spChg>
      </pc:sldChg>
      <pc:sldChg chg="addSp delSp modSp mod ord addCm modCm">
        <pc:chgData name="Ying Yang" userId="f1527f9b-a873-4aa2-b225-cf8fd3466e0d" providerId="ADAL" clId="{A30A5C05-46CF-4F03-AB5B-503FD66274CE}" dt="2022-06-13T08:28:00.032" v="4946"/>
        <pc:sldMkLst>
          <pc:docMk/>
          <pc:sldMk cId="675901934" sldId="7521"/>
        </pc:sldMkLst>
        <pc:spChg chg="add del mod">
          <ac:chgData name="Ying Yang" userId="f1527f9b-a873-4aa2-b225-cf8fd3466e0d" providerId="ADAL" clId="{A30A5C05-46CF-4F03-AB5B-503FD66274CE}" dt="2022-06-07T06:29:30.681" v="263" actId="1076"/>
          <ac:spMkLst>
            <pc:docMk/>
            <pc:sldMk cId="675901934" sldId="7521"/>
            <ac:spMk id="2" creationId="{B3D12B61-9F98-4E80-8C74-1857BF49C21F}"/>
          </ac:spMkLst>
        </pc:spChg>
        <pc:spChg chg="add del mod">
          <ac:chgData name="Ying Yang" userId="f1527f9b-a873-4aa2-b225-cf8fd3466e0d" providerId="ADAL" clId="{A30A5C05-46CF-4F03-AB5B-503FD66274CE}" dt="2022-06-07T06:18:41.230" v="120" actId="478"/>
          <ac:spMkLst>
            <pc:docMk/>
            <pc:sldMk cId="675901934" sldId="7521"/>
            <ac:spMk id="6" creationId="{F90C11B2-1BF9-43D5-8239-0DCC910D28D8}"/>
          </ac:spMkLst>
        </pc:spChg>
        <pc:spChg chg="mod">
          <ac:chgData name="Ying Yang" userId="f1527f9b-a873-4aa2-b225-cf8fd3466e0d" providerId="ADAL" clId="{A30A5C05-46CF-4F03-AB5B-503FD66274CE}" dt="2022-06-07T07:22:02.868" v="626" actId="14100"/>
          <ac:spMkLst>
            <pc:docMk/>
            <pc:sldMk cId="675901934" sldId="7521"/>
            <ac:spMk id="17" creationId="{10006DD9-2003-4F3D-BF92-73EB4C91B03F}"/>
          </ac:spMkLst>
        </pc:spChg>
        <pc:spChg chg="mod">
          <ac:chgData name="Ying Yang" userId="f1527f9b-a873-4aa2-b225-cf8fd3466e0d" providerId="ADAL" clId="{A30A5C05-46CF-4F03-AB5B-503FD66274CE}" dt="2022-06-13T07:48:08.766" v="4425" actId="164"/>
          <ac:spMkLst>
            <pc:docMk/>
            <pc:sldMk cId="675901934" sldId="7521"/>
            <ac:spMk id="39" creationId="{2F1CD666-1BF6-4AFF-9A40-7300A742C76B}"/>
          </ac:spMkLst>
        </pc:spChg>
        <pc:spChg chg="del">
          <ac:chgData name="Ying Yang" userId="f1527f9b-a873-4aa2-b225-cf8fd3466e0d" providerId="ADAL" clId="{A30A5C05-46CF-4F03-AB5B-503FD66274CE}" dt="2022-06-07T06:17:11.922" v="63" actId="478"/>
          <ac:spMkLst>
            <pc:docMk/>
            <pc:sldMk cId="675901934" sldId="7521"/>
            <ac:spMk id="40" creationId="{80594ECB-EBF4-4E2B-9D1F-11E2E2C9CC1E}"/>
          </ac:spMkLst>
        </pc:spChg>
        <pc:spChg chg="add mod">
          <ac:chgData name="Ying Yang" userId="f1527f9b-a873-4aa2-b225-cf8fd3466e0d" providerId="ADAL" clId="{A30A5C05-46CF-4F03-AB5B-503FD66274CE}" dt="2022-06-07T07:22:21.661" v="633" actId="1076"/>
          <ac:spMkLst>
            <pc:docMk/>
            <pc:sldMk cId="675901934" sldId="7521"/>
            <ac:spMk id="41" creationId="{472037B2-560C-437E-9833-C13C85EE7A78}"/>
          </ac:spMkLst>
        </pc:spChg>
        <pc:spChg chg="add mod">
          <ac:chgData name="Ying Yang" userId="f1527f9b-a873-4aa2-b225-cf8fd3466e0d" providerId="ADAL" clId="{A30A5C05-46CF-4F03-AB5B-503FD66274CE}" dt="2022-06-07T07:22:32.484" v="636" actId="14100"/>
          <ac:spMkLst>
            <pc:docMk/>
            <pc:sldMk cId="675901934" sldId="7521"/>
            <ac:spMk id="44" creationId="{562111D4-A4AA-42EC-A0DC-48C6C90A742A}"/>
          </ac:spMkLst>
        </pc:spChg>
        <pc:grpChg chg="mod">
          <ac:chgData name="Ying Yang" userId="f1527f9b-a873-4aa2-b225-cf8fd3466e0d" providerId="ADAL" clId="{A30A5C05-46CF-4F03-AB5B-503FD66274CE}" dt="2022-06-13T07:48:08.766" v="4425" actId="164"/>
          <ac:grpSpMkLst>
            <pc:docMk/>
            <pc:sldMk cId="675901934" sldId="7521"/>
            <ac:grpSpMk id="4" creationId="{E2AAC33F-7653-4D08-95E3-D2E980FF04BE}"/>
          </ac:grpSpMkLst>
        </pc:grpChg>
        <pc:grpChg chg="add mod">
          <ac:chgData name="Ying Yang" userId="f1527f9b-a873-4aa2-b225-cf8fd3466e0d" providerId="ADAL" clId="{A30A5C05-46CF-4F03-AB5B-503FD66274CE}" dt="2022-06-13T07:48:08.766" v="4425" actId="164"/>
          <ac:grpSpMkLst>
            <pc:docMk/>
            <pc:sldMk cId="675901934" sldId="7521"/>
            <ac:grpSpMk id="5" creationId="{2CE05956-3207-4A8B-9DB7-9395508963DD}"/>
          </ac:grpSpMkLst>
        </pc:grpChg>
        <pc:grpChg chg="mod">
          <ac:chgData name="Ying Yang" userId="f1527f9b-a873-4aa2-b225-cf8fd3466e0d" providerId="ADAL" clId="{A30A5C05-46CF-4F03-AB5B-503FD66274CE}" dt="2022-06-07T07:22:07.035" v="627" actId="14100"/>
          <ac:grpSpMkLst>
            <pc:docMk/>
            <pc:sldMk cId="675901934" sldId="7521"/>
            <ac:grpSpMk id="18" creationId="{06C569C6-D90F-4D30-8AFB-4A1BDB65FD6C}"/>
          </ac:grpSpMkLst>
        </pc:grpChg>
      </pc:sldChg>
      <pc:sldChg chg="addSp delSp modSp add del mod">
        <pc:chgData name="Ying Yang" userId="f1527f9b-a873-4aa2-b225-cf8fd3466e0d" providerId="ADAL" clId="{A30A5C05-46CF-4F03-AB5B-503FD66274CE}" dt="2022-06-13T02:15:17.213" v="4224" actId="478"/>
        <pc:sldMkLst>
          <pc:docMk/>
          <pc:sldMk cId="0" sldId="2050181"/>
        </pc:sldMkLst>
        <pc:spChg chg="mod">
          <ac:chgData name="Ying Yang" userId="f1527f9b-a873-4aa2-b225-cf8fd3466e0d" providerId="ADAL" clId="{A30A5C05-46CF-4F03-AB5B-503FD66274CE}" dt="2022-06-08T07:53:33.023" v="1105"/>
          <ac:spMkLst>
            <pc:docMk/>
            <pc:sldMk cId="0" sldId="2050181"/>
            <ac:spMk id="20" creationId="{5644057C-173F-405C-8B13-37E4926472ED}"/>
          </ac:spMkLst>
        </pc:spChg>
        <pc:spChg chg="mod">
          <ac:chgData name="Ying Yang" userId="f1527f9b-a873-4aa2-b225-cf8fd3466e0d" providerId="ADAL" clId="{A30A5C05-46CF-4F03-AB5B-503FD66274CE}" dt="2022-06-08T07:54:17.375" v="1131" actId="20577"/>
          <ac:spMkLst>
            <pc:docMk/>
            <pc:sldMk cId="0" sldId="2050181"/>
            <ac:spMk id="24" creationId="{C1A9A750-8885-47B2-8567-708DDB85075D}"/>
          </ac:spMkLst>
        </pc:spChg>
        <pc:spChg chg="mod">
          <ac:chgData name="Ying Yang" userId="f1527f9b-a873-4aa2-b225-cf8fd3466e0d" providerId="ADAL" clId="{A30A5C05-46CF-4F03-AB5B-503FD66274CE}" dt="2022-06-08T07:53:33.023" v="1105"/>
          <ac:spMkLst>
            <pc:docMk/>
            <pc:sldMk cId="0" sldId="2050181"/>
            <ac:spMk id="25" creationId="{F91E01CE-77D7-469F-9FAB-0B5A7DD80331}"/>
          </ac:spMkLst>
        </pc:spChg>
        <pc:spChg chg="mod">
          <ac:chgData name="Ying Yang" userId="f1527f9b-a873-4aa2-b225-cf8fd3466e0d" providerId="ADAL" clId="{A30A5C05-46CF-4F03-AB5B-503FD66274CE}" dt="2022-06-08T07:53:33.023" v="1105"/>
          <ac:spMkLst>
            <pc:docMk/>
            <pc:sldMk cId="0" sldId="2050181"/>
            <ac:spMk id="26" creationId="{265593B6-D9B1-449B-A1F4-EF6A30838E10}"/>
          </ac:spMkLst>
        </pc:spChg>
        <pc:spChg chg="mod">
          <ac:chgData name="Ying Yang" userId="f1527f9b-a873-4aa2-b225-cf8fd3466e0d" providerId="ADAL" clId="{A30A5C05-46CF-4F03-AB5B-503FD66274CE}" dt="2022-06-08T07:53:33.023" v="1105"/>
          <ac:spMkLst>
            <pc:docMk/>
            <pc:sldMk cId="0" sldId="2050181"/>
            <ac:spMk id="28" creationId="{ED68F112-5568-4C21-92AB-194F4B7D0A06}"/>
          </ac:spMkLst>
        </pc:spChg>
        <pc:spChg chg="mod">
          <ac:chgData name="Ying Yang" userId="f1527f9b-a873-4aa2-b225-cf8fd3466e0d" providerId="ADAL" clId="{A30A5C05-46CF-4F03-AB5B-503FD66274CE}" dt="2022-06-08T07:53:33.023" v="1105"/>
          <ac:spMkLst>
            <pc:docMk/>
            <pc:sldMk cId="0" sldId="2050181"/>
            <ac:spMk id="29" creationId="{F80A0353-2C14-4736-8F33-577FEF4330AA}"/>
          </ac:spMkLst>
        </pc:spChg>
        <pc:spChg chg="mod">
          <ac:chgData name="Ying Yang" userId="f1527f9b-a873-4aa2-b225-cf8fd3466e0d" providerId="ADAL" clId="{A30A5C05-46CF-4F03-AB5B-503FD66274CE}" dt="2022-06-08T07:53:33.023" v="1105"/>
          <ac:spMkLst>
            <pc:docMk/>
            <pc:sldMk cId="0" sldId="2050181"/>
            <ac:spMk id="30" creationId="{5403534A-6307-4334-9151-72335DF3C541}"/>
          </ac:spMkLst>
        </pc:spChg>
        <pc:spChg chg="mod">
          <ac:chgData name="Ying Yang" userId="f1527f9b-a873-4aa2-b225-cf8fd3466e0d" providerId="ADAL" clId="{A30A5C05-46CF-4F03-AB5B-503FD66274CE}" dt="2022-06-08T07:53:33.023" v="1105"/>
          <ac:spMkLst>
            <pc:docMk/>
            <pc:sldMk cId="0" sldId="2050181"/>
            <ac:spMk id="31" creationId="{5E80BDEA-FD47-4ADF-AA67-ED3E37D7DFC0}"/>
          </ac:spMkLst>
        </pc:spChg>
        <pc:spChg chg="mod">
          <ac:chgData name="Ying Yang" userId="f1527f9b-a873-4aa2-b225-cf8fd3466e0d" providerId="ADAL" clId="{A30A5C05-46CF-4F03-AB5B-503FD66274CE}" dt="2022-06-08T07:53:33.023" v="1105"/>
          <ac:spMkLst>
            <pc:docMk/>
            <pc:sldMk cId="0" sldId="2050181"/>
            <ac:spMk id="36" creationId="{E3A46846-202D-4A37-AC56-9367D59A9F9F}"/>
          </ac:spMkLst>
        </pc:spChg>
        <pc:spChg chg="mod">
          <ac:chgData name="Ying Yang" userId="f1527f9b-a873-4aa2-b225-cf8fd3466e0d" providerId="ADAL" clId="{A30A5C05-46CF-4F03-AB5B-503FD66274CE}" dt="2022-06-08T07:53:33.023" v="1105"/>
          <ac:spMkLst>
            <pc:docMk/>
            <pc:sldMk cId="0" sldId="2050181"/>
            <ac:spMk id="37" creationId="{FFE8FFB2-4602-4627-A472-1A72338F0575}"/>
          </ac:spMkLst>
        </pc:spChg>
        <pc:spChg chg="mod">
          <ac:chgData name="Ying Yang" userId="f1527f9b-a873-4aa2-b225-cf8fd3466e0d" providerId="ADAL" clId="{A30A5C05-46CF-4F03-AB5B-503FD66274CE}" dt="2022-06-08T07:53:33.023" v="1105"/>
          <ac:spMkLst>
            <pc:docMk/>
            <pc:sldMk cId="0" sldId="2050181"/>
            <ac:spMk id="38" creationId="{E4EC338E-47F5-4C34-B770-F604BAEF3C01}"/>
          </ac:spMkLst>
        </pc:spChg>
        <pc:spChg chg="mod">
          <ac:chgData name="Ying Yang" userId="f1527f9b-a873-4aa2-b225-cf8fd3466e0d" providerId="ADAL" clId="{A30A5C05-46CF-4F03-AB5B-503FD66274CE}" dt="2022-06-08T07:53:33.023" v="1105"/>
          <ac:spMkLst>
            <pc:docMk/>
            <pc:sldMk cId="0" sldId="2050181"/>
            <ac:spMk id="39" creationId="{F7636748-87BF-456C-A4F0-7341F00B26C2}"/>
          </ac:spMkLst>
        </pc:spChg>
        <pc:spChg chg="mod">
          <ac:chgData name="Ying Yang" userId="f1527f9b-a873-4aa2-b225-cf8fd3466e0d" providerId="ADAL" clId="{A30A5C05-46CF-4F03-AB5B-503FD66274CE}" dt="2022-06-08T07:53:33.023" v="1105"/>
          <ac:spMkLst>
            <pc:docMk/>
            <pc:sldMk cId="0" sldId="2050181"/>
            <ac:spMk id="41" creationId="{0355A739-2C51-443F-83B2-07ED5741282B}"/>
          </ac:spMkLst>
        </pc:spChg>
        <pc:spChg chg="mod">
          <ac:chgData name="Ying Yang" userId="f1527f9b-a873-4aa2-b225-cf8fd3466e0d" providerId="ADAL" clId="{A30A5C05-46CF-4F03-AB5B-503FD66274CE}" dt="2022-06-08T07:53:33.023" v="1105"/>
          <ac:spMkLst>
            <pc:docMk/>
            <pc:sldMk cId="0" sldId="2050181"/>
            <ac:spMk id="42" creationId="{89BBBA6C-6E11-44F8-95A4-8883E7C438D2}"/>
          </ac:spMkLst>
        </pc:spChg>
        <pc:spChg chg="mod">
          <ac:chgData name="Ying Yang" userId="f1527f9b-a873-4aa2-b225-cf8fd3466e0d" providerId="ADAL" clId="{A30A5C05-46CF-4F03-AB5B-503FD66274CE}" dt="2022-06-08T07:53:33.023" v="1105"/>
          <ac:spMkLst>
            <pc:docMk/>
            <pc:sldMk cId="0" sldId="2050181"/>
            <ac:spMk id="43" creationId="{C50AFC57-321A-4D47-945F-E9DDB9A996E6}"/>
          </ac:spMkLst>
        </pc:spChg>
        <pc:spChg chg="mod">
          <ac:chgData name="Ying Yang" userId="f1527f9b-a873-4aa2-b225-cf8fd3466e0d" providerId="ADAL" clId="{A30A5C05-46CF-4F03-AB5B-503FD66274CE}" dt="2022-06-08T07:53:33.023" v="1105"/>
          <ac:spMkLst>
            <pc:docMk/>
            <pc:sldMk cId="0" sldId="2050181"/>
            <ac:spMk id="44" creationId="{71E9FCAF-C493-4255-AE92-DED671E4C8A8}"/>
          </ac:spMkLst>
        </pc:spChg>
        <pc:grpChg chg="del">
          <ac:chgData name="Ying Yang" userId="f1527f9b-a873-4aa2-b225-cf8fd3466e0d" providerId="ADAL" clId="{A30A5C05-46CF-4F03-AB5B-503FD66274CE}" dt="2022-06-08T07:53:16.525" v="1102" actId="478"/>
          <ac:grpSpMkLst>
            <pc:docMk/>
            <pc:sldMk cId="0" sldId="2050181"/>
            <ac:grpSpMk id="3" creationId="{00000000-0000-0000-0000-000000000000}"/>
          </ac:grpSpMkLst>
        </pc:grpChg>
        <pc:grpChg chg="del">
          <ac:chgData name="Ying Yang" userId="f1527f9b-a873-4aa2-b225-cf8fd3466e0d" providerId="ADAL" clId="{A30A5C05-46CF-4F03-AB5B-503FD66274CE}" dt="2022-06-08T07:53:16.525" v="1102" actId="478"/>
          <ac:grpSpMkLst>
            <pc:docMk/>
            <pc:sldMk cId="0" sldId="2050181"/>
            <ac:grpSpMk id="8" creationId="{00000000-0000-0000-0000-000000000000}"/>
          </ac:grpSpMkLst>
        </pc:grpChg>
        <pc:grpChg chg="del">
          <ac:chgData name="Ying Yang" userId="f1527f9b-a873-4aa2-b225-cf8fd3466e0d" providerId="ADAL" clId="{A30A5C05-46CF-4F03-AB5B-503FD66274CE}" dt="2022-06-08T07:53:16.525" v="1102" actId="478"/>
          <ac:grpSpMkLst>
            <pc:docMk/>
            <pc:sldMk cId="0" sldId="2050181"/>
            <ac:grpSpMk id="9" creationId="{00000000-0000-0000-0000-000000000000}"/>
          </ac:grpSpMkLst>
        </pc:grpChg>
        <pc:grpChg chg="add mod">
          <ac:chgData name="Ying Yang" userId="f1527f9b-a873-4aa2-b225-cf8fd3466e0d" providerId="ADAL" clId="{A30A5C05-46CF-4F03-AB5B-503FD66274CE}" dt="2022-06-08T07:53:33.023" v="1105"/>
          <ac:grpSpMkLst>
            <pc:docMk/>
            <pc:sldMk cId="0" sldId="2050181"/>
            <ac:grpSpMk id="19" creationId="{4C5C7398-1E47-480C-AFA9-00365A2FC48C}"/>
          </ac:grpSpMkLst>
        </pc:grpChg>
        <pc:grpChg chg="add mod">
          <ac:chgData name="Ying Yang" userId="f1527f9b-a873-4aa2-b225-cf8fd3466e0d" providerId="ADAL" clId="{A30A5C05-46CF-4F03-AB5B-503FD66274CE}" dt="2022-06-08T07:53:33.023" v="1105"/>
          <ac:grpSpMkLst>
            <pc:docMk/>
            <pc:sldMk cId="0" sldId="2050181"/>
            <ac:grpSpMk id="27" creationId="{A3DBAF63-CB17-4D2F-B448-A994EEB00547}"/>
          </ac:grpSpMkLst>
        </pc:grpChg>
        <pc:grpChg chg="add mod">
          <ac:chgData name="Ying Yang" userId="f1527f9b-a873-4aa2-b225-cf8fd3466e0d" providerId="ADAL" clId="{A30A5C05-46CF-4F03-AB5B-503FD66274CE}" dt="2022-06-08T07:53:33.023" v="1105"/>
          <ac:grpSpMkLst>
            <pc:docMk/>
            <pc:sldMk cId="0" sldId="2050181"/>
            <ac:grpSpMk id="32" creationId="{159D4BB4-359F-4697-9332-CEA90A944902}"/>
          </ac:grpSpMkLst>
        </pc:grpChg>
        <pc:grpChg chg="add mod">
          <ac:chgData name="Ying Yang" userId="f1527f9b-a873-4aa2-b225-cf8fd3466e0d" providerId="ADAL" clId="{A30A5C05-46CF-4F03-AB5B-503FD66274CE}" dt="2022-06-08T07:53:33.023" v="1105"/>
          <ac:grpSpMkLst>
            <pc:docMk/>
            <pc:sldMk cId="0" sldId="2050181"/>
            <ac:grpSpMk id="40" creationId="{4E8D0A1E-6B4B-4D9B-87B9-2AF40704599E}"/>
          </ac:grpSpMkLst>
        </pc:grpChg>
        <pc:picChg chg="add del mod">
          <ac:chgData name="Ying Yang" userId="f1527f9b-a873-4aa2-b225-cf8fd3466e0d" providerId="ADAL" clId="{A30A5C05-46CF-4F03-AB5B-503FD66274CE}" dt="2022-06-13T02:15:17.213" v="4224" actId="478"/>
          <ac:picMkLst>
            <pc:docMk/>
            <pc:sldMk cId="0" sldId="2050181"/>
            <ac:picMk id="45" creationId="{98C46E50-CF37-4435-A57B-F1ED335442F1}"/>
          </ac:picMkLst>
        </pc:picChg>
      </pc:sldChg>
      <pc:sldChg chg="addSp delSp modSp del mod">
        <pc:chgData name="Ying Yang" userId="f1527f9b-a873-4aa2-b225-cf8fd3466e0d" providerId="ADAL" clId="{A30A5C05-46CF-4F03-AB5B-503FD66274CE}" dt="2022-06-13T08:45:28.434" v="5103" actId="47"/>
        <pc:sldMkLst>
          <pc:docMk/>
          <pc:sldMk cId="0" sldId="11089621"/>
        </pc:sldMkLst>
        <pc:spChg chg="mod">
          <ac:chgData name="Ying Yang" userId="f1527f9b-a873-4aa2-b225-cf8fd3466e0d" providerId="ADAL" clId="{A30A5C05-46CF-4F03-AB5B-503FD66274CE}" dt="2022-06-07T07:23:30.670" v="657" actId="20577"/>
          <ac:spMkLst>
            <pc:docMk/>
            <pc:sldMk cId="0" sldId="11089621"/>
            <ac:spMk id="2" creationId="{00000000-0000-0000-0000-000000000000}"/>
          </ac:spMkLst>
        </pc:spChg>
        <pc:spChg chg="add mod ord">
          <ac:chgData name="Ying Yang" userId="f1527f9b-a873-4aa2-b225-cf8fd3466e0d" providerId="ADAL" clId="{A30A5C05-46CF-4F03-AB5B-503FD66274CE}" dt="2022-06-07T07:24:29.859" v="688" actId="1076"/>
          <ac:spMkLst>
            <pc:docMk/>
            <pc:sldMk cId="0" sldId="11089621"/>
            <ac:spMk id="3" creationId="{C84E6C2A-A3BA-473A-9BE4-7D90DAEAF513}"/>
          </ac:spMkLst>
        </pc:spChg>
        <pc:spChg chg="mod">
          <ac:chgData name="Ying Yang" userId="f1527f9b-a873-4aa2-b225-cf8fd3466e0d" providerId="ADAL" clId="{A30A5C05-46CF-4F03-AB5B-503FD66274CE}" dt="2022-06-13T08:37:06.664" v="4985"/>
          <ac:spMkLst>
            <pc:docMk/>
            <pc:sldMk cId="0" sldId="11089621"/>
            <ac:spMk id="63" creationId="{06E0798A-0DE3-43C7-9B9D-B154775AC973}"/>
          </ac:spMkLst>
        </pc:spChg>
        <pc:spChg chg="mod">
          <ac:chgData name="Ying Yang" userId="f1527f9b-a873-4aa2-b225-cf8fd3466e0d" providerId="ADAL" clId="{A30A5C05-46CF-4F03-AB5B-503FD66274CE}" dt="2022-06-13T08:37:06.664" v="4985"/>
          <ac:spMkLst>
            <pc:docMk/>
            <pc:sldMk cId="0" sldId="11089621"/>
            <ac:spMk id="65" creationId="{01A49073-214E-4D4F-BC7C-65C60487F7EE}"/>
          </ac:spMkLst>
        </pc:spChg>
        <pc:spChg chg="mod">
          <ac:chgData name="Ying Yang" userId="f1527f9b-a873-4aa2-b225-cf8fd3466e0d" providerId="ADAL" clId="{A30A5C05-46CF-4F03-AB5B-503FD66274CE}" dt="2022-06-13T08:37:06.664" v="4985"/>
          <ac:spMkLst>
            <pc:docMk/>
            <pc:sldMk cId="0" sldId="11089621"/>
            <ac:spMk id="66" creationId="{AFAA0EF1-29CF-4BF8-8274-C9D6DDD1A058}"/>
          </ac:spMkLst>
        </pc:spChg>
        <pc:spChg chg="mod">
          <ac:chgData name="Ying Yang" userId="f1527f9b-a873-4aa2-b225-cf8fd3466e0d" providerId="ADAL" clId="{A30A5C05-46CF-4F03-AB5B-503FD66274CE}" dt="2022-06-13T08:37:06.664" v="4985"/>
          <ac:spMkLst>
            <pc:docMk/>
            <pc:sldMk cId="0" sldId="11089621"/>
            <ac:spMk id="68" creationId="{A45F55BD-8A69-4910-83EB-9F837C02BB76}"/>
          </ac:spMkLst>
        </pc:spChg>
        <pc:spChg chg="mod">
          <ac:chgData name="Ying Yang" userId="f1527f9b-a873-4aa2-b225-cf8fd3466e0d" providerId="ADAL" clId="{A30A5C05-46CF-4F03-AB5B-503FD66274CE}" dt="2022-06-13T08:37:06.664" v="4985"/>
          <ac:spMkLst>
            <pc:docMk/>
            <pc:sldMk cId="0" sldId="11089621"/>
            <ac:spMk id="69" creationId="{4CB2946C-CBA6-4871-8656-FBFBE7773D5D}"/>
          </ac:spMkLst>
        </pc:spChg>
        <pc:spChg chg="mod">
          <ac:chgData name="Ying Yang" userId="f1527f9b-a873-4aa2-b225-cf8fd3466e0d" providerId="ADAL" clId="{A30A5C05-46CF-4F03-AB5B-503FD66274CE}" dt="2022-06-13T08:37:09.649" v="4987"/>
          <ac:spMkLst>
            <pc:docMk/>
            <pc:sldMk cId="0" sldId="11089621"/>
            <ac:spMk id="71" creationId="{59BBB235-0B91-4E06-8B07-CDCE04529432}"/>
          </ac:spMkLst>
        </pc:spChg>
        <pc:spChg chg="mod">
          <ac:chgData name="Ying Yang" userId="f1527f9b-a873-4aa2-b225-cf8fd3466e0d" providerId="ADAL" clId="{A30A5C05-46CF-4F03-AB5B-503FD66274CE}" dt="2022-06-13T08:37:09.649" v="4987"/>
          <ac:spMkLst>
            <pc:docMk/>
            <pc:sldMk cId="0" sldId="11089621"/>
            <ac:spMk id="73" creationId="{BFBE55FE-D669-481B-A7A2-C4C3DE5D9440}"/>
          </ac:spMkLst>
        </pc:spChg>
        <pc:spChg chg="mod">
          <ac:chgData name="Ying Yang" userId="f1527f9b-a873-4aa2-b225-cf8fd3466e0d" providerId="ADAL" clId="{A30A5C05-46CF-4F03-AB5B-503FD66274CE}" dt="2022-06-13T08:37:09.649" v="4987"/>
          <ac:spMkLst>
            <pc:docMk/>
            <pc:sldMk cId="0" sldId="11089621"/>
            <ac:spMk id="74" creationId="{3125411C-30ED-4ABA-B4BF-D6C662AFF3A4}"/>
          </ac:spMkLst>
        </pc:spChg>
        <pc:spChg chg="mod">
          <ac:chgData name="Ying Yang" userId="f1527f9b-a873-4aa2-b225-cf8fd3466e0d" providerId="ADAL" clId="{A30A5C05-46CF-4F03-AB5B-503FD66274CE}" dt="2022-06-13T08:37:09.649" v="4987"/>
          <ac:spMkLst>
            <pc:docMk/>
            <pc:sldMk cId="0" sldId="11089621"/>
            <ac:spMk id="76" creationId="{5D44FB1A-D00D-49E0-B97D-4B8823641489}"/>
          </ac:spMkLst>
        </pc:spChg>
        <pc:spChg chg="mod">
          <ac:chgData name="Ying Yang" userId="f1527f9b-a873-4aa2-b225-cf8fd3466e0d" providerId="ADAL" clId="{A30A5C05-46CF-4F03-AB5B-503FD66274CE}" dt="2022-06-13T08:37:09.649" v="4987"/>
          <ac:spMkLst>
            <pc:docMk/>
            <pc:sldMk cId="0" sldId="11089621"/>
            <ac:spMk id="77" creationId="{7AB0BDA4-0DE9-43D3-B41E-BA882741DDB5}"/>
          </ac:spMkLst>
        </pc:spChg>
        <pc:spChg chg="mod">
          <ac:chgData name="Ying Yang" userId="f1527f9b-a873-4aa2-b225-cf8fd3466e0d" providerId="ADAL" clId="{A30A5C05-46CF-4F03-AB5B-503FD66274CE}" dt="2022-06-07T07:23:43.092" v="658" actId="1076"/>
          <ac:spMkLst>
            <pc:docMk/>
            <pc:sldMk cId="0" sldId="11089621"/>
            <ac:spMk id="188" creationId="{00000000-0000-0000-0000-000000000000}"/>
          </ac:spMkLst>
        </pc:spChg>
        <pc:grpChg chg="del">
          <ac:chgData name="Ying Yang" userId="f1527f9b-a873-4aa2-b225-cf8fd3466e0d" providerId="ADAL" clId="{A30A5C05-46CF-4F03-AB5B-503FD66274CE}" dt="2022-06-13T08:37:05.038" v="4984" actId="478"/>
          <ac:grpSpMkLst>
            <pc:docMk/>
            <pc:sldMk cId="0" sldId="11089621"/>
            <ac:grpSpMk id="52" creationId="{1A4BF0CB-8BA7-483C-8C10-26AA48D8A6B0}"/>
          </ac:grpSpMkLst>
        </pc:grpChg>
        <pc:grpChg chg="add del mod">
          <ac:chgData name="Ying Yang" userId="f1527f9b-a873-4aa2-b225-cf8fd3466e0d" providerId="ADAL" clId="{A30A5C05-46CF-4F03-AB5B-503FD66274CE}" dt="2022-06-13T08:37:08.348" v="4986"/>
          <ac:grpSpMkLst>
            <pc:docMk/>
            <pc:sldMk cId="0" sldId="11089621"/>
            <ac:grpSpMk id="62" creationId="{278880C0-A727-4445-956A-B6E2B0E8916E}"/>
          </ac:grpSpMkLst>
        </pc:grpChg>
        <pc:grpChg chg="mod">
          <ac:chgData name="Ying Yang" userId="f1527f9b-a873-4aa2-b225-cf8fd3466e0d" providerId="ADAL" clId="{A30A5C05-46CF-4F03-AB5B-503FD66274CE}" dt="2022-06-13T08:37:06.664" v="4985"/>
          <ac:grpSpMkLst>
            <pc:docMk/>
            <pc:sldMk cId="0" sldId="11089621"/>
            <ac:grpSpMk id="64" creationId="{A1E844B9-8F24-4C87-BE4C-7884E2E7015F}"/>
          </ac:grpSpMkLst>
        </pc:grpChg>
        <pc:grpChg chg="mod">
          <ac:chgData name="Ying Yang" userId="f1527f9b-a873-4aa2-b225-cf8fd3466e0d" providerId="ADAL" clId="{A30A5C05-46CF-4F03-AB5B-503FD66274CE}" dt="2022-06-13T08:37:06.664" v="4985"/>
          <ac:grpSpMkLst>
            <pc:docMk/>
            <pc:sldMk cId="0" sldId="11089621"/>
            <ac:grpSpMk id="67" creationId="{6AD68018-34FB-43AB-A5E5-03C6405171FA}"/>
          </ac:grpSpMkLst>
        </pc:grpChg>
        <pc:grpChg chg="add mod">
          <ac:chgData name="Ying Yang" userId="f1527f9b-a873-4aa2-b225-cf8fd3466e0d" providerId="ADAL" clId="{A30A5C05-46CF-4F03-AB5B-503FD66274CE}" dt="2022-06-13T08:37:09.649" v="4987"/>
          <ac:grpSpMkLst>
            <pc:docMk/>
            <pc:sldMk cId="0" sldId="11089621"/>
            <ac:grpSpMk id="70" creationId="{239C850E-A5FC-42CE-9EFB-2CD20A8806BF}"/>
          </ac:grpSpMkLst>
        </pc:grpChg>
        <pc:grpChg chg="mod">
          <ac:chgData name="Ying Yang" userId="f1527f9b-a873-4aa2-b225-cf8fd3466e0d" providerId="ADAL" clId="{A30A5C05-46CF-4F03-AB5B-503FD66274CE}" dt="2022-06-13T08:37:09.649" v="4987"/>
          <ac:grpSpMkLst>
            <pc:docMk/>
            <pc:sldMk cId="0" sldId="11089621"/>
            <ac:grpSpMk id="72" creationId="{748781C8-4F5A-4B01-8DCB-875D1B7A18FB}"/>
          </ac:grpSpMkLst>
        </pc:grpChg>
        <pc:grpChg chg="mod">
          <ac:chgData name="Ying Yang" userId="f1527f9b-a873-4aa2-b225-cf8fd3466e0d" providerId="ADAL" clId="{A30A5C05-46CF-4F03-AB5B-503FD66274CE}" dt="2022-06-13T08:37:09.649" v="4987"/>
          <ac:grpSpMkLst>
            <pc:docMk/>
            <pc:sldMk cId="0" sldId="11089621"/>
            <ac:grpSpMk id="75" creationId="{68D2B3F5-56B9-4786-A1BE-8F2603F35A38}"/>
          </ac:grpSpMkLst>
        </pc:grpChg>
      </pc:sldChg>
      <pc:sldChg chg="mod ord modShow">
        <pc:chgData name="Ying Yang" userId="f1527f9b-a873-4aa2-b225-cf8fd3466e0d" providerId="ADAL" clId="{A30A5C05-46CF-4F03-AB5B-503FD66274CE}" dt="2022-06-07T06:44:37.403" v="499"/>
        <pc:sldMkLst>
          <pc:docMk/>
          <pc:sldMk cId="0" sldId="11089622"/>
        </pc:sldMkLst>
      </pc:sldChg>
      <pc:sldChg chg="mod ord modShow">
        <pc:chgData name="Ying Yang" userId="f1527f9b-a873-4aa2-b225-cf8fd3466e0d" providerId="ADAL" clId="{A30A5C05-46CF-4F03-AB5B-503FD66274CE}" dt="2022-06-07T06:44:37.403" v="499"/>
        <pc:sldMkLst>
          <pc:docMk/>
          <pc:sldMk cId="0" sldId="11089623"/>
        </pc:sldMkLst>
      </pc:sldChg>
      <pc:sldChg chg="delSp modSp mod ord modShow">
        <pc:chgData name="Ying Yang" userId="f1527f9b-a873-4aa2-b225-cf8fd3466e0d" providerId="ADAL" clId="{A30A5C05-46CF-4F03-AB5B-503FD66274CE}" dt="2022-06-09T03:08:48.791" v="3828" actId="165"/>
        <pc:sldMkLst>
          <pc:docMk/>
          <pc:sldMk cId="0" sldId="11089624"/>
        </pc:sldMkLst>
        <pc:spChg chg="mod">
          <ac:chgData name="Ying Yang" userId="f1527f9b-a873-4aa2-b225-cf8fd3466e0d" providerId="ADAL" clId="{A30A5C05-46CF-4F03-AB5B-503FD66274CE}" dt="2022-06-09T03:08:48.791" v="3828" actId="165"/>
          <ac:spMkLst>
            <pc:docMk/>
            <pc:sldMk cId="0" sldId="11089624"/>
            <ac:spMk id="61" creationId="{00000000-0000-0000-0000-000000000000}"/>
          </ac:spMkLst>
        </pc:spChg>
        <pc:spChg chg="mod">
          <ac:chgData name="Ying Yang" userId="f1527f9b-a873-4aa2-b225-cf8fd3466e0d" providerId="ADAL" clId="{A30A5C05-46CF-4F03-AB5B-503FD66274CE}" dt="2022-06-09T03:08:48.791" v="3828" actId="165"/>
          <ac:spMkLst>
            <pc:docMk/>
            <pc:sldMk cId="0" sldId="11089624"/>
            <ac:spMk id="62" creationId="{00000000-0000-0000-0000-000000000000}"/>
          </ac:spMkLst>
        </pc:spChg>
        <pc:spChg chg="mod">
          <ac:chgData name="Ying Yang" userId="f1527f9b-a873-4aa2-b225-cf8fd3466e0d" providerId="ADAL" clId="{A30A5C05-46CF-4F03-AB5B-503FD66274CE}" dt="2022-06-09T03:08:48.791" v="3828" actId="165"/>
          <ac:spMkLst>
            <pc:docMk/>
            <pc:sldMk cId="0" sldId="11089624"/>
            <ac:spMk id="63" creationId="{00000000-0000-0000-0000-000000000000}"/>
          </ac:spMkLst>
        </pc:spChg>
        <pc:spChg chg="mod">
          <ac:chgData name="Ying Yang" userId="f1527f9b-a873-4aa2-b225-cf8fd3466e0d" providerId="ADAL" clId="{A30A5C05-46CF-4F03-AB5B-503FD66274CE}" dt="2022-06-09T03:08:48.791" v="3828" actId="165"/>
          <ac:spMkLst>
            <pc:docMk/>
            <pc:sldMk cId="0" sldId="11089624"/>
            <ac:spMk id="64" creationId="{00000000-0000-0000-0000-000000000000}"/>
          </ac:spMkLst>
        </pc:spChg>
        <pc:spChg chg="mod topLvl">
          <ac:chgData name="Ying Yang" userId="f1527f9b-a873-4aa2-b225-cf8fd3466e0d" providerId="ADAL" clId="{A30A5C05-46CF-4F03-AB5B-503FD66274CE}" dt="2022-06-09T03:08:48.791" v="3828" actId="165"/>
          <ac:spMkLst>
            <pc:docMk/>
            <pc:sldMk cId="0" sldId="11089624"/>
            <ac:spMk id="136" creationId="{00000000-0000-0000-0000-000000000000}"/>
          </ac:spMkLst>
        </pc:spChg>
        <pc:spChg chg="mod">
          <ac:chgData name="Ying Yang" userId="f1527f9b-a873-4aa2-b225-cf8fd3466e0d" providerId="ADAL" clId="{A30A5C05-46CF-4F03-AB5B-503FD66274CE}" dt="2022-06-09T03:08:48.791" v="3828" actId="165"/>
          <ac:spMkLst>
            <pc:docMk/>
            <pc:sldMk cId="0" sldId="11089624"/>
            <ac:spMk id="151" creationId="{00000000-0000-0000-0000-000000000000}"/>
          </ac:spMkLst>
        </pc:spChg>
        <pc:spChg chg="mod">
          <ac:chgData name="Ying Yang" userId="f1527f9b-a873-4aa2-b225-cf8fd3466e0d" providerId="ADAL" clId="{A30A5C05-46CF-4F03-AB5B-503FD66274CE}" dt="2022-06-09T03:08:48.791" v="3828" actId="165"/>
          <ac:spMkLst>
            <pc:docMk/>
            <pc:sldMk cId="0" sldId="11089624"/>
            <ac:spMk id="152" creationId="{00000000-0000-0000-0000-000000000000}"/>
          </ac:spMkLst>
        </pc:spChg>
        <pc:spChg chg="mod">
          <ac:chgData name="Ying Yang" userId="f1527f9b-a873-4aa2-b225-cf8fd3466e0d" providerId="ADAL" clId="{A30A5C05-46CF-4F03-AB5B-503FD66274CE}" dt="2022-06-09T03:08:48.791" v="3828" actId="165"/>
          <ac:spMkLst>
            <pc:docMk/>
            <pc:sldMk cId="0" sldId="11089624"/>
            <ac:spMk id="155" creationId="{00000000-0000-0000-0000-000000000000}"/>
          </ac:spMkLst>
        </pc:spChg>
        <pc:spChg chg="mod">
          <ac:chgData name="Ying Yang" userId="f1527f9b-a873-4aa2-b225-cf8fd3466e0d" providerId="ADAL" clId="{A30A5C05-46CF-4F03-AB5B-503FD66274CE}" dt="2022-06-09T03:08:48.791" v="3828" actId="165"/>
          <ac:spMkLst>
            <pc:docMk/>
            <pc:sldMk cId="0" sldId="11089624"/>
            <ac:spMk id="156" creationId="{00000000-0000-0000-0000-000000000000}"/>
          </ac:spMkLst>
        </pc:spChg>
        <pc:spChg chg="mod">
          <ac:chgData name="Ying Yang" userId="f1527f9b-a873-4aa2-b225-cf8fd3466e0d" providerId="ADAL" clId="{A30A5C05-46CF-4F03-AB5B-503FD66274CE}" dt="2022-06-09T03:08:48.791" v="3828" actId="165"/>
          <ac:spMkLst>
            <pc:docMk/>
            <pc:sldMk cId="0" sldId="11089624"/>
            <ac:spMk id="157" creationId="{00000000-0000-0000-0000-000000000000}"/>
          </ac:spMkLst>
        </pc:spChg>
        <pc:spChg chg="mod">
          <ac:chgData name="Ying Yang" userId="f1527f9b-a873-4aa2-b225-cf8fd3466e0d" providerId="ADAL" clId="{A30A5C05-46CF-4F03-AB5B-503FD66274CE}" dt="2022-06-09T03:08:48.791" v="3828" actId="165"/>
          <ac:spMkLst>
            <pc:docMk/>
            <pc:sldMk cId="0" sldId="11089624"/>
            <ac:spMk id="158" creationId="{00000000-0000-0000-0000-000000000000}"/>
          </ac:spMkLst>
        </pc:spChg>
        <pc:spChg chg="mod topLvl">
          <ac:chgData name="Ying Yang" userId="f1527f9b-a873-4aa2-b225-cf8fd3466e0d" providerId="ADAL" clId="{A30A5C05-46CF-4F03-AB5B-503FD66274CE}" dt="2022-06-09T03:08:48.791" v="3828" actId="165"/>
          <ac:spMkLst>
            <pc:docMk/>
            <pc:sldMk cId="0" sldId="11089624"/>
            <ac:spMk id="360" creationId="{00000000-0000-0000-0000-000000000000}"/>
          </ac:spMkLst>
        </pc:spChg>
        <pc:spChg chg="mod">
          <ac:chgData name="Ying Yang" userId="f1527f9b-a873-4aa2-b225-cf8fd3466e0d" providerId="ADAL" clId="{A30A5C05-46CF-4F03-AB5B-503FD66274CE}" dt="2022-06-09T03:08:48.791" v="3828" actId="165"/>
          <ac:spMkLst>
            <pc:docMk/>
            <pc:sldMk cId="0" sldId="11089624"/>
            <ac:spMk id="363" creationId="{00000000-0000-0000-0000-000000000000}"/>
          </ac:spMkLst>
        </pc:spChg>
        <pc:spChg chg="mod">
          <ac:chgData name="Ying Yang" userId="f1527f9b-a873-4aa2-b225-cf8fd3466e0d" providerId="ADAL" clId="{A30A5C05-46CF-4F03-AB5B-503FD66274CE}" dt="2022-06-09T03:08:48.791" v="3828" actId="165"/>
          <ac:spMkLst>
            <pc:docMk/>
            <pc:sldMk cId="0" sldId="11089624"/>
            <ac:spMk id="364" creationId="{00000000-0000-0000-0000-000000000000}"/>
          </ac:spMkLst>
        </pc:spChg>
        <pc:spChg chg="mod">
          <ac:chgData name="Ying Yang" userId="f1527f9b-a873-4aa2-b225-cf8fd3466e0d" providerId="ADAL" clId="{A30A5C05-46CF-4F03-AB5B-503FD66274CE}" dt="2022-06-09T03:08:48.791" v="3828" actId="165"/>
          <ac:spMkLst>
            <pc:docMk/>
            <pc:sldMk cId="0" sldId="11089624"/>
            <ac:spMk id="366" creationId="{00000000-0000-0000-0000-000000000000}"/>
          </ac:spMkLst>
        </pc:spChg>
        <pc:spChg chg="mod topLvl">
          <ac:chgData name="Ying Yang" userId="f1527f9b-a873-4aa2-b225-cf8fd3466e0d" providerId="ADAL" clId="{A30A5C05-46CF-4F03-AB5B-503FD66274CE}" dt="2022-06-09T03:08:48.791" v="3828" actId="165"/>
          <ac:spMkLst>
            <pc:docMk/>
            <pc:sldMk cId="0" sldId="11089624"/>
            <ac:spMk id="367" creationId="{00000000-0000-0000-0000-000000000000}"/>
          </ac:spMkLst>
        </pc:spChg>
        <pc:spChg chg="mod topLvl">
          <ac:chgData name="Ying Yang" userId="f1527f9b-a873-4aa2-b225-cf8fd3466e0d" providerId="ADAL" clId="{A30A5C05-46CF-4F03-AB5B-503FD66274CE}" dt="2022-06-09T03:08:48.791" v="3828" actId="165"/>
          <ac:spMkLst>
            <pc:docMk/>
            <pc:sldMk cId="0" sldId="11089624"/>
            <ac:spMk id="368" creationId="{00000000-0000-0000-0000-000000000000}"/>
          </ac:spMkLst>
        </pc:spChg>
        <pc:spChg chg="mod topLvl">
          <ac:chgData name="Ying Yang" userId="f1527f9b-a873-4aa2-b225-cf8fd3466e0d" providerId="ADAL" clId="{A30A5C05-46CF-4F03-AB5B-503FD66274CE}" dt="2022-06-09T03:08:48.791" v="3828" actId="165"/>
          <ac:spMkLst>
            <pc:docMk/>
            <pc:sldMk cId="0" sldId="11089624"/>
            <ac:spMk id="369" creationId="{00000000-0000-0000-0000-000000000000}"/>
          </ac:spMkLst>
        </pc:spChg>
        <pc:spChg chg="mod">
          <ac:chgData name="Ying Yang" userId="f1527f9b-a873-4aa2-b225-cf8fd3466e0d" providerId="ADAL" clId="{A30A5C05-46CF-4F03-AB5B-503FD66274CE}" dt="2022-06-09T03:08:48.791" v="3828" actId="165"/>
          <ac:spMkLst>
            <pc:docMk/>
            <pc:sldMk cId="0" sldId="11089624"/>
            <ac:spMk id="371" creationId="{00000000-0000-0000-0000-000000000000}"/>
          </ac:spMkLst>
        </pc:spChg>
        <pc:spChg chg="mod">
          <ac:chgData name="Ying Yang" userId="f1527f9b-a873-4aa2-b225-cf8fd3466e0d" providerId="ADAL" clId="{A30A5C05-46CF-4F03-AB5B-503FD66274CE}" dt="2022-06-09T03:08:48.791" v="3828" actId="165"/>
          <ac:spMkLst>
            <pc:docMk/>
            <pc:sldMk cId="0" sldId="11089624"/>
            <ac:spMk id="372" creationId="{00000000-0000-0000-0000-000000000000}"/>
          </ac:spMkLst>
        </pc:spChg>
        <pc:spChg chg="mod topLvl">
          <ac:chgData name="Ying Yang" userId="f1527f9b-a873-4aa2-b225-cf8fd3466e0d" providerId="ADAL" clId="{A30A5C05-46CF-4F03-AB5B-503FD66274CE}" dt="2022-06-09T03:08:48.791" v="3828" actId="165"/>
          <ac:spMkLst>
            <pc:docMk/>
            <pc:sldMk cId="0" sldId="11089624"/>
            <ac:spMk id="373" creationId="{00000000-0000-0000-0000-000000000000}"/>
          </ac:spMkLst>
        </pc:spChg>
        <pc:spChg chg="mod topLvl">
          <ac:chgData name="Ying Yang" userId="f1527f9b-a873-4aa2-b225-cf8fd3466e0d" providerId="ADAL" clId="{A30A5C05-46CF-4F03-AB5B-503FD66274CE}" dt="2022-06-09T03:08:48.791" v="3828" actId="165"/>
          <ac:spMkLst>
            <pc:docMk/>
            <pc:sldMk cId="0" sldId="11089624"/>
            <ac:spMk id="374" creationId="{00000000-0000-0000-0000-000000000000}"/>
          </ac:spMkLst>
        </pc:spChg>
        <pc:grpChg chg="mod topLvl">
          <ac:chgData name="Ying Yang" userId="f1527f9b-a873-4aa2-b225-cf8fd3466e0d" providerId="ADAL" clId="{A30A5C05-46CF-4F03-AB5B-503FD66274CE}" dt="2022-06-09T03:08:48.791" v="3828" actId="165"/>
          <ac:grpSpMkLst>
            <pc:docMk/>
            <pc:sldMk cId="0" sldId="11089624"/>
            <ac:grpSpMk id="9" creationId="{00000000-0000-0000-0000-000000000000}"/>
          </ac:grpSpMkLst>
        </pc:grpChg>
        <pc:grpChg chg="del">
          <ac:chgData name="Ying Yang" userId="f1527f9b-a873-4aa2-b225-cf8fd3466e0d" providerId="ADAL" clId="{A30A5C05-46CF-4F03-AB5B-503FD66274CE}" dt="2022-06-09T03:08:48.791" v="3828" actId="165"/>
          <ac:grpSpMkLst>
            <pc:docMk/>
            <pc:sldMk cId="0" sldId="11089624"/>
            <ac:grpSpMk id="10" creationId="{00000000-0000-0000-0000-000000000000}"/>
          </ac:grpSpMkLst>
        </pc:grpChg>
        <pc:grpChg chg="mod">
          <ac:chgData name="Ying Yang" userId="f1527f9b-a873-4aa2-b225-cf8fd3466e0d" providerId="ADAL" clId="{A30A5C05-46CF-4F03-AB5B-503FD66274CE}" dt="2022-06-09T03:08:48.791" v="3828" actId="165"/>
          <ac:grpSpMkLst>
            <pc:docMk/>
            <pc:sldMk cId="0" sldId="11089624"/>
            <ac:grpSpMk id="59" creationId="{00000000-0000-0000-0000-000000000000}"/>
          </ac:grpSpMkLst>
        </pc:grpChg>
        <pc:grpChg chg="mod">
          <ac:chgData name="Ying Yang" userId="f1527f9b-a873-4aa2-b225-cf8fd3466e0d" providerId="ADAL" clId="{A30A5C05-46CF-4F03-AB5B-503FD66274CE}" dt="2022-06-09T03:08:48.791" v="3828" actId="165"/>
          <ac:grpSpMkLst>
            <pc:docMk/>
            <pc:sldMk cId="0" sldId="11089624"/>
            <ac:grpSpMk id="60" creationId="{00000000-0000-0000-0000-000000000000}"/>
          </ac:grpSpMkLst>
        </pc:grpChg>
        <pc:grpChg chg="mod">
          <ac:chgData name="Ying Yang" userId="f1527f9b-a873-4aa2-b225-cf8fd3466e0d" providerId="ADAL" clId="{A30A5C05-46CF-4F03-AB5B-503FD66274CE}" dt="2022-06-09T03:08:48.791" v="3828" actId="165"/>
          <ac:grpSpMkLst>
            <pc:docMk/>
            <pc:sldMk cId="0" sldId="11089624"/>
            <ac:grpSpMk id="153" creationId="{00000000-0000-0000-0000-000000000000}"/>
          </ac:grpSpMkLst>
        </pc:grpChg>
        <pc:grpChg chg="mod">
          <ac:chgData name="Ying Yang" userId="f1527f9b-a873-4aa2-b225-cf8fd3466e0d" providerId="ADAL" clId="{A30A5C05-46CF-4F03-AB5B-503FD66274CE}" dt="2022-06-09T03:08:48.791" v="3828" actId="165"/>
          <ac:grpSpMkLst>
            <pc:docMk/>
            <pc:sldMk cId="0" sldId="11089624"/>
            <ac:grpSpMk id="154" creationId="{00000000-0000-0000-0000-000000000000}"/>
          </ac:grpSpMkLst>
        </pc:grpChg>
        <pc:grpChg chg="mod topLvl">
          <ac:chgData name="Ying Yang" userId="f1527f9b-a873-4aa2-b225-cf8fd3466e0d" providerId="ADAL" clId="{A30A5C05-46CF-4F03-AB5B-503FD66274CE}" dt="2022-06-09T03:08:48.791" v="3828" actId="165"/>
          <ac:grpSpMkLst>
            <pc:docMk/>
            <pc:sldMk cId="0" sldId="11089624"/>
            <ac:grpSpMk id="361" creationId="{00000000-0000-0000-0000-000000000000}"/>
          </ac:grpSpMkLst>
        </pc:grpChg>
        <pc:grpChg chg="mod">
          <ac:chgData name="Ying Yang" userId="f1527f9b-a873-4aa2-b225-cf8fd3466e0d" providerId="ADAL" clId="{A30A5C05-46CF-4F03-AB5B-503FD66274CE}" dt="2022-06-09T03:08:48.791" v="3828" actId="165"/>
          <ac:grpSpMkLst>
            <pc:docMk/>
            <pc:sldMk cId="0" sldId="11089624"/>
            <ac:grpSpMk id="362" creationId="{00000000-0000-0000-0000-000000000000}"/>
          </ac:grpSpMkLst>
        </pc:grpChg>
        <pc:grpChg chg="mod topLvl">
          <ac:chgData name="Ying Yang" userId="f1527f9b-a873-4aa2-b225-cf8fd3466e0d" providerId="ADAL" clId="{A30A5C05-46CF-4F03-AB5B-503FD66274CE}" dt="2022-06-09T03:08:48.791" v="3828" actId="165"/>
          <ac:grpSpMkLst>
            <pc:docMk/>
            <pc:sldMk cId="0" sldId="11089624"/>
            <ac:grpSpMk id="370" creationId="{00000000-0000-0000-0000-000000000000}"/>
          </ac:grpSpMkLst>
        </pc:grpChg>
        <pc:graphicFrameChg chg="mod">
          <ac:chgData name="Ying Yang" userId="f1527f9b-a873-4aa2-b225-cf8fd3466e0d" providerId="ADAL" clId="{A30A5C05-46CF-4F03-AB5B-503FD66274CE}" dt="2022-06-09T03:08:48.791" v="3828" actId="165"/>
          <ac:graphicFrameMkLst>
            <pc:docMk/>
            <pc:sldMk cId="0" sldId="11089624"/>
            <ac:graphicFrameMk id="365" creationId="{00000000-0000-0000-0000-000000000000}"/>
          </ac:graphicFrameMkLst>
        </pc:graphicFrameChg>
      </pc:sldChg>
      <pc:sldChg chg="add del">
        <pc:chgData name="Ying Yang" userId="f1527f9b-a873-4aa2-b225-cf8fd3466e0d" providerId="ADAL" clId="{A30A5C05-46CF-4F03-AB5B-503FD66274CE}" dt="2022-06-08T09:06:45.319" v="1876" actId="47"/>
        <pc:sldMkLst>
          <pc:docMk/>
          <pc:sldMk cId="0" sldId="11089626"/>
        </pc:sldMkLst>
      </pc:sldChg>
      <pc:sldChg chg="mod ord modShow">
        <pc:chgData name="Ying Yang" userId="f1527f9b-a873-4aa2-b225-cf8fd3466e0d" providerId="ADAL" clId="{A30A5C05-46CF-4F03-AB5B-503FD66274CE}" dt="2022-06-13T08:36:58.767" v="4983"/>
        <pc:sldMkLst>
          <pc:docMk/>
          <pc:sldMk cId="0" sldId="11089627"/>
        </pc:sldMkLst>
      </pc:sldChg>
      <pc:sldChg chg="delSp modSp mod ord">
        <pc:chgData name="Ying Yang" userId="f1527f9b-a873-4aa2-b225-cf8fd3466e0d" providerId="ADAL" clId="{A30A5C05-46CF-4F03-AB5B-503FD66274CE}" dt="2022-06-13T09:42:03.212" v="6163"/>
        <pc:sldMkLst>
          <pc:docMk/>
          <pc:sldMk cId="3000160088" sldId="2145705704"/>
        </pc:sldMkLst>
        <pc:spChg chg="del">
          <ac:chgData name="Ying Yang" userId="f1527f9b-a873-4aa2-b225-cf8fd3466e0d" providerId="ADAL" clId="{A30A5C05-46CF-4F03-AB5B-503FD66274CE}" dt="2022-06-07T06:33:20.141" v="271" actId="478"/>
          <ac:spMkLst>
            <pc:docMk/>
            <pc:sldMk cId="3000160088" sldId="2145705704"/>
            <ac:spMk id="11" creationId="{382B4E5C-E73D-4FFC-BC9E-F2763C0FD635}"/>
          </ac:spMkLst>
        </pc:spChg>
        <pc:spChg chg="mod">
          <ac:chgData name="Ying Yang" userId="f1527f9b-a873-4aa2-b225-cf8fd3466e0d" providerId="ADAL" clId="{A30A5C05-46CF-4F03-AB5B-503FD66274CE}" dt="2022-06-07T06:33:14.226" v="270" actId="13926"/>
          <ac:spMkLst>
            <pc:docMk/>
            <pc:sldMk cId="3000160088" sldId="2145705704"/>
            <ac:spMk id="25" creationId="{946E4A23-1DD0-4BB1-A8D9-58E281202D4E}"/>
          </ac:spMkLst>
        </pc:spChg>
      </pc:sldChg>
      <pc:sldChg chg="modSp del mod">
        <pc:chgData name="Ying Yang" userId="f1527f9b-a873-4aa2-b225-cf8fd3466e0d" providerId="ADAL" clId="{A30A5C05-46CF-4F03-AB5B-503FD66274CE}" dt="2022-06-13T09:08:49.233" v="5588" actId="47"/>
        <pc:sldMkLst>
          <pc:docMk/>
          <pc:sldMk cId="2112522219" sldId="2145705722"/>
        </pc:sldMkLst>
        <pc:graphicFrameChg chg="ord">
          <ac:chgData name="Ying Yang" userId="f1527f9b-a873-4aa2-b225-cf8fd3466e0d" providerId="ADAL" clId="{A30A5C05-46CF-4F03-AB5B-503FD66274CE}" dt="2022-06-13T09:05:43.603" v="5532" actId="167"/>
          <ac:graphicFrameMkLst>
            <pc:docMk/>
            <pc:sldMk cId="2112522219" sldId="2145705722"/>
            <ac:graphicFrameMk id="13" creationId="{50F028FC-EEFB-441B-9C41-83C5AD93306F}"/>
          </ac:graphicFrameMkLst>
        </pc:graphicFrameChg>
      </pc:sldChg>
      <pc:sldChg chg="mod ord modShow">
        <pc:chgData name="Ying Yang" userId="f1527f9b-a873-4aa2-b225-cf8fd3466e0d" providerId="ADAL" clId="{A30A5C05-46CF-4F03-AB5B-503FD66274CE}" dt="2022-06-13T08:28:12.753" v="4950"/>
        <pc:sldMkLst>
          <pc:docMk/>
          <pc:sldMk cId="27837680" sldId="2145705723"/>
        </pc:sldMkLst>
      </pc:sldChg>
      <pc:sldChg chg="addSp delSp modSp mod ord">
        <pc:chgData name="Ying Yang" userId="f1527f9b-a873-4aa2-b225-cf8fd3466e0d" providerId="ADAL" clId="{A30A5C05-46CF-4F03-AB5B-503FD66274CE}" dt="2022-06-13T08:28:12.753" v="4950"/>
        <pc:sldMkLst>
          <pc:docMk/>
          <pc:sldMk cId="1060656820" sldId="2145705724"/>
        </pc:sldMkLst>
        <pc:spChg chg="add del mod">
          <ac:chgData name="Ying Yang" userId="f1527f9b-a873-4aa2-b225-cf8fd3466e0d" providerId="ADAL" clId="{A30A5C05-46CF-4F03-AB5B-503FD66274CE}" dt="2022-06-07T06:23:26.728" v="242" actId="478"/>
          <ac:spMkLst>
            <pc:docMk/>
            <pc:sldMk cId="1060656820" sldId="2145705724"/>
            <ac:spMk id="10" creationId="{68895933-FB12-49D5-B8E8-0F3CDEB43CFD}"/>
          </ac:spMkLst>
        </pc:spChg>
        <pc:spChg chg="add del mod">
          <ac:chgData name="Ying Yang" userId="f1527f9b-a873-4aa2-b225-cf8fd3466e0d" providerId="ADAL" clId="{A30A5C05-46CF-4F03-AB5B-503FD66274CE}" dt="2022-06-07T06:23:26.728" v="242" actId="478"/>
          <ac:spMkLst>
            <pc:docMk/>
            <pc:sldMk cId="1060656820" sldId="2145705724"/>
            <ac:spMk id="58" creationId="{683FEAAE-5786-4266-B91B-427F85F48B6F}"/>
          </ac:spMkLst>
        </pc:spChg>
        <pc:spChg chg="mod">
          <ac:chgData name="Ying Yang" userId="f1527f9b-a873-4aa2-b225-cf8fd3466e0d" providerId="ADAL" clId="{A30A5C05-46CF-4F03-AB5B-503FD66274CE}" dt="2022-06-07T06:21:17.333" v="223" actId="1076"/>
          <ac:spMkLst>
            <pc:docMk/>
            <pc:sldMk cId="1060656820" sldId="2145705724"/>
            <ac:spMk id="61" creationId="{2B6AE8BA-BB4C-4321-9079-34F7D30A3130}"/>
          </ac:spMkLst>
        </pc:spChg>
        <pc:spChg chg="mod">
          <ac:chgData name="Ying Yang" userId="f1527f9b-a873-4aa2-b225-cf8fd3466e0d" providerId="ADAL" clId="{A30A5C05-46CF-4F03-AB5B-503FD66274CE}" dt="2022-06-07T06:21:34.686" v="231" actId="404"/>
          <ac:spMkLst>
            <pc:docMk/>
            <pc:sldMk cId="1060656820" sldId="2145705724"/>
            <ac:spMk id="83" creationId="{28EC80C4-5576-42C0-BFFE-4A8B4F0F1739}"/>
          </ac:spMkLst>
        </pc:spChg>
        <pc:spChg chg="mod">
          <ac:chgData name="Ying Yang" userId="f1527f9b-a873-4aa2-b225-cf8fd3466e0d" providerId="ADAL" clId="{A30A5C05-46CF-4F03-AB5B-503FD66274CE}" dt="2022-06-07T06:21:42.731" v="232" actId="1076"/>
          <ac:spMkLst>
            <pc:docMk/>
            <pc:sldMk cId="1060656820" sldId="2145705724"/>
            <ac:spMk id="295" creationId="{BC6901F0-E588-493C-B05D-91A9C69CC65C}"/>
          </ac:spMkLst>
        </pc:spChg>
        <pc:spChg chg="add del mod">
          <ac:chgData name="Ying Yang" userId="f1527f9b-a873-4aa2-b225-cf8fd3466e0d" providerId="ADAL" clId="{A30A5C05-46CF-4F03-AB5B-503FD66274CE}" dt="2022-06-07T06:23:26.728" v="242" actId="478"/>
          <ac:spMkLst>
            <pc:docMk/>
            <pc:sldMk cId="1060656820" sldId="2145705724"/>
            <ac:spMk id="296" creationId="{FEA298F7-7C48-44DB-B1C5-96D514B5412D}"/>
          </ac:spMkLst>
        </pc:spChg>
        <pc:spChg chg="add del mod">
          <ac:chgData name="Ying Yang" userId="f1527f9b-a873-4aa2-b225-cf8fd3466e0d" providerId="ADAL" clId="{A30A5C05-46CF-4F03-AB5B-503FD66274CE}" dt="2022-06-07T06:23:26.728" v="242" actId="478"/>
          <ac:spMkLst>
            <pc:docMk/>
            <pc:sldMk cId="1060656820" sldId="2145705724"/>
            <ac:spMk id="297" creationId="{576B3BD2-4BE0-424A-9ECD-9D5EF6D5FBFE}"/>
          </ac:spMkLst>
        </pc:spChg>
        <pc:spChg chg="mod">
          <ac:chgData name="Ying Yang" userId="f1527f9b-a873-4aa2-b225-cf8fd3466e0d" providerId="ADAL" clId="{A30A5C05-46CF-4F03-AB5B-503FD66274CE}" dt="2022-06-07T06:19:18.790" v="123" actId="1076"/>
          <ac:spMkLst>
            <pc:docMk/>
            <pc:sldMk cId="1060656820" sldId="2145705724"/>
            <ac:spMk id="298" creationId="{9C21BD7F-1779-4771-AEE2-25D2B35D6301}"/>
          </ac:spMkLst>
        </pc:spChg>
        <pc:spChg chg="add mod">
          <ac:chgData name="Ying Yang" userId="f1527f9b-a873-4aa2-b225-cf8fd3466e0d" providerId="ADAL" clId="{A30A5C05-46CF-4F03-AB5B-503FD66274CE}" dt="2022-06-07T06:23:06.785" v="240" actId="1076"/>
          <ac:spMkLst>
            <pc:docMk/>
            <pc:sldMk cId="1060656820" sldId="2145705724"/>
            <ac:spMk id="299" creationId="{3ACF14E6-CADE-441A-9C6F-64350D685280}"/>
          </ac:spMkLst>
        </pc:spChg>
        <pc:spChg chg="mod">
          <ac:chgData name="Ying Yang" userId="f1527f9b-a873-4aa2-b225-cf8fd3466e0d" providerId="ADAL" clId="{A30A5C05-46CF-4F03-AB5B-503FD66274CE}" dt="2022-06-07T06:21:52.352" v="235" actId="14100"/>
          <ac:spMkLst>
            <pc:docMk/>
            <pc:sldMk cId="1060656820" sldId="2145705724"/>
            <ac:spMk id="301" creationId="{EDFA5B0C-D237-49A9-AA16-6A19770DEEB2}"/>
          </ac:spMkLst>
        </pc:spChg>
        <pc:grpChg chg="mod">
          <ac:chgData name="Ying Yang" userId="f1527f9b-a873-4aa2-b225-cf8fd3466e0d" providerId="ADAL" clId="{A30A5C05-46CF-4F03-AB5B-503FD66274CE}" dt="2022-06-07T06:21:45.406" v="233" actId="14100"/>
          <ac:grpSpMkLst>
            <pc:docMk/>
            <pc:sldMk cId="1060656820" sldId="2145705724"/>
            <ac:grpSpMk id="8" creationId="{F5483109-E905-47E1-B417-56591F9179ED}"/>
          </ac:grpSpMkLst>
        </pc:grpChg>
        <pc:grpChg chg="add del mod">
          <ac:chgData name="Ying Yang" userId="f1527f9b-a873-4aa2-b225-cf8fd3466e0d" providerId="ADAL" clId="{A30A5C05-46CF-4F03-AB5B-503FD66274CE}" dt="2022-06-07T06:23:26.728" v="242" actId="478"/>
          <ac:grpSpMkLst>
            <pc:docMk/>
            <pc:sldMk cId="1060656820" sldId="2145705724"/>
            <ac:grpSpMk id="111" creationId="{8A025C2B-01E9-4958-8239-8EE167C8816E}"/>
          </ac:grpSpMkLst>
        </pc:grpChg>
        <pc:grpChg chg="add del mod">
          <ac:chgData name="Ying Yang" userId="f1527f9b-a873-4aa2-b225-cf8fd3466e0d" providerId="ADAL" clId="{A30A5C05-46CF-4F03-AB5B-503FD66274CE}" dt="2022-06-07T06:23:26.728" v="242" actId="478"/>
          <ac:grpSpMkLst>
            <pc:docMk/>
            <pc:sldMk cId="1060656820" sldId="2145705724"/>
            <ac:grpSpMk id="112" creationId="{4F823DD2-845E-4BFB-A535-6E0577E8EF1B}"/>
          </ac:grpSpMkLst>
        </pc:grpChg>
        <pc:grpChg chg="add del mod">
          <ac:chgData name="Ying Yang" userId="f1527f9b-a873-4aa2-b225-cf8fd3466e0d" providerId="ADAL" clId="{A30A5C05-46CF-4F03-AB5B-503FD66274CE}" dt="2022-06-07T06:23:26.728" v="242" actId="478"/>
          <ac:grpSpMkLst>
            <pc:docMk/>
            <pc:sldMk cId="1060656820" sldId="2145705724"/>
            <ac:grpSpMk id="282" creationId="{4424C6D4-AE9A-47B8-AF35-838D344619EB}"/>
          </ac:grpSpMkLst>
        </pc:grpChg>
        <pc:picChg chg="mod">
          <ac:chgData name="Ying Yang" userId="f1527f9b-a873-4aa2-b225-cf8fd3466e0d" providerId="ADAL" clId="{A30A5C05-46CF-4F03-AB5B-503FD66274CE}" dt="2022-06-07T06:19:18.790" v="123" actId="1076"/>
          <ac:picMkLst>
            <pc:docMk/>
            <pc:sldMk cId="1060656820" sldId="2145705724"/>
            <ac:picMk id="17" creationId="{A544E61D-C835-4359-BE3B-A96F19B8934B}"/>
          </ac:picMkLst>
        </pc:picChg>
        <pc:picChg chg="mod">
          <ac:chgData name="Ying Yang" userId="f1527f9b-a873-4aa2-b225-cf8fd3466e0d" providerId="ADAL" clId="{A30A5C05-46CF-4F03-AB5B-503FD66274CE}" dt="2022-06-07T06:19:18.790" v="123" actId="1076"/>
          <ac:picMkLst>
            <pc:docMk/>
            <pc:sldMk cId="1060656820" sldId="2145705724"/>
            <ac:picMk id="19" creationId="{87283CB3-2DC9-42D3-AEA3-238CE2950117}"/>
          </ac:picMkLst>
        </pc:picChg>
        <pc:picChg chg="mod">
          <ac:chgData name="Ying Yang" userId="f1527f9b-a873-4aa2-b225-cf8fd3466e0d" providerId="ADAL" clId="{A30A5C05-46CF-4F03-AB5B-503FD66274CE}" dt="2022-06-07T06:19:18.790" v="123" actId="1076"/>
          <ac:picMkLst>
            <pc:docMk/>
            <pc:sldMk cId="1060656820" sldId="2145705724"/>
            <ac:picMk id="21" creationId="{F081946D-A0AF-40DE-BD32-142931CA5159}"/>
          </ac:picMkLst>
        </pc:picChg>
        <pc:picChg chg="mod">
          <ac:chgData name="Ying Yang" userId="f1527f9b-a873-4aa2-b225-cf8fd3466e0d" providerId="ADAL" clId="{A30A5C05-46CF-4F03-AB5B-503FD66274CE}" dt="2022-06-07T06:19:18.790" v="123" actId="1076"/>
          <ac:picMkLst>
            <pc:docMk/>
            <pc:sldMk cId="1060656820" sldId="2145705724"/>
            <ac:picMk id="300" creationId="{974A2D30-1758-4505-98C2-AA7C8DEA9E40}"/>
          </ac:picMkLst>
        </pc:picChg>
      </pc:sldChg>
      <pc:sldChg chg="modSp mod ord">
        <pc:chgData name="Ying Yang" userId="f1527f9b-a873-4aa2-b225-cf8fd3466e0d" providerId="ADAL" clId="{A30A5C05-46CF-4F03-AB5B-503FD66274CE}" dt="2022-06-13T10:05:27.078" v="6820" actId="20578"/>
        <pc:sldMkLst>
          <pc:docMk/>
          <pc:sldMk cId="3428528797" sldId="2145705733"/>
        </pc:sldMkLst>
        <pc:spChg chg="mod">
          <ac:chgData name="Ying Yang" userId="f1527f9b-a873-4aa2-b225-cf8fd3466e0d" providerId="ADAL" clId="{A30A5C05-46CF-4F03-AB5B-503FD66274CE}" dt="2022-06-07T06:42:33.906" v="416" actId="20577"/>
          <ac:spMkLst>
            <pc:docMk/>
            <pc:sldMk cId="3428528797" sldId="2145705733"/>
            <ac:spMk id="10" creationId="{E1FF8A14-2AC6-4193-8D11-DFEAB16AED34}"/>
          </ac:spMkLst>
        </pc:spChg>
      </pc:sldChg>
      <pc:sldChg chg="addSp delSp modSp del mod ord addCm modCm">
        <pc:chgData name="Ying Yang" userId="f1527f9b-a873-4aa2-b225-cf8fd3466e0d" providerId="ADAL" clId="{A30A5C05-46CF-4F03-AB5B-503FD66274CE}" dt="2022-06-08T09:06:43.880" v="1875" actId="47"/>
        <pc:sldMkLst>
          <pc:docMk/>
          <pc:sldMk cId="246860958" sldId="2145705735"/>
        </pc:sldMkLst>
        <pc:spChg chg="mod">
          <ac:chgData name="Ying Yang" userId="f1527f9b-a873-4aa2-b225-cf8fd3466e0d" providerId="ADAL" clId="{A30A5C05-46CF-4F03-AB5B-503FD66274CE}" dt="2022-06-08T08:22:37.695" v="1304"/>
          <ac:spMkLst>
            <pc:docMk/>
            <pc:sldMk cId="246860958" sldId="2145705735"/>
            <ac:spMk id="3" creationId="{C50EB44B-F954-49FB-9F33-EF06A35E84BD}"/>
          </ac:spMkLst>
        </pc:spChg>
        <pc:spChg chg="add del mod">
          <ac:chgData name="Ying Yang" userId="f1527f9b-a873-4aa2-b225-cf8fd3466e0d" providerId="ADAL" clId="{A30A5C05-46CF-4F03-AB5B-503FD66274CE}" dt="2022-06-08T08:18:45.606" v="1234" actId="478"/>
          <ac:spMkLst>
            <pc:docMk/>
            <pc:sldMk cId="246860958" sldId="2145705735"/>
            <ac:spMk id="4" creationId="{52D3C8BC-7677-411C-B3D2-8530D32680F2}"/>
          </ac:spMkLst>
        </pc:spChg>
      </pc:sldChg>
      <pc:sldChg chg="ord">
        <pc:chgData name="Ying Yang" userId="f1527f9b-a873-4aa2-b225-cf8fd3466e0d" providerId="ADAL" clId="{A30A5C05-46CF-4F03-AB5B-503FD66274CE}" dt="2022-06-13T09:18:50.977" v="5723"/>
        <pc:sldMkLst>
          <pc:docMk/>
          <pc:sldMk cId="3495969178" sldId="2145705736"/>
        </pc:sldMkLst>
      </pc:sldChg>
      <pc:sldChg chg="addSp delSp modSp del mod ord">
        <pc:chgData name="Ying Yang" userId="f1527f9b-a873-4aa2-b225-cf8fd3466e0d" providerId="ADAL" clId="{A30A5C05-46CF-4F03-AB5B-503FD66274CE}" dt="2022-06-13T09:00:26.414" v="5394" actId="47"/>
        <pc:sldMkLst>
          <pc:docMk/>
          <pc:sldMk cId="2608843013" sldId="2145705737"/>
        </pc:sldMkLst>
        <pc:spChg chg="mod">
          <ac:chgData name="Ying Yang" userId="f1527f9b-a873-4aa2-b225-cf8fd3466e0d" providerId="ADAL" clId="{A30A5C05-46CF-4F03-AB5B-503FD66274CE}" dt="2022-06-13T08:45:54.493" v="5107"/>
          <ac:spMkLst>
            <pc:docMk/>
            <pc:sldMk cId="2608843013" sldId="2145705737"/>
            <ac:spMk id="18" creationId="{CB017E30-E516-4E49-BA4C-ECDDB950581B}"/>
          </ac:spMkLst>
        </pc:spChg>
        <pc:spChg chg="mod">
          <ac:chgData name="Ying Yang" userId="f1527f9b-a873-4aa2-b225-cf8fd3466e0d" providerId="ADAL" clId="{A30A5C05-46CF-4F03-AB5B-503FD66274CE}" dt="2022-06-13T08:45:54.493" v="5107"/>
          <ac:spMkLst>
            <pc:docMk/>
            <pc:sldMk cId="2608843013" sldId="2145705737"/>
            <ac:spMk id="32" creationId="{E02AEF84-DED0-401C-9EBC-65E474ADAF47}"/>
          </ac:spMkLst>
        </pc:spChg>
        <pc:spChg chg="mod">
          <ac:chgData name="Ying Yang" userId="f1527f9b-a873-4aa2-b225-cf8fd3466e0d" providerId="ADAL" clId="{A30A5C05-46CF-4F03-AB5B-503FD66274CE}" dt="2022-06-13T08:45:54.493" v="5107"/>
          <ac:spMkLst>
            <pc:docMk/>
            <pc:sldMk cId="2608843013" sldId="2145705737"/>
            <ac:spMk id="33" creationId="{00BC7429-27E0-4B12-B9BD-4337DCBF3080}"/>
          </ac:spMkLst>
        </pc:spChg>
        <pc:spChg chg="mod">
          <ac:chgData name="Ying Yang" userId="f1527f9b-a873-4aa2-b225-cf8fd3466e0d" providerId="ADAL" clId="{A30A5C05-46CF-4F03-AB5B-503FD66274CE}" dt="2022-06-13T08:45:54.493" v="5107"/>
          <ac:spMkLst>
            <pc:docMk/>
            <pc:sldMk cId="2608843013" sldId="2145705737"/>
            <ac:spMk id="35" creationId="{85FDFF50-C0D4-4887-B4BE-23569E9ACBD9}"/>
          </ac:spMkLst>
        </pc:spChg>
        <pc:spChg chg="mod">
          <ac:chgData name="Ying Yang" userId="f1527f9b-a873-4aa2-b225-cf8fd3466e0d" providerId="ADAL" clId="{A30A5C05-46CF-4F03-AB5B-503FD66274CE}" dt="2022-06-13T08:45:54.493" v="5107"/>
          <ac:spMkLst>
            <pc:docMk/>
            <pc:sldMk cId="2608843013" sldId="2145705737"/>
            <ac:spMk id="37" creationId="{46E3BD95-F9DF-42C1-ACDC-AC192230A5DD}"/>
          </ac:spMkLst>
        </pc:spChg>
        <pc:spChg chg="mod">
          <ac:chgData name="Ying Yang" userId="f1527f9b-a873-4aa2-b225-cf8fd3466e0d" providerId="ADAL" clId="{A30A5C05-46CF-4F03-AB5B-503FD66274CE}" dt="2022-06-13T08:45:54.493" v="5107"/>
          <ac:spMkLst>
            <pc:docMk/>
            <pc:sldMk cId="2608843013" sldId="2145705737"/>
            <ac:spMk id="38" creationId="{B1256E6D-6DF7-43D0-BFE8-FDDEF452E11A}"/>
          </ac:spMkLst>
        </pc:spChg>
        <pc:spChg chg="mod">
          <ac:chgData name="Ying Yang" userId="f1527f9b-a873-4aa2-b225-cf8fd3466e0d" providerId="ADAL" clId="{A30A5C05-46CF-4F03-AB5B-503FD66274CE}" dt="2022-06-13T08:45:54.493" v="5107"/>
          <ac:spMkLst>
            <pc:docMk/>
            <pc:sldMk cId="2608843013" sldId="2145705737"/>
            <ac:spMk id="40" creationId="{4C2567CC-7EA6-4B7C-A0D2-034300B9C38D}"/>
          </ac:spMkLst>
        </pc:spChg>
        <pc:spChg chg="mod">
          <ac:chgData name="Ying Yang" userId="f1527f9b-a873-4aa2-b225-cf8fd3466e0d" providerId="ADAL" clId="{A30A5C05-46CF-4F03-AB5B-503FD66274CE}" dt="2022-06-13T08:45:54.493" v="5107"/>
          <ac:spMkLst>
            <pc:docMk/>
            <pc:sldMk cId="2608843013" sldId="2145705737"/>
            <ac:spMk id="41" creationId="{C8918620-1249-480F-AF61-941C8EAA414B}"/>
          </ac:spMkLst>
        </pc:spChg>
        <pc:grpChg chg="add del mod">
          <ac:chgData name="Ying Yang" userId="f1527f9b-a873-4aa2-b225-cf8fd3466e0d" providerId="ADAL" clId="{A30A5C05-46CF-4F03-AB5B-503FD66274CE}" dt="2022-06-13T08:46:04.426" v="5108"/>
          <ac:grpSpMkLst>
            <pc:docMk/>
            <pc:sldMk cId="2608843013" sldId="2145705737"/>
            <ac:grpSpMk id="17" creationId="{5329CC79-2D24-4F57-B53B-2509EDEDD5B4}"/>
          </ac:grpSpMkLst>
        </pc:grpChg>
        <pc:grpChg chg="mod">
          <ac:chgData name="Ying Yang" userId="f1527f9b-a873-4aa2-b225-cf8fd3466e0d" providerId="ADAL" clId="{A30A5C05-46CF-4F03-AB5B-503FD66274CE}" dt="2022-06-13T08:45:54.493" v="5107"/>
          <ac:grpSpMkLst>
            <pc:docMk/>
            <pc:sldMk cId="2608843013" sldId="2145705737"/>
            <ac:grpSpMk id="19" creationId="{210F24F0-F035-4021-9E71-7BF08D6F1AF6}"/>
          </ac:grpSpMkLst>
        </pc:grpChg>
        <pc:grpChg chg="mod">
          <ac:chgData name="Ying Yang" userId="f1527f9b-a873-4aa2-b225-cf8fd3466e0d" providerId="ADAL" clId="{A30A5C05-46CF-4F03-AB5B-503FD66274CE}" dt="2022-06-13T08:45:54.493" v="5107"/>
          <ac:grpSpMkLst>
            <pc:docMk/>
            <pc:sldMk cId="2608843013" sldId="2145705737"/>
            <ac:grpSpMk id="20" creationId="{07C2E7F6-3507-4E1B-B858-27DD5C231AD6}"/>
          </ac:grpSpMkLst>
        </pc:grpChg>
        <pc:grpChg chg="del">
          <ac:chgData name="Ying Yang" userId="f1527f9b-a873-4aa2-b225-cf8fd3466e0d" providerId="ADAL" clId="{A30A5C05-46CF-4F03-AB5B-503FD66274CE}" dt="2022-06-13T08:45:45.884" v="5106" actId="478"/>
          <ac:grpSpMkLst>
            <pc:docMk/>
            <pc:sldMk cId="2608843013" sldId="2145705737"/>
            <ac:grpSpMk id="22" creationId="{3B53FCEC-9166-40B6-B60E-716DC8CF82F1}"/>
          </ac:grpSpMkLst>
        </pc:grpChg>
        <pc:grpChg chg="add del mod">
          <ac:chgData name="Ying Yang" userId="f1527f9b-a873-4aa2-b225-cf8fd3466e0d" providerId="ADAL" clId="{A30A5C05-46CF-4F03-AB5B-503FD66274CE}" dt="2022-06-13T08:46:04.426" v="5108"/>
          <ac:grpSpMkLst>
            <pc:docMk/>
            <pc:sldMk cId="2608843013" sldId="2145705737"/>
            <ac:grpSpMk id="34" creationId="{A8216192-35E8-46BF-9CD9-D98E3E24DD7D}"/>
          </ac:grpSpMkLst>
        </pc:grpChg>
        <pc:grpChg chg="mod">
          <ac:chgData name="Ying Yang" userId="f1527f9b-a873-4aa2-b225-cf8fd3466e0d" providerId="ADAL" clId="{A30A5C05-46CF-4F03-AB5B-503FD66274CE}" dt="2022-06-13T08:45:54.493" v="5107"/>
          <ac:grpSpMkLst>
            <pc:docMk/>
            <pc:sldMk cId="2608843013" sldId="2145705737"/>
            <ac:grpSpMk id="36" creationId="{F7D469A1-E0BF-4A8C-8831-7E9E5958B8CB}"/>
          </ac:grpSpMkLst>
        </pc:grpChg>
        <pc:grpChg chg="mod">
          <ac:chgData name="Ying Yang" userId="f1527f9b-a873-4aa2-b225-cf8fd3466e0d" providerId="ADAL" clId="{A30A5C05-46CF-4F03-AB5B-503FD66274CE}" dt="2022-06-13T08:45:54.493" v="5107"/>
          <ac:grpSpMkLst>
            <pc:docMk/>
            <pc:sldMk cId="2608843013" sldId="2145705737"/>
            <ac:grpSpMk id="39" creationId="{33B9BEB0-66EE-443E-BFC7-8DEE82A11F53}"/>
          </ac:grpSpMkLst>
        </pc:grpChg>
        <pc:picChg chg="mod">
          <ac:chgData name="Ying Yang" userId="f1527f9b-a873-4aa2-b225-cf8fd3466e0d" providerId="ADAL" clId="{A30A5C05-46CF-4F03-AB5B-503FD66274CE}" dt="2022-06-13T08:31:08.396" v="4951" actId="1076"/>
          <ac:picMkLst>
            <pc:docMk/>
            <pc:sldMk cId="2608843013" sldId="2145705737"/>
            <ac:picMk id="21" creationId="{8D09233C-738F-42D5-A2BF-5F954EDDA100}"/>
          </ac:picMkLst>
        </pc:picChg>
        <pc:cxnChg chg="mod">
          <ac:chgData name="Ying Yang" userId="f1527f9b-a873-4aa2-b225-cf8fd3466e0d" providerId="ADAL" clId="{A30A5C05-46CF-4F03-AB5B-503FD66274CE}" dt="2022-06-13T08:45:54.493" v="5107"/>
          <ac:cxnSpMkLst>
            <pc:docMk/>
            <pc:sldMk cId="2608843013" sldId="2145705737"/>
            <ac:cxnSpMk id="30" creationId="{24223DDA-8401-44BD-A0FE-A45BD4B62575}"/>
          </ac:cxnSpMkLst>
        </pc:cxnChg>
        <pc:cxnChg chg="mod">
          <ac:chgData name="Ying Yang" userId="f1527f9b-a873-4aa2-b225-cf8fd3466e0d" providerId="ADAL" clId="{A30A5C05-46CF-4F03-AB5B-503FD66274CE}" dt="2022-06-13T08:45:54.493" v="5107"/>
          <ac:cxnSpMkLst>
            <pc:docMk/>
            <pc:sldMk cId="2608843013" sldId="2145705737"/>
            <ac:cxnSpMk id="31" creationId="{9C91420D-BF5C-4751-9749-835FEC9ED5BC}"/>
          </ac:cxnSpMkLst>
        </pc:cxnChg>
      </pc:sldChg>
      <pc:sldChg chg="del">
        <pc:chgData name="Ying Yang" userId="f1527f9b-a873-4aa2-b225-cf8fd3466e0d" providerId="ADAL" clId="{A30A5C05-46CF-4F03-AB5B-503FD66274CE}" dt="2022-06-07T07:26:18.868" v="691" actId="47"/>
        <pc:sldMkLst>
          <pc:docMk/>
          <pc:sldMk cId="539241736" sldId="2145705738"/>
        </pc:sldMkLst>
      </pc:sldChg>
      <pc:sldChg chg="add mod ord modShow">
        <pc:chgData name="Ying Yang" userId="f1527f9b-a873-4aa2-b225-cf8fd3466e0d" providerId="ADAL" clId="{A30A5C05-46CF-4F03-AB5B-503FD66274CE}" dt="2022-06-13T09:42:03.212" v="6163"/>
        <pc:sldMkLst>
          <pc:docMk/>
          <pc:sldMk cId="1204796870" sldId="2145705739"/>
        </pc:sldMkLst>
      </pc:sldChg>
      <pc:sldChg chg="addSp delSp modSp new del mod">
        <pc:chgData name="Ying Yang" userId="f1527f9b-a873-4aa2-b225-cf8fd3466e0d" providerId="ADAL" clId="{A30A5C05-46CF-4F03-AB5B-503FD66274CE}" dt="2022-06-08T07:53:39.467" v="1106" actId="47"/>
        <pc:sldMkLst>
          <pc:docMk/>
          <pc:sldMk cId="1238881428" sldId="2145705740"/>
        </pc:sldMkLst>
        <pc:spChg chg="del">
          <ac:chgData name="Ying Yang" userId="f1527f9b-a873-4aa2-b225-cf8fd3466e0d" providerId="ADAL" clId="{A30A5C05-46CF-4F03-AB5B-503FD66274CE}" dt="2022-06-07T07:29:51.231" v="911" actId="478"/>
          <ac:spMkLst>
            <pc:docMk/>
            <pc:sldMk cId="1238881428" sldId="2145705740"/>
            <ac:spMk id="2" creationId="{2DDFF85F-C7CA-4731-A5F2-19487AC90C81}"/>
          </ac:spMkLst>
        </pc:spChg>
        <pc:spChg chg="del">
          <ac:chgData name="Ying Yang" userId="f1527f9b-a873-4aa2-b225-cf8fd3466e0d" providerId="ADAL" clId="{A30A5C05-46CF-4F03-AB5B-503FD66274CE}" dt="2022-06-07T06:45:41.804" v="522" actId="478"/>
          <ac:spMkLst>
            <pc:docMk/>
            <pc:sldMk cId="1238881428" sldId="2145705740"/>
            <ac:spMk id="3" creationId="{79A205DB-375E-4BF5-A70C-41FAB8A729A1}"/>
          </ac:spMkLst>
        </pc:spChg>
        <pc:spChg chg="mod">
          <ac:chgData name="Ying Yang" userId="f1527f9b-a873-4aa2-b225-cf8fd3466e0d" providerId="ADAL" clId="{A30A5C05-46CF-4F03-AB5B-503FD66274CE}" dt="2022-06-08T07:49:13.047" v="1054" actId="1076"/>
          <ac:spMkLst>
            <pc:docMk/>
            <pc:sldMk cId="1238881428" sldId="2145705740"/>
            <ac:spMk id="4" creationId="{0F8D0815-F3C1-4AFB-A114-D1B4107EB873}"/>
          </ac:spMkLst>
        </pc:spChg>
        <pc:spChg chg="mod">
          <ac:chgData name="Ying Yang" userId="f1527f9b-a873-4aa2-b225-cf8fd3466e0d" providerId="ADAL" clId="{A30A5C05-46CF-4F03-AB5B-503FD66274CE}" dt="2022-06-08T07:45:37.328" v="1004"/>
          <ac:spMkLst>
            <pc:docMk/>
            <pc:sldMk cId="1238881428" sldId="2145705740"/>
            <ac:spMk id="5" creationId="{7B7D280F-75F0-4F11-AD03-6249270E2D5C}"/>
          </ac:spMkLst>
        </pc:spChg>
        <pc:spChg chg="mod">
          <ac:chgData name="Ying Yang" userId="f1527f9b-a873-4aa2-b225-cf8fd3466e0d" providerId="ADAL" clId="{A30A5C05-46CF-4F03-AB5B-503FD66274CE}" dt="2022-06-08T07:48:16.035" v="1018"/>
          <ac:spMkLst>
            <pc:docMk/>
            <pc:sldMk cId="1238881428" sldId="2145705740"/>
            <ac:spMk id="6" creationId="{9EC5E6F3-0004-4AE8-A89C-842046FCF506}"/>
          </ac:spMkLst>
        </pc:spChg>
        <pc:spChg chg="mod">
          <ac:chgData name="Ying Yang" userId="f1527f9b-a873-4aa2-b225-cf8fd3466e0d" providerId="ADAL" clId="{A30A5C05-46CF-4F03-AB5B-503FD66274CE}" dt="2022-06-08T07:45:37.328" v="1004"/>
          <ac:spMkLst>
            <pc:docMk/>
            <pc:sldMk cId="1238881428" sldId="2145705740"/>
            <ac:spMk id="7" creationId="{7293423A-DC8F-4574-BAD3-EE282DD5D410}"/>
          </ac:spMkLst>
        </pc:spChg>
        <pc:spChg chg="mod">
          <ac:chgData name="Ying Yang" userId="f1527f9b-a873-4aa2-b225-cf8fd3466e0d" providerId="ADAL" clId="{A30A5C05-46CF-4F03-AB5B-503FD66274CE}" dt="2022-06-08T07:45:37.328" v="1004"/>
          <ac:spMkLst>
            <pc:docMk/>
            <pc:sldMk cId="1238881428" sldId="2145705740"/>
            <ac:spMk id="8" creationId="{1BE9DD9F-BBE3-465C-8FA7-941827206393}"/>
          </ac:spMkLst>
        </pc:spChg>
        <pc:spChg chg="mod topLvl">
          <ac:chgData name="Ying Yang" userId="f1527f9b-a873-4aa2-b225-cf8fd3466e0d" providerId="ADAL" clId="{A30A5C05-46CF-4F03-AB5B-503FD66274CE}" dt="2022-06-08T07:53:25.686" v="1103" actId="164"/>
          <ac:spMkLst>
            <pc:docMk/>
            <pc:sldMk cId="1238881428" sldId="2145705740"/>
            <ac:spMk id="10" creationId="{A80E5F7A-3608-48CB-8FB5-930A03A9AE6F}"/>
          </ac:spMkLst>
        </pc:spChg>
        <pc:spChg chg="mod topLvl">
          <ac:chgData name="Ying Yang" userId="f1527f9b-a873-4aa2-b225-cf8fd3466e0d" providerId="ADAL" clId="{A30A5C05-46CF-4F03-AB5B-503FD66274CE}" dt="2022-06-08T07:53:25.686" v="1103" actId="164"/>
          <ac:spMkLst>
            <pc:docMk/>
            <pc:sldMk cId="1238881428" sldId="2145705740"/>
            <ac:spMk id="11" creationId="{102ECDC4-2043-4A9A-9CC5-1CF2E3749405}"/>
          </ac:spMkLst>
        </pc:spChg>
        <pc:spChg chg="mod topLvl">
          <ac:chgData name="Ying Yang" userId="f1527f9b-a873-4aa2-b225-cf8fd3466e0d" providerId="ADAL" clId="{A30A5C05-46CF-4F03-AB5B-503FD66274CE}" dt="2022-06-08T07:53:25.686" v="1103" actId="164"/>
          <ac:spMkLst>
            <pc:docMk/>
            <pc:sldMk cId="1238881428" sldId="2145705740"/>
            <ac:spMk id="12" creationId="{14AA07D9-53A9-4D87-A32D-DD730C3EAF15}"/>
          </ac:spMkLst>
        </pc:spChg>
        <pc:spChg chg="mod ord topLvl">
          <ac:chgData name="Ying Yang" userId="f1527f9b-a873-4aa2-b225-cf8fd3466e0d" providerId="ADAL" clId="{A30A5C05-46CF-4F03-AB5B-503FD66274CE}" dt="2022-06-08T07:53:28.155" v="1104" actId="164"/>
          <ac:spMkLst>
            <pc:docMk/>
            <pc:sldMk cId="1238881428" sldId="2145705740"/>
            <ac:spMk id="13" creationId="{38D1E7E5-0765-459F-976F-3D9AA3510A37}"/>
          </ac:spMkLst>
        </pc:spChg>
        <pc:spChg chg="mod topLvl">
          <ac:chgData name="Ying Yang" userId="f1527f9b-a873-4aa2-b225-cf8fd3466e0d" providerId="ADAL" clId="{A30A5C05-46CF-4F03-AB5B-503FD66274CE}" dt="2022-06-08T07:53:28.155" v="1104" actId="164"/>
          <ac:spMkLst>
            <pc:docMk/>
            <pc:sldMk cId="1238881428" sldId="2145705740"/>
            <ac:spMk id="15" creationId="{84F16CED-D1F2-4CF0-AB01-FFBBD90F55F0}"/>
          </ac:spMkLst>
        </pc:spChg>
        <pc:spChg chg="mod topLvl">
          <ac:chgData name="Ying Yang" userId="f1527f9b-a873-4aa2-b225-cf8fd3466e0d" providerId="ADAL" clId="{A30A5C05-46CF-4F03-AB5B-503FD66274CE}" dt="2022-06-08T07:53:28.155" v="1104" actId="164"/>
          <ac:spMkLst>
            <pc:docMk/>
            <pc:sldMk cId="1238881428" sldId="2145705740"/>
            <ac:spMk id="16" creationId="{A719E278-0E23-4114-B08F-C28D1DFF60B3}"/>
          </ac:spMkLst>
        </pc:spChg>
        <pc:spChg chg="mod topLvl">
          <ac:chgData name="Ying Yang" userId="f1527f9b-a873-4aa2-b225-cf8fd3466e0d" providerId="ADAL" clId="{A30A5C05-46CF-4F03-AB5B-503FD66274CE}" dt="2022-06-08T07:53:28.155" v="1104" actId="164"/>
          <ac:spMkLst>
            <pc:docMk/>
            <pc:sldMk cId="1238881428" sldId="2145705740"/>
            <ac:spMk id="17" creationId="{E3C8F851-DA28-4251-8684-408FE815562E}"/>
          </ac:spMkLst>
        </pc:spChg>
        <pc:spChg chg="mod topLvl">
          <ac:chgData name="Ying Yang" userId="f1527f9b-a873-4aa2-b225-cf8fd3466e0d" providerId="ADAL" clId="{A30A5C05-46CF-4F03-AB5B-503FD66274CE}" dt="2022-06-08T07:53:25.686" v="1103" actId="164"/>
          <ac:spMkLst>
            <pc:docMk/>
            <pc:sldMk cId="1238881428" sldId="2145705740"/>
            <ac:spMk id="18" creationId="{D847F34A-1870-483C-8223-67301FD1A462}"/>
          </ac:spMkLst>
        </pc:spChg>
        <pc:spChg chg="mod">
          <ac:chgData name="Ying Yang" userId="f1527f9b-a873-4aa2-b225-cf8fd3466e0d" providerId="ADAL" clId="{A30A5C05-46CF-4F03-AB5B-503FD66274CE}" dt="2022-06-08T07:48:54.350" v="1030"/>
          <ac:spMkLst>
            <pc:docMk/>
            <pc:sldMk cId="1238881428" sldId="2145705740"/>
            <ac:spMk id="22" creationId="{AE5AEFD2-E62D-4C5F-86BF-1ACD8DE55673}"/>
          </ac:spMkLst>
        </pc:spChg>
        <pc:spChg chg="mod">
          <ac:chgData name="Ying Yang" userId="f1527f9b-a873-4aa2-b225-cf8fd3466e0d" providerId="ADAL" clId="{A30A5C05-46CF-4F03-AB5B-503FD66274CE}" dt="2022-06-08T07:49:06.783" v="1052" actId="20577"/>
          <ac:spMkLst>
            <pc:docMk/>
            <pc:sldMk cId="1238881428" sldId="2145705740"/>
            <ac:spMk id="23" creationId="{0886BCE5-8DFF-467E-AE5D-99818D1808A6}"/>
          </ac:spMkLst>
        </pc:spChg>
        <pc:spChg chg="mod">
          <ac:chgData name="Ying Yang" userId="f1527f9b-a873-4aa2-b225-cf8fd3466e0d" providerId="ADAL" clId="{A30A5C05-46CF-4F03-AB5B-503FD66274CE}" dt="2022-06-08T07:48:54.350" v="1030"/>
          <ac:spMkLst>
            <pc:docMk/>
            <pc:sldMk cId="1238881428" sldId="2145705740"/>
            <ac:spMk id="24" creationId="{878C3D1C-D133-48FF-B12D-23B45523574F}"/>
          </ac:spMkLst>
        </pc:spChg>
        <pc:spChg chg="mod">
          <ac:chgData name="Ying Yang" userId="f1527f9b-a873-4aa2-b225-cf8fd3466e0d" providerId="ADAL" clId="{A30A5C05-46CF-4F03-AB5B-503FD66274CE}" dt="2022-06-08T07:50:57.655" v="1065" actId="11530"/>
          <ac:spMkLst>
            <pc:docMk/>
            <pc:sldMk cId="1238881428" sldId="2145705740"/>
            <ac:spMk id="25" creationId="{1921CE50-765D-49F9-9386-D33342694186}"/>
          </ac:spMkLst>
        </pc:spChg>
        <pc:grpChg chg="add mod">
          <ac:chgData name="Ying Yang" userId="f1527f9b-a873-4aa2-b225-cf8fd3466e0d" providerId="ADAL" clId="{A30A5C05-46CF-4F03-AB5B-503FD66274CE}" dt="2022-06-08T07:48:51.070" v="1029" actId="1076"/>
          <ac:grpSpMkLst>
            <pc:docMk/>
            <pc:sldMk cId="1238881428" sldId="2145705740"/>
            <ac:grpSpMk id="3" creationId="{4C0AF30E-ED2E-4D64-BCE6-35E8C6FE5631}"/>
          </ac:grpSpMkLst>
        </pc:grpChg>
        <pc:grpChg chg="add del mod">
          <ac:chgData name="Ying Yang" userId="f1527f9b-a873-4aa2-b225-cf8fd3466e0d" providerId="ADAL" clId="{A30A5C05-46CF-4F03-AB5B-503FD66274CE}" dt="2022-06-08T07:51:59.892" v="1085" actId="165"/>
          <ac:grpSpMkLst>
            <pc:docMk/>
            <pc:sldMk cId="1238881428" sldId="2145705740"/>
            <ac:grpSpMk id="9" creationId="{4EEC0CF9-77E2-4A9A-902C-712E9F397F2F}"/>
          </ac:grpSpMkLst>
        </pc:grpChg>
        <pc:grpChg chg="add del mod ord">
          <ac:chgData name="Ying Yang" userId="f1527f9b-a873-4aa2-b225-cf8fd3466e0d" providerId="ADAL" clId="{A30A5C05-46CF-4F03-AB5B-503FD66274CE}" dt="2022-06-08T07:51:44.070" v="1080" actId="165"/>
          <ac:grpSpMkLst>
            <pc:docMk/>
            <pc:sldMk cId="1238881428" sldId="2145705740"/>
            <ac:grpSpMk id="14" creationId="{8B7C2351-446F-4760-83D5-3B327D710867}"/>
          </ac:grpSpMkLst>
        </pc:grpChg>
        <pc:grpChg chg="add mod">
          <ac:chgData name="Ying Yang" userId="f1527f9b-a873-4aa2-b225-cf8fd3466e0d" providerId="ADAL" clId="{A30A5C05-46CF-4F03-AB5B-503FD66274CE}" dt="2022-06-08T07:49:01.215" v="1033" actId="1076"/>
          <ac:grpSpMkLst>
            <pc:docMk/>
            <pc:sldMk cId="1238881428" sldId="2145705740"/>
            <ac:grpSpMk id="21" creationId="{98601911-6EE3-4C84-B3B7-C2CE3228D1A4}"/>
          </ac:grpSpMkLst>
        </pc:grpChg>
        <pc:grpChg chg="add mod">
          <ac:chgData name="Ying Yang" userId="f1527f9b-a873-4aa2-b225-cf8fd3466e0d" providerId="ADAL" clId="{A30A5C05-46CF-4F03-AB5B-503FD66274CE}" dt="2022-06-08T07:53:25.686" v="1103" actId="164"/>
          <ac:grpSpMkLst>
            <pc:docMk/>
            <pc:sldMk cId="1238881428" sldId="2145705740"/>
            <ac:grpSpMk id="27" creationId="{32886F52-1ADB-4D96-9D61-500BC909C33B}"/>
          </ac:grpSpMkLst>
        </pc:grpChg>
        <pc:grpChg chg="add mod">
          <ac:chgData name="Ying Yang" userId="f1527f9b-a873-4aa2-b225-cf8fd3466e0d" providerId="ADAL" clId="{A30A5C05-46CF-4F03-AB5B-503FD66274CE}" dt="2022-06-08T07:53:28.155" v="1104" actId="164"/>
          <ac:grpSpMkLst>
            <pc:docMk/>
            <pc:sldMk cId="1238881428" sldId="2145705740"/>
            <ac:grpSpMk id="28" creationId="{FDDCEAA0-D9DB-47FD-98F1-9BE14EE036C2}"/>
          </ac:grpSpMkLst>
        </pc:grpChg>
        <pc:picChg chg="add mod ord">
          <ac:chgData name="Ying Yang" userId="f1527f9b-a873-4aa2-b225-cf8fd3466e0d" providerId="ADAL" clId="{A30A5C05-46CF-4F03-AB5B-503FD66274CE}" dt="2022-06-08T07:52:37.898" v="1098" actId="1076"/>
          <ac:picMkLst>
            <pc:docMk/>
            <pc:sldMk cId="1238881428" sldId="2145705740"/>
            <ac:picMk id="19" creationId="{4672D7E4-3C80-43B2-ABE7-FCD7D6CB4FE0}"/>
          </ac:picMkLst>
        </pc:picChg>
        <pc:picChg chg="add mod">
          <ac:chgData name="Ying Yang" userId="f1527f9b-a873-4aa2-b225-cf8fd3466e0d" providerId="ADAL" clId="{A30A5C05-46CF-4F03-AB5B-503FD66274CE}" dt="2022-06-08T07:46:17.650" v="1013"/>
          <ac:picMkLst>
            <pc:docMk/>
            <pc:sldMk cId="1238881428" sldId="2145705740"/>
            <ac:picMk id="20" creationId="{E9207D38-F510-442C-846C-3837285B858E}"/>
          </ac:picMkLst>
        </pc:picChg>
        <pc:picChg chg="add del mod">
          <ac:chgData name="Ying Yang" userId="f1527f9b-a873-4aa2-b225-cf8fd3466e0d" providerId="ADAL" clId="{A30A5C05-46CF-4F03-AB5B-503FD66274CE}" dt="2022-06-08T07:50:42.563" v="1064" actId="478"/>
          <ac:picMkLst>
            <pc:docMk/>
            <pc:sldMk cId="1238881428" sldId="2145705740"/>
            <ac:picMk id="26" creationId="{DDD3753F-6428-4180-8069-F20133DF925F}"/>
          </ac:picMkLst>
        </pc:picChg>
      </pc:sldChg>
      <pc:sldChg chg="delSp modSp new del mod">
        <pc:chgData name="Ying Yang" userId="f1527f9b-a873-4aa2-b225-cf8fd3466e0d" providerId="ADAL" clId="{A30A5C05-46CF-4F03-AB5B-503FD66274CE}" dt="2022-06-07T06:45:24.171" v="514" actId="47"/>
        <pc:sldMkLst>
          <pc:docMk/>
          <pc:sldMk cId="2818568780" sldId="2145705740"/>
        </pc:sldMkLst>
        <pc:spChg chg="del mod">
          <ac:chgData name="Ying Yang" userId="f1527f9b-a873-4aa2-b225-cf8fd3466e0d" providerId="ADAL" clId="{A30A5C05-46CF-4F03-AB5B-503FD66274CE}" dt="2022-06-07T06:45:22.059" v="513" actId="478"/>
          <ac:spMkLst>
            <pc:docMk/>
            <pc:sldMk cId="2818568780" sldId="2145705740"/>
            <ac:spMk id="2" creationId="{5201BDB6-6EEB-4371-9ED3-09BFCFB6E8C8}"/>
          </ac:spMkLst>
        </pc:spChg>
      </pc:sldChg>
      <pc:sldChg chg="modSp new mod">
        <pc:chgData name="Ying Yang" userId="f1527f9b-a873-4aa2-b225-cf8fd3466e0d" providerId="ADAL" clId="{A30A5C05-46CF-4F03-AB5B-503FD66274CE}" dt="2022-06-07T07:27:22.959" v="789" actId="20577"/>
        <pc:sldMkLst>
          <pc:docMk/>
          <pc:sldMk cId="4125609224" sldId="2145705741"/>
        </pc:sldMkLst>
        <pc:spChg chg="mod">
          <ac:chgData name="Ying Yang" userId="f1527f9b-a873-4aa2-b225-cf8fd3466e0d" providerId="ADAL" clId="{A30A5C05-46CF-4F03-AB5B-503FD66274CE}" dt="2022-06-07T07:27:22.959" v="789" actId="20577"/>
          <ac:spMkLst>
            <pc:docMk/>
            <pc:sldMk cId="4125609224" sldId="2145705741"/>
            <ac:spMk id="2" creationId="{31EE1140-B8FF-4FCE-BE1F-03A4768BE1D8}"/>
          </ac:spMkLst>
        </pc:spChg>
      </pc:sldChg>
      <pc:sldChg chg="modSp new mod">
        <pc:chgData name="Ying Yang" userId="f1527f9b-a873-4aa2-b225-cf8fd3466e0d" providerId="ADAL" clId="{A30A5C05-46CF-4F03-AB5B-503FD66274CE}" dt="2022-06-07T07:20:17.023" v="607" actId="20577"/>
        <pc:sldMkLst>
          <pc:docMk/>
          <pc:sldMk cId="4216689421" sldId="2145705742"/>
        </pc:sldMkLst>
        <pc:spChg chg="mod">
          <ac:chgData name="Ying Yang" userId="f1527f9b-a873-4aa2-b225-cf8fd3466e0d" providerId="ADAL" clId="{A30A5C05-46CF-4F03-AB5B-503FD66274CE}" dt="2022-06-07T07:20:17.023" v="607" actId="20577"/>
          <ac:spMkLst>
            <pc:docMk/>
            <pc:sldMk cId="4216689421" sldId="2145705742"/>
            <ac:spMk id="2" creationId="{458EFF5A-45EB-4E2B-96DE-9952DAF35C67}"/>
          </ac:spMkLst>
        </pc:spChg>
      </pc:sldChg>
      <pc:sldChg chg="addSp delSp modSp new del mod">
        <pc:chgData name="Ying Yang" userId="f1527f9b-a873-4aa2-b225-cf8fd3466e0d" providerId="ADAL" clId="{A30A5C05-46CF-4F03-AB5B-503FD66274CE}" dt="2022-06-08T09:03:15.929" v="1678" actId="47"/>
        <pc:sldMkLst>
          <pc:docMk/>
          <pc:sldMk cId="2063507309" sldId="2145705743"/>
        </pc:sldMkLst>
        <pc:spChg chg="add del mod">
          <ac:chgData name="Ying Yang" userId="f1527f9b-a873-4aa2-b225-cf8fd3466e0d" providerId="ADAL" clId="{A30A5C05-46CF-4F03-AB5B-503FD66274CE}" dt="2022-06-08T09:02:57.665" v="1676" actId="478"/>
          <ac:spMkLst>
            <pc:docMk/>
            <pc:sldMk cId="2063507309" sldId="2145705743"/>
            <ac:spMk id="4" creationId="{6F2686D6-5D12-4143-95F6-1D97905F4525}"/>
          </ac:spMkLst>
        </pc:spChg>
        <pc:spChg chg="mod">
          <ac:chgData name="Ying Yang" userId="f1527f9b-a873-4aa2-b225-cf8fd3466e0d" providerId="ADAL" clId="{A30A5C05-46CF-4F03-AB5B-503FD66274CE}" dt="2022-06-08T09:03:03.018" v="1677"/>
          <ac:spMkLst>
            <pc:docMk/>
            <pc:sldMk cId="2063507309" sldId="2145705743"/>
            <ac:spMk id="7" creationId="{78B0C02C-0EB5-4993-9806-DFAE02568BE3}"/>
          </ac:spMkLst>
        </pc:spChg>
        <pc:spChg chg="mod">
          <ac:chgData name="Ying Yang" userId="f1527f9b-a873-4aa2-b225-cf8fd3466e0d" providerId="ADAL" clId="{A30A5C05-46CF-4F03-AB5B-503FD66274CE}" dt="2022-06-08T09:03:03.018" v="1677"/>
          <ac:spMkLst>
            <pc:docMk/>
            <pc:sldMk cId="2063507309" sldId="2145705743"/>
            <ac:spMk id="8" creationId="{A890C38C-F3E4-49DC-86C1-2822184ECFA4}"/>
          </ac:spMkLst>
        </pc:spChg>
        <pc:spChg chg="mod">
          <ac:chgData name="Ying Yang" userId="f1527f9b-a873-4aa2-b225-cf8fd3466e0d" providerId="ADAL" clId="{A30A5C05-46CF-4F03-AB5B-503FD66274CE}" dt="2022-06-08T09:03:03.018" v="1677"/>
          <ac:spMkLst>
            <pc:docMk/>
            <pc:sldMk cId="2063507309" sldId="2145705743"/>
            <ac:spMk id="9" creationId="{3829498B-F281-49A8-810B-AE428EA9EE8F}"/>
          </ac:spMkLst>
        </pc:spChg>
        <pc:spChg chg="add mod">
          <ac:chgData name="Ying Yang" userId="f1527f9b-a873-4aa2-b225-cf8fd3466e0d" providerId="ADAL" clId="{A30A5C05-46CF-4F03-AB5B-503FD66274CE}" dt="2022-06-08T09:03:03.018" v="1677"/>
          <ac:spMkLst>
            <pc:docMk/>
            <pc:sldMk cId="2063507309" sldId="2145705743"/>
            <ac:spMk id="10" creationId="{EC927621-F6F1-4ECF-8170-FD199488536A}"/>
          </ac:spMkLst>
        </pc:spChg>
        <pc:spChg chg="mod">
          <ac:chgData name="Ying Yang" userId="f1527f9b-a873-4aa2-b225-cf8fd3466e0d" providerId="ADAL" clId="{A30A5C05-46CF-4F03-AB5B-503FD66274CE}" dt="2022-06-08T09:03:03.018" v="1677"/>
          <ac:spMkLst>
            <pc:docMk/>
            <pc:sldMk cId="2063507309" sldId="2145705743"/>
            <ac:spMk id="15" creationId="{BD61BF38-14E8-456B-BAFC-FE548E600140}"/>
          </ac:spMkLst>
        </pc:spChg>
        <pc:spChg chg="mod">
          <ac:chgData name="Ying Yang" userId="f1527f9b-a873-4aa2-b225-cf8fd3466e0d" providerId="ADAL" clId="{A30A5C05-46CF-4F03-AB5B-503FD66274CE}" dt="2022-06-08T09:03:03.018" v="1677"/>
          <ac:spMkLst>
            <pc:docMk/>
            <pc:sldMk cId="2063507309" sldId="2145705743"/>
            <ac:spMk id="16" creationId="{6D94528A-3E79-430E-8754-1E1DB8AC386D}"/>
          </ac:spMkLst>
        </pc:spChg>
        <pc:spChg chg="mod">
          <ac:chgData name="Ying Yang" userId="f1527f9b-a873-4aa2-b225-cf8fd3466e0d" providerId="ADAL" clId="{A30A5C05-46CF-4F03-AB5B-503FD66274CE}" dt="2022-06-08T09:03:03.018" v="1677"/>
          <ac:spMkLst>
            <pc:docMk/>
            <pc:sldMk cId="2063507309" sldId="2145705743"/>
            <ac:spMk id="18" creationId="{568BB059-5F9B-4C51-9B6E-359DA35CA11E}"/>
          </ac:spMkLst>
        </pc:spChg>
        <pc:spChg chg="mod">
          <ac:chgData name="Ying Yang" userId="f1527f9b-a873-4aa2-b225-cf8fd3466e0d" providerId="ADAL" clId="{A30A5C05-46CF-4F03-AB5B-503FD66274CE}" dt="2022-06-08T09:03:03.018" v="1677"/>
          <ac:spMkLst>
            <pc:docMk/>
            <pc:sldMk cId="2063507309" sldId="2145705743"/>
            <ac:spMk id="19" creationId="{D4009C21-4E5F-478E-9AA6-3F29E9D57767}"/>
          </ac:spMkLst>
        </pc:spChg>
        <pc:spChg chg="mod">
          <ac:chgData name="Ying Yang" userId="f1527f9b-a873-4aa2-b225-cf8fd3466e0d" providerId="ADAL" clId="{A30A5C05-46CF-4F03-AB5B-503FD66274CE}" dt="2022-06-08T09:03:03.018" v="1677"/>
          <ac:spMkLst>
            <pc:docMk/>
            <pc:sldMk cId="2063507309" sldId="2145705743"/>
            <ac:spMk id="21" creationId="{46FA9737-023C-4F82-9AA7-2D8D7A1F7C0C}"/>
          </ac:spMkLst>
        </pc:spChg>
        <pc:spChg chg="mod">
          <ac:chgData name="Ying Yang" userId="f1527f9b-a873-4aa2-b225-cf8fd3466e0d" providerId="ADAL" clId="{A30A5C05-46CF-4F03-AB5B-503FD66274CE}" dt="2022-06-08T09:03:03.018" v="1677"/>
          <ac:spMkLst>
            <pc:docMk/>
            <pc:sldMk cId="2063507309" sldId="2145705743"/>
            <ac:spMk id="22" creationId="{033D73E1-D941-405D-9C8B-9EEEB0401182}"/>
          </ac:spMkLst>
        </pc:spChg>
        <pc:spChg chg="mod">
          <ac:chgData name="Ying Yang" userId="f1527f9b-a873-4aa2-b225-cf8fd3466e0d" providerId="ADAL" clId="{A30A5C05-46CF-4F03-AB5B-503FD66274CE}" dt="2022-06-08T09:03:03.018" v="1677"/>
          <ac:spMkLst>
            <pc:docMk/>
            <pc:sldMk cId="2063507309" sldId="2145705743"/>
            <ac:spMk id="24" creationId="{D81601BE-FD04-4E28-8645-0D5C522FE644}"/>
          </ac:spMkLst>
        </pc:spChg>
        <pc:spChg chg="mod">
          <ac:chgData name="Ying Yang" userId="f1527f9b-a873-4aa2-b225-cf8fd3466e0d" providerId="ADAL" clId="{A30A5C05-46CF-4F03-AB5B-503FD66274CE}" dt="2022-06-08T09:03:03.018" v="1677"/>
          <ac:spMkLst>
            <pc:docMk/>
            <pc:sldMk cId="2063507309" sldId="2145705743"/>
            <ac:spMk id="25" creationId="{14F2D025-493B-490F-83E4-CBDB3E0CEF9B}"/>
          </ac:spMkLst>
        </pc:spChg>
        <pc:spChg chg="mod">
          <ac:chgData name="Ying Yang" userId="f1527f9b-a873-4aa2-b225-cf8fd3466e0d" providerId="ADAL" clId="{A30A5C05-46CF-4F03-AB5B-503FD66274CE}" dt="2022-06-08T09:03:03.018" v="1677"/>
          <ac:spMkLst>
            <pc:docMk/>
            <pc:sldMk cId="2063507309" sldId="2145705743"/>
            <ac:spMk id="27" creationId="{E3A82367-7C59-417C-93A0-1DBF7F32B97E}"/>
          </ac:spMkLst>
        </pc:spChg>
        <pc:spChg chg="mod">
          <ac:chgData name="Ying Yang" userId="f1527f9b-a873-4aa2-b225-cf8fd3466e0d" providerId="ADAL" clId="{A30A5C05-46CF-4F03-AB5B-503FD66274CE}" dt="2022-06-08T09:03:03.018" v="1677"/>
          <ac:spMkLst>
            <pc:docMk/>
            <pc:sldMk cId="2063507309" sldId="2145705743"/>
            <ac:spMk id="28" creationId="{AB5B0838-4E73-47A2-894A-6B3279238081}"/>
          </ac:spMkLst>
        </pc:spChg>
        <pc:spChg chg="mod">
          <ac:chgData name="Ying Yang" userId="f1527f9b-a873-4aa2-b225-cf8fd3466e0d" providerId="ADAL" clId="{A30A5C05-46CF-4F03-AB5B-503FD66274CE}" dt="2022-06-08T09:03:03.018" v="1677"/>
          <ac:spMkLst>
            <pc:docMk/>
            <pc:sldMk cId="2063507309" sldId="2145705743"/>
            <ac:spMk id="30" creationId="{98DD1645-1B55-44CB-96C9-D1ED53EBE730}"/>
          </ac:spMkLst>
        </pc:spChg>
        <pc:spChg chg="mod">
          <ac:chgData name="Ying Yang" userId="f1527f9b-a873-4aa2-b225-cf8fd3466e0d" providerId="ADAL" clId="{A30A5C05-46CF-4F03-AB5B-503FD66274CE}" dt="2022-06-08T09:03:03.018" v="1677"/>
          <ac:spMkLst>
            <pc:docMk/>
            <pc:sldMk cId="2063507309" sldId="2145705743"/>
            <ac:spMk id="31" creationId="{9E5E1094-4724-4F1D-8EDB-E7035CD99B1C}"/>
          </ac:spMkLst>
        </pc:spChg>
        <pc:spChg chg="mod">
          <ac:chgData name="Ying Yang" userId="f1527f9b-a873-4aa2-b225-cf8fd3466e0d" providerId="ADAL" clId="{A30A5C05-46CF-4F03-AB5B-503FD66274CE}" dt="2022-06-08T09:03:03.018" v="1677"/>
          <ac:spMkLst>
            <pc:docMk/>
            <pc:sldMk cId="2063507309" sldId="2145705743"/>
            <ac:spMk id="33" creationId="{4A065F4E-2B89-4C1E-8752-919CF158CBB2}"/>
          </ac:spMkLst>
        </pc:spChg>
        <pc:spChg chg="mod">
          <ac:chgData name="Ying Yang" userId="f1527f9b-a873-4aa2-b225-cf8fd3466e0d" providerId="ADAL" clId="{A30A5C05-46CF-4F03-AB5B-503FD66274CE}" dt="2022-06-08T09:03:03.018" v="1677"/>
          <ac:spMkLst>
            <pc:docMk/>
            <pc:sldMk cId="2063507309" sldId="2145705743"/>
            <ac:spMk id="34" creationId="{31BE8DC4-D384-43B5-A6C1-9AFFAFAD7D5F}"/>
          </ac:spMkLst>
        </pc:spChg>
        <pc:spChg chg="mod">
          <ac:chgData name="Ying Yang" userId="f1527f9b-a873-4aa2-b225-cf8fd3466e0d" providerId="ADAL" clId="{A30A5C05-46CF-4F03-AB5B-503FD66274CE}" dt="2022-06-08T09:03:03.018" v="1677"/>
          <ac:spMkLst>
            <pc:docMk/>
            <pc:sldMk cId="2063507309" sldId="2145705743"/>
            <ac:spMk id="35" creationId="{654FBCF2-795B-4E05-9ED3-9CB5580FC5C3}"/>
          </ac:spMkLst>
        </pc:spChg>
        <pc:spChg chg="mod">
          <ac:chgData name="Ying Yang" userId="f1527f9b-a873-4aa2-b225-cf8fd3466e0d" providerId="ADAL" clId="{A30A5C05-46CF-4F03-AB5B-503FD66274CE}" dt="2022-06-08T09:03:03.018" v="1677"/>
          <ac:spMkLst>
            <pc:docMk/>
            <pc:sldMk cId="2063507309" sldId="2145705743"/>
            <ac:spMk id="36" creationId="{9B2590AE-F25F-453F-B4A6-52CDE29B9708}"/>
          </ac:spMkLst>
        </pc:spChg>
        <pc:spChg chg="mod">
          <ac:chgData name="Ying Yang" userId="f1527f9b-a873-4aa2-b225-cf8fd3466e0d" providerId="ADAL" clId="{A30A5C05-46CF-4F03-AB5B-503FD66274CE}" dt="2022-06-08T09:03:03.018" v="1677"/>
          <ac:spMkLst>
            <pc:docMk/>
            <pc:sldMk cId="2063507309" sldId="2145705743"/>
            <ac:spMk id="37" creationId="{91E36B5A-5473-4A1E-A622-4BD1FDEC7201}"/>
          </ac:spMkLst>
        </pc:spChg>
        <pc:spChg chg="mod">
          <ac:chgData name="Ying Yang" userId="f1527f9b-a873-4aa2-b225-cf8fd3466e0d" providerId="ADAL" clId="{A30A5C05-46CF-4F03-AB5B-503FD66274CE}" dt="2022-06-08T09:03:03.018" v="1677"/>
          <ac:spMkLst>
            <pc:docMk/>
            <pc:sldMk cId="2063507309" sldId="2145705743"/>
            <ac:spMk id="38" creationId="{4B12E64C-0CC0-48E4-81F9-9A1119880227}"/>
          </ac:spMkLst>
        </pc:spChg>
        <pc:spChg chg="mod">
          <ac:chgData name="Ying Yang" userId="f1527f9b-a873-4aa2-b225-cf8fd3466e0d" providerId="ADAL" clId="{A30A5C05-46CF-4F03-AB5B-503FD66274CE}" dt="2022-06-08T09:03:03.018" v="1677"/>
          <ac:spMkLst>
            <pc:docMk/>
            <pc:sldMk cId="2063507309" sldId="2145705743"/>
            <ac:spMk id="39" creationId="{997958AD-0D59-4743-8AFA-170683578FA3}"/>
          </ac:spMkLst>
        </pc:spChg>
        <pc:spChg chg="mod">
          <ac:chgData name="Ying Yang" userId="f1527f9b-a873-4aa2-b225-cf8fd3466e0d" providerId="ADAL" clId="{A30A5C05-46CF-4F03-AB5B-503FD66274CE}" dt="2022-06-08T09:03:03.018" v="1677"/>
          <ac:spMkLst>
            <pc:docMk/>
            <pc:sldMk cId="2063507309" sldId="2145705743"/>
            <ac:spMk id="40" creationId="{943DB974-716A-4FE5-856F-D549191F2957}"/>
          </ac:spMkLst>
        </pc:spChg>
        <pc:spChg chg="mod">
          <ac:chgData name="Ying Yang" userId="f1527f9b-a873-4aa2-b225-cf8fd3466e0d" providerId="ADAL" clId="{A30A5C05-46CF-4F03-AB5B-503FD66274CE}" dt="2022-06-08T09:03:03.018" v="1677"/>
          <ac:spMkLst>
            <pc:docMk/>
            <pc:sldMk cId="2063507309" sldId="2145705743"/>
            <ac:spMk id="42" creationId="{7995B7F4-723D-47EA-8F1E-FFCF596F4861}"/>
          </ac:spMkLst>
        </pc:spChg>
        <pc:spChg chg="mod">
          <ac:chgData name="Ying Yang" userId="f1527f9b-a873-4aa2-b225-cf8fd3466e0d" providerId="ADAL" clId="{A30A5C05-46CF-4F03-AB5B-503FD66274CE}" dt="2022-06-08T09:03:03.018" v="1677"/>
          <ac:spMkLst>
            <pc:docMk/>
            <pc:sldMk cId="2063507309" sldId="2145705743"/>
            <ac:spMk id="43" creationId="{7B3EB1ED-5390-4422-A2C3-02B3C98B01BF}"/>
          </ac:spMkLst>
        </pc:spChg>
        <pc:spChg chg="mod">
          <ac:chgData name="Ying Yang" userId="f1527f9b-a873-4aa2-b225-cf8fd3466e0d" providerId="ADAL" clId="{A30A5C05-46CF-4F03-AB5B-503FD66274CE}" dt="2022-06-08T09:03:03.018" v="1677"/>
          <ac:spMkLst>
            <pc:docMk/>
            <pc:sldMk cId="2063507309" sldId="2145705743"/>
            <ac:spMk id="44" creationId="{12DC6A6E-414B-44A7-B12E-30490C9A462F}"/>
          </ac:spMkLst>
        </pc:spChg>
        <pc:spChg chg="mod">
          <ac:chgData name="Ying Yang" userId="f1527f9b-a873-4aa2-b225-cf8fd3466e0d" providerId="ADAL" clId="{A30A5C05-46CF-4F03-AB5B-503FD66274CE}" dt="2022-06-08T09:03:03.018" v="1677"/>
          <ac:spMkLst>
            <pc:docMk/>
            <pc:sldMk cId="2063507309" sldId="2145705743"/>
            <ac:spMk id="45" creationId="{3C569B06-E0B3-42D5-9C48-E33CB17D445C}"/>
          </ac:spMkLst>
        </pc:spChg>
        <pc:spChg chg="mod">
          <ac:chgData name="Ying Yang" userId="f1527f9b-a873-4aa2-b225-cf8fd3466e0d" providerId="ADAL" clId="{A30A5C05-46CF-4F03-AB5B-503FD66274CE}" dt="2022-06-08T09:03:03.018" v="1677"/>
          <ac:spMkLst>
            <pc:docMk/>
            <pc:sldMk cId="2063507309" sldId="2145705743"/>
            <ac:spMk id="46" creationId="{3CE6F534-B44E-42EB-AFAE-1FC1C0BEAA4E}"/>
          </ac:spMkLst>
        </pc:spChg>
        <pc:spChg chg="mod">
          <ac:chgData name="Ying Yang" userId="f1527f9b-a873-4aa2-b225-cf8fd3466e0d" providerId="ADAL" clId="{A30A5C05-46CF-4F03-AB5B-503FD66274CE}" dt="2022-06-08T09:03:03.018" v="1677"/>
          <ac:spMkLst>
            <pc:docMk/>
            <pc:sldMk cId="2063507309" sldId="2145705743"/>
            <ac:spMk id="47" creationId="{D2CFF5A5-ABCB-416F-AB72-F65B2BE93117}"/>
          </ac:spMkLst>
        </pc:spChg>
        <pc:spChg chg="mod">
          <ac:chgData name="Ying Yang" userId="f1527f9b-a873-4aa2-b225-cf8fd3466e0d" providerId="ADAL" clId="{A30A5C05-46CF-4F03-AB5B-503FD66274CE}" dt="2022-06-08T09:03:03.018" v="1677"/>
          <ac:spMkLst>
            <pc:docMk/>
            <pc:sldMk cId="2063507309" sldId="2145705743"/>
            <ac:spMk id="48" creationId="{07E3DFC4-1F34-4A10-8DBB-D5C781ABDB86}"/>
          </ac:spMkLst>
        </pc:spChg>
        <pc:spChg chg="mod">
          <ac:chgData name="Ying Yang" userId="f1527f9b-a873-4aa2-b225-cf8fd3466e0d" providerId="ADAL" clId="{A30A5C05-46CF-4F03-AB5B-503FD66274CE}" dt="2022-06-08T09:03:03.018" v="1677"/>
          <ac:spMkLst>
            <pc:docMk/>
            <pc:sldMk cId="2063507309" sldId="2145705743"/>
            <ac:spMk id="49" creationId="{492A3D5B-5CA8-4914-BB63-778DF84CE3EC}"/>
          </ac:spMkLst>
        </pc:spChg>
        <pc:spChg chg="mod">
          <ac:chgData name="Ying Yang" userId="f1527f9b-a873-4aa2-b225-cf8fd3466e0d" providerId="ADAL" clId="{A30A5C05-46CF-4F03-AB5B-503FD66274CE}" dt="2022-06-08T09:03:03.018" v="1677"/>
          <ac:spMkLst>
            <pc:docMk/>
            <pc:sldMk cId="2063507309" sldId="2145705743"/>
            <ac:spMk id="51" creationId="{610EBC08-C534-4514-8023-D803AABD95CC}"/>
          </ac:spMkLst>
        </pc:spChg>
        <pc:spChg chg="mod">
          <ac:chgData name="Ying Yang" userId="f1527f9b-a873-4aa2-b225-cf8fd3466e0d" providerId="ADAL" clId="{A30A5C05-46CF-4F03-AB5B-503FD66274CE}" dt="2022-06-08T09:03:03.018" v="1677"/>
          <ac:spMkLst>
            <pc:docMk/>
            <pc:sldMk cId="2063507309" sldId="2145705743"/>
            <ac:spMk id="52" creationId="{38BCF90E-AD98-4A3E-BED0-AD53D528C07B}"/>
          </ac:spMkLst>
        </pc:spChg>
        <pc:spChg chg="mod">
          <ac:chgData name="Ying Yang" userId="f1527f9b-a873-4aa2-b225-cf8fd3466e0d" providerId="ADAL" clId="{A30A5C05-46CF-4F03-AB5B-503FD66274CE}" dt="2022-06-08T09:03:03.018" v="1677"/>
          <ac:spMkLst>
            <pc:docMk/>
            <pc:sldMk cId="2063507309" sldId="2145705743"/>
            <ac:spMk id="53" creationId="{4072424F-4D06-4E48-86F7-1C3E1665CEBA}"/>
          </ac:spMkLst>
        </pc:spChg>
        <pc:spChg chg="mod">
          <ac:chgData name="Ying Yang" userId="f1527f9b-a873-4aa2-b225-cf8fd3466e0d" providerId="ADAL" clId="{A30A5C05-46CF-4F03-AB5B-503FD66274CE}" dt="2022-06-08T09:03:03.018" v="1677"/>
          <ac:spMkLst>
            <pc:docMk/>
            <pc:sldMk cId="2063507309" sldId="2145705743"/>
            <ac:spMk id="54" creationId="{70B7A9EB-DF6B-4D28-B2F3-92B7232756D3}"/>
          </ac:spMkLst>
        </pc:spChg>
        <pc:spChg chg="mod">
          <ac:chgData name="Ying Yang" userId="f1527f9b-a873-4aa2-b225-cf8fd3466e0d" providerId="ADAL" clId="{A30A5C05-46CF-4F03-AB5B-503FD66274CE}" dt="2022-06-08T09:03:03.018" v="1677"/>
          <ac:spMkLst>
            <pc:docMk/>
            <pc:sldMk cId="2063507309" sldId="2145705743"/>
            <ac:spMk id="55" creationId="{FE1C4524-26DA-4672-9D29-BF3D4973CCF6}"/>
          </ac:spMkLst>
        </pc:spChg>
        <pc:spChg chg="mod">
          <ac:chgData name="Ying Yang" userId="f1527f9b-a873-4aa2-b225-cf8fd3466e0d" providerId="ADAL" clId="{A30A5C05-46CF-4F03-AB5B-503FD66274CE}" dt="2022-06-08T09:03:03.018" v="1677"/>
          <ac:spMkLst>
            <pc:docMk/>
            <pc:sldMk cId="2063507309" sldId="2145705743"/>
            <ac:spMk id="56" creationId="{8B1CEB06-2505-43DD-AD1B-8CA6B139B409}"/>
          </ac:spMkLst>
        </pc:spChg>
        <pc:spChg chg="mod">
          <ac:chgData name="Ying Yang" userId="f1527f9b-a873-4aa2-b225-cf8fd3466e0d" providerId="ADAL" clId="{A30A5C05-46CF-4F03-AB5B-503FD66274CE}" dt="2022-06-08T09:03:03.018" v="1677"/>
          <ac:spMkLst>
            <pc:docMk/>
            <pc:sldMk cId="2063507309" sldId="2145705743"/>
            <ac:spMk id="57" creationId="{BC913FF4-620D-4657-92B4-00A651286267}"/>
          </ac:spMkLst>
        </pc:spChg>
        <pc:spChg chg="mod">
          <ac:chgData name="Ying Yang" userId="f1527f9b-a873-4aa2-b225-cf8fd3466e0d" providerId="ADAL" clId="{A30A5C05-46CF-4F03-AB5B-503FD66274CE}" dt="2022-06-08T09:03:03.018" v="1677"/>
          <ac:spMkLst>
            <pc:docMk/>
            <pc:sldMk cId="2063507309" sldId="2145705743"/>
            <ac:spMk id="58" creationId="{8B4EFD53-60F9-4A57-BB19-8C095BA908E9}"/>
          </ac:spMkLst>
        </pc:spChg>
        <pc:grpChg chg="add mod">
          <ac:chgData name="Ying Yang" userId="f1527f9b-a873-4aa2-b225-cf8fd3466e0d" providerId="ADAL" clId="{A30A5C05-46CF-4F03-AB5B-503FD66274CE}" dt="2022-06-08T09:03:03.018" v="1677"/>
          <ac:grpSpMkLst>
            <pc:docMk/>
            <pc:sldMk cId="2063507309" sldId="2145705743"/>
            <ac:grpSpMk id="5" creationId="{20E4B947-D333-4F4A-AFB9-EE618A46D9D7}"/>
          </ac:grpSpMkLst>
        </pc:grpChg>
        <pc:grpChg chg="mod">
          <ac:chgData name="Ying Yang" userId="f1527f9b-a873-4aa2-b225-cf8fd3466e0d" providerId="ADAL" clId="{A30A5C05-46CF-4F03-AB5B-503FD66274CE}" dt="2022-06-08T09:03:03.018" v="1677"/>
          <ac:grpSpMkLst>
            <pc:docMk/>
            <pc:sldMk cId="2063507309" sldId="2145705743"/>
            <ac:grpSpMk id="6" creationId="{93A6887A-E202-40C9-8CAC-DA900812C822}"/>
          </ac:grpSpMkLst>
        </pc:grpChg>
        <pc:grpChg chg="add mod">
          <ac:chgData name="Ying Yang" userId="f1527f9b-a873-4aa2-b225-cf8fd3466e0d" providerId="ADAL" clId="{A30A5C05-46CF-4F03-AB5B-503FD66274CE}" dt="2022-06-08T09:03:03.018" v="1677"/>
          <ac:grpSpMkLst>
            <pc:docMk/>
            <pc:sldMk cId="2063507309" sldId="2145705743"/>
            <ac:grpSpMk id="11" creationId="{4592CF4B-4829-4323-86C1-12D9B1CAF806}"/>
          </ac:grpSpMkLst>
        </pc:grpChg>
        <pc:grpChg chg="mod">
          <ac:chgData name="Ying Yang" userId="f1527f9b-a873-4aa2-b225-cf8fd3466e0d" providerId="ADAL" clId="{A30A5C05-46CF-4F03-AB5B-503FD66274CE}" dt="2022-06-08T09:03:03.018" v="1677"/>
          <ac:grpSpMkLst>
            <pc:docMk/>
            <pc:sldMk cId="2063507309" sldId="2145705743"/>
            <ac:grpSpMk id="12" creationId="{E6A3C053-9523-4CCD-B086-BD1BDAD06D40}"/>
          </ac:grpSpMkLst>
        </pc:grpChg>
        <pc:grpChg chg="add mod">
          <ac:chgData name="Ying Yang" userId="f1527f9b-a873-4aa2-b225-cf8fd3466e0d" providerId="ADAL" clId="{A30A5C05-46CF-4F03-AB5B-503FD66274CE}" dt="2022-06-08T09:03:03.018" v="1677"/>
          <ac:grpSpMkLst>
            <pc:docMk/>
            <pc:sldMk cId="2063507309" sldId="2145705743"/>
            <ac:grpSpMk id="17" creationId="{89C59D77-3ED3-4953-B637-EC3A68391A1F}"/>
          </ac:grpSpMkLst>
        </pc:grpChg>
        <pc:grpChg chg="add mod">
          <ac:chgData name="Ying Yang" userId="f1527f9b-a873-4aa2-b225-cf8fd3466e0d" providerId="ADAL" clId="{A30A5C05-46CF-4F03-AB5B-503FD66274CE}" dt="2022-06-08T09:03:03.018" v="1677"/>
          <ac:grpSpMkLst>
            <pc:docMk/>
            <pc:sldMk cId="2063507309" sldId="2145705743"/>
            <ac:grpSpMk id="20" creationId="{1DB44FFE-60C6-4082-81AD-3711CC29070F}"/>
          </ac:grpSpMkLst>
        </pc:grpChg>
        <pc:grpChg chg="add mod">
          <ac:chgData name="Ying Yang" userId="f1527f9b-a873-4aa2-b225-cf8fd3466e0d" providerId="ADAL" clId="{A30A5C05-46CF-4F03-AB5B-503FD66274CE}" dt="2022-06-08T09:03:03.018" v="1677"/>
          <ac:grpSpMkLst>
            <pc:docMk/>
            <pc:sldMk cId="2063507309" sldId="2145705743"/>
            <ac:grpSpMk id="23" creationId="{398A9190-A1D4-40E5-807C-D55E855185ED}"/>
          </ac:grpSpMkLst>
        </pc:grpChg>
        <pc:grpChg chg="add mod">
          <ac:chgData name="Ying Yang" userId="f1527f9b-a873-4aa2-b225-cf8fd3466e0d" providerId="ADAL" clId="{A30A5C05-46CF-4F03-AB5B-503FD66274CE}" dt="2022-06-08T09:03:03.018" v="1677"/>
          <ac:grpSpMkLst>
            <pc:docMk/>
            <pc:sldMk cId="2063507309" sldId="2145705743"/>
            <ac:grpSpMk id="26" creationId="{EE1AD9D4-3ABA-429C-BC50-0963F31E1169}"/>
          </ac:grpSpMkLst>
        </pc:grpChg>
        <pc:grpChg chg="add mod">
          <ac:chgData name="Ying Yang" userId="f1527f9b-a873-4aa2-b225-cf8fd3466e0d" providerId="ADAL" clId="{A30A5C05-46CF-4F03-AB5B-503FD66274CE}" dt="2022-06-08T09:03:03.018" v="1677"/>
          <ac:grpSpMkLst>
            <pc:docMk/>
            <pc:sldMk cId="2063507309" sldId="2145705743"/>
            <ac:grpSpMk id="29" creationId="{E8615179-C842-4A5B-A11D-A44A57E346C9}"/>
          </ac:grpSpMkLst>
        </pc:grpChg>
        <pc:grpChg chg="add mod">
          <ac:chgData name="Ying Yang" userId="f1527f9b-a873-4aa2-b225-cf8fd3466e0d" providerId="ADAL" clId="{A30A5C05-46CF-4F03-AB5B-503FD66274CE}" dt="2022-06-08T09:03:03.018" v="1677"/>
          <ac:grpSpMkLst>
            <pc:docMk/>
            <pc:sldMk cId="2063507309" sldId="2145705743"/>
            <ac:grpSpMk id="32" creationId="{8FA5CC50-78F6-47BD-92E0-0157D8455648}"/>
          </ac:grpSpMkLst>
        </pc:grpChg>
        <pc:grpChg chg="add mod">
          <ac:chgData name="Ying Yang" userId="f1527f9b-a873-4aa2-b225-cf8fd3466e0d" providerId="ADAL" clId="{A30A5C05-46CF-4F03-AB5B-503FD66274CE}" dt="2022-06-08T09:03:03.018" v="1677"/>
          <ac:grpSpMkLst>
            <pc:docMk/>
            <pc:sldMk cId="2063507309" sldId="2145705743"/>
            <ac:grpSpMk id="41" creationId="{295AAE01-F5DF-4A72-83E0-EB480B4D0CD4}"/>
          </ac:grpSpMkLst>
        </pc:grpChg>
        <pc:grpChg chg="add mod">
          <ac:chgData name="Ying Yang" userId="f1527f9b-a873-4aa2-b225-cf8fd3466e0d" providerId="ADAL" clId="{A30A5C05-46CF-4F03-AB5B-503FD66274CE}" dt="2022-06-08T09:03:03.018" v="1677"/>
          <ac:grpSpMkLst>
            <pc:docMk/>
            <pc:sldMk cId="2063507309" sldId="2145705743"/>
            <ac:grpSpMk id="50" creationId="{33340A9D-B5C3-41FC-B3E0-02863C602370}"/>
          </ac:grpSpMkLst>
        </pc:grpChg>
        <pc:cxnChg chg="mod">
          <ac:chgData name="Ying Yang" userId="f1527f9b-a873-4aa2-b225-cf8fd3466e0d" providerId="ADAL" clId="{A30A5C05-46CF-4F03-AB5B-503FD66274CE}" dt="2022-06-08T09:03:03.018" v="1677"/>
          <ac:cxnSpMkLst>
            <pc:docMk/>
            <pc:sldMk cId="2063507309" sldId="2145705743"/>
            <ac:cxnSpMk id="13" creationId="{2DBE3FA4-4982-4A44-875B-424E3FAFACC2}"/>
          </ac:cxnSpMkLst>
        </pc:cxnChg>
        <pc:cxnChg chg="mod">
          <ac:chgData name="Ying Yang" userId="f1527f9b-a873-4aa2-b225-cf8fd3466e0d" providerId="ADAL" clId="{A30A5C05-46CF-4F03-AB5B-503FD66274CE}" dt="2022-06-08T09:03:03.018" v="1677"/>
          <ac:cxnSpMkLst>
            <pc:docMk/>
            <pc:sldMk cId="2063507309" sldId="2145705743"/>
            <ac:cxnSpMk id="14" creationId="{F76F1DC9-DCF9-4802-9DC7-56D4DE26DD79}"/>
          </ac:cxnSpMkLst>
        </pc:cxnChg>
      </pc:sldChg>
      <pc:sldChg chg="addSp delSp modSp new del mod">
        <pc:chgData name="Ying Yang" userId="f1527f9b-a873-4aa2-b225-cf8fd3466e0d" providerId="ADAL" clId="{A30A5C05-46CF-4F03-AB5B-503FD66274CE}" dt="2022-06-08T07:44:55.357" v="1001" actId="47"/>
        <pc:sldMkLst>
          <pc:docMk/>
          <pc:sldMk cId="4080373543" sldId="2145705744"/>
        </pc:sldMkLst>
        <pc:picChg chg="add del mod">
          <ac:chgData name="Ying Yang" userId="f1527f9b-a873-4aa2-b225-cf8fd3466e0d" providerId="ADAL" clId="{A30A5C05-46CF-4F03-AB5B-503FD66274CE}" dt="2022-06-08T07:42:30.133" v="977" actId="478"/>
          <ac:picMkLst>
            <pc:docMk/>
            <pc:sldMk cId="4080373543" sldId="2145705744"/>
            <ac:picMk id="5" creationId="{0CFFB152-A847-40D4-961B-4F52FF887250}"/>
          </ac:picMkLst>
        </pc:picChg>
      </pc:sldChg>
      <pc:sldChg chg="new del">
        <pc:chgData name="Ying Yang" userId="f1527f9b-a873-4aa2-b225-cf8fd3466e0d" providerId="ADAL" clId="{A30A5C05-46CF-4F03-AB5B-503FD66274CE}" dt="2022-06-08T09:06:45.864" v="1877" actId="47"/>
        <pc:sldMkLst>
          <pc:docMk/>
          <pc:sldMk cId="4158553669" sldId="2145705744"/>
        </pc:sldMkLst>
      </pc:sldChg>
      <pc:sldChg chg="addSp modSp new add del mod ord">
        <pc:chgData name="Ying Yang" userId="f1527f9b-a873-4aa2-b225-cf8fd3466e0d" providerId="ADAL" clId="{A30A5C05-46CF-4F03-AB5B-503FD66274CE}" dt="2022-06-09T03:24:30.046" v="4072"/>
        <pc:sldMkLst>
          <pc:docMk/>
          <pc:sldMk cId="451508171" sldId="2145705745"/>
        </pc:sldMkLst>
        <pc:spChg chg="add mod">
          <ac:chgData name="Ying Yang" userId="f1527f9b-a873-4aa2-b225-cf8fd3466e0d" providerId="ADAL" clId="{A30A5C05-46CF-4F03-AB5B-503FD66274CE}" dt="2022-06-08T09:04:23.693" v="1689" actId="207"/>
          <ac:spMkLst>
            <pc:docMk/>
            <pc:sldMk cId="451508171" sldId="2145705745"/>
            <ac:spMk id="4" creationId="{ED9A9242-AE2F-40D3-8BC5-3A285B86BC08}"/>
          </ac:spMkLst>
        </pc:spChg>
        <pc:picChg chg="add mod">
          <ac:chgData name="Ying Yang" userId="f1527f9b-a873-4aa2-b225-cf8fd3466e0d" providerId="ADAL" clId="{A30A5C05-46CF-4F03-AB5B-503FD66274CE}" dt="2022-06-08T09:57:32.715" v="2612" actId="1076"/>
          <ac:picMkLst>
            <pc:docMk/>
            <pc:sldMk cId="451508171" sldId="2145705745"/>
            <ac:picMk id="5" creationId="{292AC1D1-750D-42AC-AA71-EA04E04B5288}"/>
          </ac:picMkLst>
        </pc:picChg>
      </pc:sldChg>
      <pc:sldChg chg="new del">
        <pc:chgData name="Ying Yang" userId="f1527f9b-a873-4aa2-b225-cf8fd3466e0d" providerId="ADAL" clId="{A30A5C05-46CF-4F03-AB5B-503FD66274CE}" dt="2022-06-08T09:02:51.612" v="1675" actId="680"/>
        <pc:sldMkLst>
          <pc:docMk/>
          <pc:sldMk cId="3005974773" sldId="2145705745"/>
        </pc:sldMkLst>
      </pc:sldChg>
      <pc:sldChg chg="addSp modSp new del">
        <pc:chgData name="Ying Yang" userId="f1527f9b-a873-4aa2-b225-cf8fd3466e0d" providerId="ADAL" clId="{A30A5C05-46CF-4F03-AB5B-503FD66274CE}" dt="2022-06-08T07:53:45.691" v="1109" actId="47"/>
        <pc:sldMkLst>
          <pc:docMk/>
          <pc:sldMk cId="3468735525" sldId="2145705745"/>
        </pc:sldMkLst>
        <pc:spChg chg="add mod">
          <ac:chgData name="Ying Yang" userId="f1527f9b-a873-4aa2-b225-cf8fd3466e0d" providerId="ADAL" clId="{A30A5C05-46CF-4F03-AB5B-503FD66274CE}" dt="2022-06-08T07:43:32.886" v="989"/>
          <ac:spMkLst>
            <pc:docMk/>
            <pc:sldMk cId="3468735525" sldId="2145705745"/>
            <ac:spMk id="6" creationId="{0ACA26ED-E71D-4947-8749-8AB49B471381}"/>
          </ac:spMkLst>
        </pc:spChg>
        <pc:spChg chg="add mod">
          <ac:chgData name="Ying Yang" userId="f1527f9b-a873-4aa2-b225-cf8fd3466e0d" providerId="ADAL" clId="{A30A5C05-46CF-4F03-AB5B-503FD66274CE}" dt="2022-06-08T07:43:32.886" v="989"/>
          <ac:spMkLst>
            <pc:docMk/>
            <pc:sldMk cId="3468735525" sldId="2145705745"/>
            <ac:spMk id="7" creationId="{0D2E0C94-1858-41BB-9921-5C70E67F2EC1}"/>
          </ac:spMkLst>
        </pc:spChg>
        <pc:picChg chg="add mod">
          <ac:chgData name="Ying Yang" userId="f1527f9b-a873-4aa2-b225-cf8fd3466e0d" providerId="ADAL" clId="{A30A5C05-46CF-4F03-AB5B-503FD66274CE}" dt="2022-06-08T07:43:27.305" v="988"/>
          <ac:picMkLst>
            <pc:docMk/>
            <pc:sldMk cId="3468735525" sldId="2145705745"/>
            <ac:picMk id="5" creationId="{C12EEF71-4493-4EDA-8189-DB1BA0873F25}"/>
          </ac:picMkLst>
        </pc:picChg>
        <pc:picChg chg="add mod">
          <ac:chgData name="Ying Yang" userId="f1527f9b-a873-4aa2-b225-cf8fd3466e0d" providerId="ADAL" clId="{A30A5C05-46CF-4F03-AB5B-503FD66274CE}" dt="2022-06-08T07:43:41.805" v="990"/>
          <ac:picMkLst>
            <pc:docMk/>
            <pc:sldMk cId="3468735525" sldId="2145705745"/>
            <ac:picMk id="8" creationId="{00B1C995-C12B-41FA-8EF5-EC516622A889}"/>
          </ac:picMkLst>
        </pc:picChg>
      </pc:sldChg>
      <pc:sldChg chg="addSp modSp new del">
        <pc:chgData name="Ying Yang" userId="f1527f9b-a873-4aa2-b225-cf8fd3466e0d" providerId="ADAL" clId="{A30A5C05-46CF-4F03-AB5B-503FD66274CE}" dt="2022-06-09T03:02:26.165" v="3706" actId="47"/>
        <pc:sldMkLst>
          <pc:docMk/>
          <pc:sldMk cId="87182699" sldId="2145705746"/>
        </pc:sldMkLst>
        <pc:spChg chg="add mod">
          <ac:chgData name="Ying Yang" userId="f1527f9b-a873-4aa2-b225-cf8fd3466e0d" providerId="ADAL" clId="{A30A5C05-46CF-4F03-AB5B-503FD66274CE}" dt="2022-06-08T09:29:59.071" v="2032" actId="164"/>
          <ac:spMkLst>
            <pc:docMk/>
            <pc:sldMk cId="87182699" sldId="2145705746"/>
            <ac:spMk id="4" creationId="{F6CE78C4-817E-4627-95D1-B3E91F6BC8E7}"/>
          </ac:spMkLst>
        </pc:spChg>
        <pc:spChg chg="mod">
          <ac:chgData name="Ying Yang" userId="f1527f9b-a873-4aa2-b225-cf8fd3466e0d" providerId="ADAL" clId="{A30A5C05-46CF-4F03-AB5B-503FD66274CE}" dt="2022-06-08T09:29:51.430" v="2030"/>
          <ac:spMkLst>
            <pc:docMk/>
            <pc:sldMk cId="87182699" sldId="2145705746"/>
            <ac:spMk id="7" creationId="{2E14B7D1-2D97-4709-9312-AB003E1475B4}"/>
          </ac:spMkLst>
        </pc:spChg>
        <pc:spChg chg="mod">
          <ac:chgData name="Ying Yang" userId="f1527f9b-a873-4aa2-b225-cf8fd3466e0d" providerId="ADAL" clId="{A30A5C05-46CF-4F03-AB5B-503FD66274CE}" dt="2022-06-08T09:29:51.430" v="2030"/>
          <ac:spMkLst>
            <pc:docMk/>
            <pc:sldMk cId="87182699" sldId="2145705746"/>
            <ac:spMk id="8" creationId="{BB6E0A23-AD42-4525-9CA4-8F6476845CAD}"/>
          </ac:spMkLst>
        </pc:spChg>
        <pc:spChg chg="mod">
          <ac:chgData name="Ying Yang" userId="f1527f9b-a873-4aa2-b225-cf8fd3466e0d" providerId="ADAL" clId="{A30A5C05-46CF-4F03-AB5B-503FD66274CE}" dt="2022-06-08T09:29:51.430" v="2030"/>
          <ac:spMkLst>
            <pc:docMk/>
            <pc:sldMk cId="87182699" sldId="2145705746"/>
            <ac:spMk id="9" creationId="{AA5011EB-8B9A-4DCE-B093-20FA0D1BFD8F}"/>
          </ac:spMkLst>
        </pc:spChg>
        <pc:spChg chg="mod">
          <ac:chgData name="Ying Yang" userId="f1527f9b-a873-4aa2-b225-cf8fd3466e0d" providerId="ADAL" clId="{A30A5C05-46CF-4F03-AB5B-503FD66274CE}" dt="2022-06-08T09:29:51.430" v="2030"/>
          <ac:spMkLst>
            <pc:docMk/>
            <pc:sldMk cId="87182699" sldId="2145705746"/>
            <ac:spMk id="10" creationId="{CCC1D672-189C-49DE-93AF-7FDD6DEC9014}"/>
          </ac:spMkLst>
        </pc:spChg>
        <pc:spChg chg="mod">
          <ac:chgData name="Ying Yang" userId="f1527f9b-a873-4aa2-b225-cf8fd3466e0d" providerId="ADAL" clId="{A30A5C05-46CF-4F03-AB5B-503FD66274CE}" dt="2022-06-08T09:29:51.430" v="2030"/>
          <ac:spMkLst>
            <pc:docMk/>
            <pc:sldMk cId="87182699" sldId="2145705746"/>
            <ac:spMk id="11" creationId="{B2C47924-6BCD-486D-8CCE-DA5B75F5B633}"/>
          </ac:spMkLst>
        </pc:spChg>
        <pc:spChg chg="mod">
          <ac:chgData name="Ying Yang" userId="f1527f9b-a873-4aa2-b225-cf8fd3466e0d" providerId="ADAL" clId="{A30A5C05-46CF-4F03-AB5B-503FD66274CE}" dt="2022-06-08T09:29:51.430" v="2030"/>
          <ac:spMkLst>
            <pc:docMk/>
            <pc:sldMk cId="87182699" sldId="2145705746"/>
            <ac:spMk id="12" creationId="{5F5B695F-93FC-4E99-9A46-F52A2C3A3BC4}"/>
          </ac:spMkLst>
        </pc:spChg>
        <pc:spChg chg="mod">
          <ac:chgData name="Ying Yang" userId="f1527f9b-a873-4aa2-b225-cf8fd3466e0d" providerId="ADAL" clId="{A30A5C05-46CF-4F03-AB5B-503FD66274CE}" dt="2022-06-08T09:29:51.430" v="2030"/>
          <ac:spMkLst>
            <pc:docMk/>
            <pc:sldMk cId="87182699" sldId="2145705746"/>
            <ac:spMk id="13" creationId="{825CC354-7AA8-45BC-B59C-286E6B8C1CF3}"/>
          </ac:spMkLst>
        </pc:spChg>
        <pc:spChg chg="add mod">
          <ac:chgData name="Ying Yang" userId="f1527f9b-a873-4aa2-b225-cf8fd3466e0d" providerId="ADAL" clId="{A30A5C05-46CF-4F03-AB5B-503FD66274CE}" dt="2022-06-08T09:29:59.071" v="2032" actId="164"/>
          <ac:spMkLst>
            <pc:docMk/>
            <pc:sldMk cId="87182699" sldId="2145705746"/>
            <ac:spMk id="14" creationId="{6E9D847C-9A22-4621-9E51-52229D1B8C08}"/>
          </ac:spMkLst>
        </pc:spChg>
        <pc:grpChg chg="add mod">
          <ac:chgData name="Ying Yang" userId="f1527f9b-a873-4aa2-b225-cf8fd3466e0d" providerId="ADAL" clId="{A30A5C05-46CF-4F03-AB5B-503FD66274CE}" dt="2022-06-08T09:29:51.430" v="2030"/>
          <ac:grpSpMkLst>
            <pc:docMk/>
            <pc:sldMk cId="87182699" sldId="2145705746"/>
            <ac:grpSpMk id="5" creationId="{D4BD535D-9EB2-45E7-8249-0A6653E9FF01}"/>
          </ac:grpSpMkLst>
        </pc:grpChg>
        <pc:grpChg chg="add mod">
          <ac:chgData name="Ying Yang" userId="f1527f9b-a873-4aa2-b225-cf8fd3466e0d" providerId="ADAL" clId="{A30A5C05-46CF-4F03-AB5B-503FD66274CE}" dt="2022-06-08T09:29:59.071" v="2032" actId="164"/>
          <ac:grpSpMkLst>
            <pc:docMk/>
            <pc:sldMk cId="87182699" sldId="2145705746"/>
            <ac:grpSpMk id="15" creationId="{5213F84C-DC35-4728-885B-8D4341EF3A47}"/>
          </ac:grpSpMkLst>
        </pc:grpChg>
        <pc:picChg chg="mod">
          <ac:chgData name="Ying Yang" userId="f1527f9b-a873-4aa2-b225-cf8fd3466e0d" providerId="ADAL" clId="{A30A5C05-46CF-4F03-AB5B-503FD66274CE}" dt="2022-06-08T09:29:51.430" v="2030"/>
          <ac:picMkLst>
            <pc:docMk/>
            <pc:sldMk cId="87182699" sldId="2145705746"/>
            <ac:picMk id="6" creationId="{75951E48-B8C2-424A-A8E8-E1AE274A83CF}"/>
          </ac:picMkLst>
        </pc:picChg>
      </pc:sldChg>
      <pc:sldChg chg="addSp delSp modSp new del ord">
        <pc:chgData name="Ying Yang" userId="f1527f9b-a873-4aa2-b225-cf8fd3466e0d" providerId="ADAL" clId="{A30A5C05-46CF-4F03-AB5B-503FD66274CE}" dt="2022-06-08T07:53:44.389" v="1108" actId="47"/>
        <pc:sldMkLst>
          <pc:docMk/>
          <pc:sldMk cId="614765623" sldId="2145705746"/>
        </pc:sldMkLst>
        <pc:picChg chg="add del mod">
          <ac:chgData name="Ying Yang" userId="f1527f9b-a873-4aa2-b225-cf8fd3466e0d" providerId="ADAL" clId="{A30A5C05-46CF-4F03-AB5B-503FD66274CE}" dt="2022-06-08T07:45:47.605" v="1006"/>
          <ac:picMkLst>
            <pc:docMk/>
            <pc:sldMk cId="614765623" sldId="2145705746"/>
            <ac:picMk id="6" creationId="{83E25965-3CAC-4352-9817-8175F3590B5A}"/>
          </ac:picMkLst>
        </pc:picChg>
        <pc:picChg chg="add mod">
          <ac:chgData name="Ying Yang" userId="f1527f9b-a873-4aa2-b225-cf8fd3466e0d" providerId="ADAL" clId="{A30A5C05-46CF-4F03-AB5B-503FD66274CE}" dt="2022-06-08T07:46:16.002" v="1012"/>
          <ac:picMkLst>
            <pc:docMk/>
            <pc:sldMk cId="614765623" sldId="2145705746"/>
            <ac:picMk id="7" creationId="{8AFAC019-A354-4E5C-9F59-C93DBEFD049B}"/>
          </ac:picMkLst>
        </pc:picChg>
      </pc:sldChg>
      <pc:sldChg chg="new del">
        <pc:chgData name="Ying Yang" userId="f1527f9b-a873-4aa2-b225-cf8fd3466e0d" providerId="ADAL" clId="{A30A5C05-46CF-4F03-AB5B-503FD66274CE}" dt="2022-06-08T07:53:42.108" v="1107" actId="47"/>
        <pc:sldMkLst>
          <pc:docMk/>
          <pc:sldMk cId="410988163" sldId="2145705747"/>
        </pc:sldMkLst>
      </pc:sldChg>
      <pc:sldChg chg="addSp delSp modSp add mod">
        <pc:chgData name="Ying Yang" userId="f1527f9b-a873-4aa2-b225-cf8fd3466e0d" providerId="ADAL" clId="{A30A5C05-46CF-4F03-AB5B-503FD66274CE}" dt="2022-06-13T02:24:37.089" v="4386" actId="113"/>
        <pc:sldMkLst>
          <pc:docMk/>
          <pc:sldMk cId="1411220885" sldId="2145705747"/>
        </pc:sldMkLst>
        <pc:spChg chg="add del mod">
          <ac:chgData name="Ying Yang" userId="f1527f9b-a873-4aa2-b225-cf8fd3466e0d" providerId="ADAL" clId="{A30A5C05-46CF-4F03-AB5B-503FD66274CE}" dt="2022-06-09T02:28:34.737" v="3247" actId="478"/>
          <ac:spMkLst>
            <pc:docMk/>
            <pc:sldMk cId="1411220885" sldId="2145705747"/>
            <ac:spMk id="6" creationId="{DD520DF7-383F-4AD8-8604-BA735B8EC4D3}"/>
          </ac:spMkLst>
        </pc:spChg>
        <pc:spChg chg="add del mod ord">
          <ac:chgData name="Ying Yang" userId="f1527f9b-a873-4aa2-b225-cf8fd3466e0d" providerId="ADAL" clId="{A30A5C05-46CF-4F03-AB5B-503FD66274CE}" dt="2022-06-09T02:19:53.438" v="3098" actId="478"/>
          <ac:spMkLst>
            <pc:docMk/>
            <pc:sldMk cId="1411220885" sldId="2145705747"/>
            <ac:spMk id="9" creationId="{63F5B011-14D8-4E22-9724-C36ED4655E90}"/>
          </ac:spMkLst>
        </pc:spChg>
        <pc:spChg chg="mod ord">
          <ac:chgData name="Ying Yang" userId="f1527f9b-a873-4aa2-b225-cf8fd3466e0d" providerId="ADAL" clId="{A30A5C05-46CF-4F03-AB5B-503FD66274CE}" dt="2022-06-09T02:26:13.030" v="3222" actId="403"/>
          <ac:spMkLst>
            <pc:docMk/>
            <pc:sldMk cId="1411220885" sldId="2145705747"/>
            <ac:spMk id="14" creationId="{00000000-0000-0000-0000-000000000000}"/>
          </ac:spMkLst>
        </pc:spChg>
        <pc:spChg chg="mod ord">
          <ac:chgData name="Ying Yang" userId="f1527f9b-a873-4aa2-b225-cf8fd3466e0d" providerId="ADAL" clId="{A30A5C05-46CF-4F03-AB5B-503FD66274CE}" dt="2022-06-09T02:26:13.030" v="3222" actId="403"/>
          <ac:spMkLst>
            <pc:docMk/>
            <pc:sldMk cId="1411220885" sldId="2145705747"/>
            <ac:spMk id="15" creationId="{00000000-0000-0000-0000-000000000000}"/>
          </ac:spMkLst>
        </pc:spChg>
        <pc:spChg chg="mod ord">
          <ac:chgData name="Ying Yang" userId="f1527f9b-a873-4aa2-b225-cf8fd3466e0d" providerId="ADAL" clId="{A30A5C05-46CF-4F03-AB5B-503FD66274CE}" dt="2022-06-08T10:02:29.282" v="2704" actId="164"/>
          <ac:spMkLst>
            <pc:docMk/>
            <pc:sldMk cId="1411220885" sldId="2145705747"/>
            <ac:spMk id="18" creationId="{00000000-0000-0000-0000-000000000000}"/>
          </ac:spMkLst>
        </pc:spChg>
        <pc:spChg chg="add mod">
          <ac:chgData name="Ying Yang" userId="f1527f9b-a873-4aa2-b225-cf8fd3466e0d" providerId="ADAL" clId="{A30A5C05-46CF-4F03-AB5B-503FD66274CE}" dt="2022-06-13T02:24:37.089" v="4386" actId="113"/>
          <ac:spMkLst>
            <pc:docMk/>
            <pc:sldMk cId="1411220885" sldId="2145705747"/>
            <ac:spMk id="61" creationId="{5FD5F2DC-5621-48EF-9287-F94F0B976095}"/>
          </ac:spMkLst>
        </pc:spChg>
        <pc:spChg chg="mod">
          <ac:chgData name="Ying Yang" userId="f1527f9b-a873-4aa2-b225-cf8fd3466e0d" providerId="ADAL" clId="{A30A5C05-46CF-4F03-AB5B-503FD66274CE}" dt="2022-06-09T02:19:34.609" v="3092"/>
          <ac:spMkLst>
            <pc:docMk/>
            <pc:sldMk cId="1411220885" sldId="2145705747"/>
            <ac:spMk id="65" creationId="{0BAAB9D5-D39F-4006-BDC7-C901F31EC1FA}"/>
          </ac:spMkLst>
        </pc:spChg>
        <pc:spChg chg="del mod">
          <ac:chgData name="Ying Yang" userId="f1527f9b-a873-4aa2-b225-cf8fd3466e0d" providerId="ADAL" clId="{A30A5C05-46CF-4F03-AB5B-503FD66274CE}" dt="2022-06-09T02:19:41.437" v="3093" actId="478"/>
          <ac:spMkLst>
            <pc:docMk/>
            <pc:sldMk cId="1411220885" sldId="2145705747"/>
            <ac:spMk id="67" creationId="{014AB86D-E3A3-495E-AFB5-8D53EE42E7D5}"/>
          </ac:spMkLst>
        </pc:spChg>
        <pc:spChg chg="del mod">
          <ac:chgData name="Ying Yang" userId="f1527f9b-a873-4aa2-b225-cf8fd3466e0d" providerId="ADAL" clId="{A30A5C05-46CF-4F03-AB5B-503FD66274CE}" dt="2022-06-09T02:19:43.734" v="3094" actId="478"/>
          <ac:spMkLst>
            <pc:docMk/>
            <pc:sldMk cId="1411220885" sldId="2145705747"/>
            <ac:spMk id="68" creationId="{A28EA39A-7949-406B-9890-45A5227D8533}"/>
          </ac:spMkLst>
        </pc:spChg>
        <pc:spChg chg="mod">
          <ac:chgData name="Ying Yang" userId="f1527f9b-a873-4aa2-b225-cf8fd3466e0d" providerId="ADAL" clId="{A30A5C05-46CF-4F03-AB5B-503FD66274CE}" dt="2022-06-09T02:19:34.609" v="3092"/>
          <ac:spMkLst>
            <pc:docMk/>
            <pc:sldMk cId="1411220885" sldId="2145705747"/>
            <ac:spMk id="69" creationId="{385F949D-8FAA-4DA7-B090-C349BEB0C74C}"/>
          </ac:spMkLst>
        </pc:spChg>
        <pc:spChg chg="mod">
          <ac:chgData name="Ying Yang" userId="f1527f9b-a873-4aa2-b225-cf8fd3466e0d" providerId="ADAL" clId="{A30A5C05-46CF-4F03-AB5B-503FD66274CE}" dt="2022-06-09T02:19:34.609" v="3092"/>
          <ac:spMkLst>
            <pc:docMk/>
            <pc:sldMk cId="1411220885" sldId="2145705747"/>
            <ac:spMk id="73" creationId="{0FF23523-5E9C-4423-9682-9EEAA63A1AB6}"/>
          </ac:spMkLst>
        </pc:spChg>
        <pc:spChg chg="mod">
          <ac:chgData name="Ying Yang" userId="f1527f9b-a873-4aa2-b225-cf8fd3466e0d" providerId="ADAL" clId="{A30A5C05-46CF-4F03-AB5B-503FD66274CE}" dt="2022-06-09T02:19:34.609" v="3092"/>
          <ac:spMkLst>
            <pc:docMk/>
            <pc:sldMk cId="1411220885" sldId="2145705747"/>
            <ac:spMk id="74" creationId="{95C1AB39-303A-4CE2-9034-94D99C0C49ED}"/>
          </ac:spMkLst>
        </pc:spChg>
        <pc:spChg chg="mod">
          <ac:chgData name="Ying Yang" userId="f1527f9b-a873-4aa2-b225-cf8fd3466e0d" providerId="ADAL" clId="{A30A5C05-46CF-4F03-AB5B-503FD66274CE}" dt="2022-06-09T02:19:34.609" v="3092"/>
          <ac:spMkLst>
            <pc:docMk/>
            <pc:sldMk cId="1411220885" sldId="2145705747"/>
            <ac:spMk id="75" creationId="{08DC86B0-6328-45F4-818D-F0D55B09D777}"/>
          </ac:spMkLst>
        </pc:spChg>
        <pc:spChg chg="del mod topLvl">
          <ac:chgData name="Ying Yang" userId="f1527f9b-a873-4aa2-b225-cf8fd3466e0d" providerId="ADAL" clId="{A30A5C05-46CF-4F03-AB5B-503FD66274CE}" dt="2022-06-08T09:29:48.553" v="2029" actId="21"/>
          <ac:spMkLst>
            <pc:docMk/>
            <pc:sldMk cId="1411220885" sldId="2145705747"/>
            <ac:spMk id="75" creationId="{34CF3FEF-40B3-4274-B4BF-B5D4F1E97782}"/>
          </ac:spMkLst>
        </pc:spChg>
        <pc:spChg chg="mod">
          <ac:chgData name="Ying Yang" userId="f1527f9b-a873-4aa2-b225-cf8fd3466e0d" providerId="ADAL" clId="{A30A5C05-46CF-4F03-AB5B-503FD66274CE}" dt="2022-06-09T02:19:34.609" v="3092"/>
          <ac:spMkLst>
            <pc:docMk/>
            <pc:sldMk cId="1411220885" sldId="2145705747"/>
            <ac:spMk id="76" creationId="{4E7C9588-C29B-4A88-A581-693C9C9B9955}"/>
          </ac:spMkLst>
        </pc:spChg>
        <pc:spChg chg="mod">
          <ac:chgData name="Ying Yang" userId="f1527f9b-a873-4aa2-b225-cf8fd3466e0d" providerId="ADAL" clId="{A30A5C05-46CF-4F03-AB5B-503FD66274CE}" dt="2022-06-09T02:19:34.609" v="3092"/>
          <ac:spMkLst>
            <pc:docMk/>
            <pc:sldMk cId="1411220885" sldId="2145705747"/>
            <ac:spMk id="77" creationId="{CA8AD372-C62B-4247-AE25-98FFD05F2AA5}"/>
          </ac:spMkLst>
        </pc:spChg>
        <pc:spChg chg="mod">
          <ac:chgData name="Ying Yang" userId="f1527f9b-a873-4aa2-b225-cf8fd3466e0d" providerId="ADAL" clId="{A30A5C05-46CF-4F03-AB5B-503FD66274CE}" dt="2022-06-09T02:19:34.609" v="3092"/>
          <ac:spMkLst>
            <pc:docMk/>
            <pc:sldMk cId="1411220885" sldId="2145705747"/>
            <ac:spMk id="78" creationId="{577D8AA1-E1FD-4DFF-A88E-6B6437E0D336}"/>
          </ac:spMkLst>
        </pc:spChg>
        <pc:spChg chg="del mod topLvl">
          <ac:chgData name="Ying Yang" userId="f1527f9b-a873-4aa2-b225-cf8fd3466e0d" providerId="ADAL" clId="{A30A5C05-46CF-4F03-AB5B-503FD66274CE}" dt="2022-06-08T09:29:48.553" v="2029" actId="21"/>
          <ac:spMkLst>
            <pc:docMk/>
            <pc:sldMk cId="1411220885" sldId="2145705747"/>
            <ac:spMk id="79" creationId="{585EF8D1-7339-4630-B986-B3A04F6E0EE0}"/>
          </ac:spMkLst>
        </pc:spChg>
        <pc:spChg chg="add mod ord">
          <ac:chgData name="Ying Yang" userId="f1527f9b-a873-4aa2-b225-cf8fd3466e0d" providerId="ADAL" clId="{A30A5C05-46CF-4F03-AB5B-503FD66274CE}" dt="2022-06-09T02:20:40.962" v="3110" actId="14100"/>
          <ac:spMkLst>
            <pc:docMk/>
            <pc:sldMk cId="1411220885" sldId="2145705747"/>
            <ac:spMk id="79" creationId="{A6077C0E-0110-47FC-9CBD-93563BE9061D}"/>
          </ac:spMkLst>
        </pc:spChg>
        <pc:spChg chg="add mod ord">
          <ac:chgData name="Ying Yang" userId="f1527f9b-a873-4aa2-b225-cf8fd3466e0d" providerId="ADAL" clId="{A30A5C05-46CF-4F03-AB5B-503FD66274CE}" dt="2022-06-09T03:29:26.638" v="4148" actId="164"/>
          <ac:spMkLst>
            <pc:docMk/>
            <pc:sldMk cId="1411220885" sldId="2145705747"/>
            <ac:spMk id="80" creationId="{4A0B538E-45DE-4A74-89AF-A206EEFC7157}"/>
          </ac:spMkLst>
        </pc:spChg>
        <pc:spChg chg="mod">
          <ac:chgData name="Ying Yang" userId="f1527f9b-a873-4aa2-b225-cf8fd3466e0d" providerId="ADAL" clId="{A30A5C05-46CF-4F03-AB5B-503FD66274CE}" dt="2022-06-08T09:29:44.792" v="2028" actId="165"/>
          <ac:spMkLst>
            <pc:docMk/>
            <pc:sldMk cId="1411220885" sldId="2145705747"/>
            <ac:spMk id="82" creationId="{9AE50591-8C8B-4CBB-907B-6258928BAE4D}"/>
          </ac:spMkLst>
        </pc:spChg>
        <pc:spChg chg="mod">
          <ac:chgData name="Ying Yang" userId="f1527f9b-a873-4aa2-b225-cf8fd3466e0d" providerId="ADAL" clId="{A30A5C05-46CF-4F03-AB5B-503FD66274CE}" dt="2022-06-08T09:29:44.792" v="2028" actId="165"/>
          <ac:spMkLst>
            <pc:docMk/>
            <pc:sldMk cId="1411220885" sldId="2145705747"/>
            <ac:spMk id="83" creationId="{3C8FF8B1-9948-45EA-BB87-949F58EA8237}"/>
          </ac:spMkLst>
        </pc:spChg>
        <pc:spChg chg="mod">
          <ac:chgData name="Ying Yang" userId="f1527f9b-a873-4aa2-b225-cf8fd3466e0d" providerId="ADAL" clId="{A30A5C05-46CF-4F03-AB5B-503FD66274CE}" dt="2022-06-08T09:29:44.792" v="2028" actId="165"/>
          <ac:spMkLst>
            <pc:docMk/>
            <pc:sldMk cId="1411220885" sldId="2145705747"/>
            <ac:spMk id="84" creationId="{3DFBA735-D83B-4767-AE42-FAC087F9B75D}"/>
          </ac:spMkLst>
        </pc:spChg>
        <pc:spChg chg="mod">
          <ac:chgData name="Ying Yang" userId="f1527f9b-a873-4aa2-b225-cf8fd3466e0d" providerId="ADAL" clId="{A30A5C05-46CF-4F03-AB5B-503FD66274CE}" dt="2022-06-08T09:29:44.792" v="2028" actId="165"/>
          <ac:spMkLst>
            <pc:docMk/>
            <pc:sldMk cId="1411220885" sldId="2145705747"/>
            <ac:spMk id="85" creationId="{20684553-9BA2-49C8-A553-B98F66E9A85E}"/>
          </ac:spMkLst>
        </pc:spChg>
        <pc:spChg chg="mod">
          <ac:chgData name="Ying Yang" userId="f1527f9b-a873-4aa2-b225-cf8fd3466e0d" providerId="ADAL" clId="{A30A5C05-46CF-4F03-AB5B-503FD66274CE}" dt="2022-06-08T09:29:44.792" v="2028" actId="165"/>
          <ac:spMkLst>
            <pc:docMk/>
            <pc:sldMk cId="1411220885" sldId="2145705747"/>
            <ac:spMk id="86" creationId="{40C4C01E-3ACE-4B4F-AF16-19EBFF23918D}"/>
          </ac:spMkLst>
        </pc:spChg>
        <pc:spChg chg="mod">
          <ac:chgData name="Ying Yang" userId="f1527f9b-a873-4aa2-b225-cf8fd3466e0d" providerId="ADAL" clId="{A30A5C05-46CF-4F03-AB5B-503FD66274CE}" dt="2022-06-08T09:29:44.792" v="2028" actId="165"/>
          <ac:spMkLst>
            <pc:docMk/>
            <pc:sldMk cId="1411220885" sldId="2145705747"/>
            <ac:spMk id="87" creationId="{17C2E2C1-0339-40BC-BA04-70AA968B4E50}"/>
          </ac:spMkLst>
        </pc:spChg>
        <pc:spChg chg="add mod ord">
          <ac:chgData name="Ying Yang" userId="f1527f9b-a873-4aa2-b225-cf8fd3466e0d" providerId="ADAL" clId="{A30A5C05-46CF-4F03-AB5B-503FD66274CE}" dt="2022-06-09T02:31:09.907" v="3290" actId="164"/>
          <ac:spMkLst>
            <pc:docMk/>
            <pc:sldMk cId="1411220885" sldId="2145705747"/>
            <ac:spMk id="88" creationId="{4A6427BD-7EC1-4DB5-88FB-AC5832F7215F}"/>
          </ac:spMkLst>
        </pc:spChg>
        <pc:spChg chg="mod">
          <ac:chgData name="Ying Yang" userId="f1527f9b-a873-4aa2-b225-cf8fd3466e0d" providerId="ADAL" clId="{A30A5C05-46CF-4F03-AB5B-503FD66274CE}" dt="2022-06-08T09:29:44.792" v="2028" actId="165"/>
          <ac:spMkLst>
            <pc:docMk/>
            <pc:sldMk cId="1411220885" sldId="2145705747"/>
            <ac:spMk id="88" creationId="{4D8CDF9E-A8B2-4D04-AD60-A646FF4126FE}"/>
          </ac:spMkLst>
        </pc:spChg>
        <pc:spChg chg="add del mod ord">
          <ac:chgData name="Ying Yang" userId="f1527f9b-a873-4aa2-b225-cf8fd3466e0d" providerId="ADAL" clId="{A30A5C05-46CF-4F03-AB5B-503FD66274CE}" dt="2022-06-09T03:29:56.035" v="4167" actId="478"/>
          <ac:spMkLst>
            <pc:docMk/>
            <pc:sldMk cId="1411220885" sldId="2145705747"/>
            <ac:spMk id="89" creationId="{4E80E109-2FFE-4239-8D06-31DA28863CF1}"/>
          </ac:spMkLst>
        </pc:spChg>
        <pc:spChg chg="add mod ord topLvl">
          <ac:chgData name="Ying Yang" userId="f1527f9b-a873-4aa2-b225-cf8fd3466e0d" providerId="ADAL" clId="{A30A5C05-46CF-4F03-AB5B-503FD66274CE}" dt="2022-06-09T03:31:24.574" v="4180" actId="404"/>
          <ac:spMkLst>
            <pc:docMk/>
            <pc:sldMk cId="1411220885" sldId="2145705747"/>
            <ac:spMk id="90" creationId="{2BEDCB81-43DC-4B68-8905-565B26543044}"/>
          </ac:spMkLst>
        </pc:spChg>
        <pc:spChg chg="add del mod topLvl">
          <ac:chgData name="Ying Yang" userId="f1527f9b-a873-4aa2-b225-cf8fd3466e0d" providerId="ADAL" clId="{A30A5C05-46CF-4F03-AB5B-503FD66274CE}" dt="2022-06-09T03:27:54.815" v="4113" actId="478"/>
          <ac:spMkLst>
            <pc:docMk/>
            <pc:sldMk cId="1411220885" sldId="2145705747"/>
            <ac:spMk id="91" creationId="{CB8734D8-CA29-47BE-9248-60D48E95B5D4}"/>
          </ac:spMkLst>
        </pc:spChg>
        <pc:spChg chg="add del mod">
          <ac:chgData name="Ying Yang" userId="f1527f9b-a873-4aa2-b225-cf8fd3466e0d" providerId="ADAL" clId="{A30A5C05-46CF-4F03-AB5B-503FD66274CE}" dt="2022-06-09T03:27:33.894" v="4096"/>
          <ac:spMkLst>
            <pc:docMk/>
            <pc:sldMk cId="1411220885" sldId="2145705747"/>
            <ac:spMk id="93" creationId="{49CFB6D7-B9D1-4DCD-A4E2-1F3CE60172A3}"/>
          </ac:spMkLst>
        </pc:spChg>
        <pc:spChg chg="mod">
          <ac:chgData name="Ying Yang" userId="f1527f9b-a873-4aa2-b225-cf8fd3466e0d" providerId="ADAL" clId="{A30A5C05-46CF-4F03-AB5B-503FD66274CE}" dt="2022-06-08T09:28:24.551" v="2011"/>
          <ac:spMkLst>
            <pc:docMk/>
            <pc:sldMk cId="1411220885" sldId="2145705747"/>
            <ac:spMk id="93" creationId="{6449E1F2-6F10-4C23-BF43-93FBB12AD236}"/>
          </ac:spMkLst>
        </pc:spChg>
        <pc:spChg chg="mod">
          <ac:chgData name="Ying Yang" userId="f1527f9b-a873-4aa2-b225-cf8fd3466e0d" providerId="ADAL" clId="{A30A5C05-46CF-4F03-AB5B-503FD66274CE}" dt="2022-06-08T09:28:24.551" v="2011"/>
          <ac:spMkLst>
            <pc:docMk/>
            <pc:sldMk cId="1411220885" sldId="2145705747"/>
            <ac:spMk id="94" creationId="{62843B07-C683-4807-B481-839E23C8094D}"/>
          </ac:spMkLst>
        </pc:spChg>
        <pc:spChg chg="mod">
          <ac:chgData name="Ying Yang" userId="f1527f9b-a873-4aa2-b225-cf8fd3466e0d" providerId="ADAL" clId="{A30A5C05-46CF-4F03-AB5B-503FD66274CE}" dt="2022-06-08T09:28:24.551" v="2011"/>
          <ac:spMkLst>
            <pc:docMk/>
            <pc:sldMk cId="1411220885" sldId="2145705747"/>
            <ac:spMk id="95" creationId="{190A93F6-CFC0-422A-B0E4-8925D1CBE4E2}"/>
          </ac:spMkLst>
        </pc:spChg>
        <pc:spChg chg="mod">
          <ac:chgData name="Ying Yang" userId="f1527f9b-a873-4aa2-b225-cf8fd3466e0d" providerId="ADAL" clId="{A30A5C05-46CF-4F03-AB5B-503FD66274CE}" dt="2022-06-09T03:27:38.997" v="4097"/>
          <ac:spMkLst>
            <pc:docMk/>
            <pc:sldMk cId="1411220885" sldId="2145705747"/>
            <ac:spMk id="95" creationId="{639A46DB-D023-4DCB-B83F-80F448E87D58}"/>
          </ac:spMkLst>
        </pc:spChg>
        <pc:spChg chg="mod">
          <ac:chgData name="Ying Yang" userId="f1527f9b-a873-4aa2-b225-cf8fd3466e0d" providerId="ADAL" clId="{A30A5C05-46CF-4F03-AB5B-503FD66274CE}" dt="2022-06-08T09:28:24.551" v="2011"/>
          <ac:spMkLst>
            <pc:docMk/>
            <pc:sldMk cId="1411220885" sldId="2145705747"/>
            <ac:spMk id="96" creationId="{01C57883-4752-4C9C-A6AF-29380E56D29C}"/>
          </ac:spMkLst>
        </pc:spChg>
        <pc:spChg chg="mod">
          <ac:chgData name="Ying Yang" userId="f1527f9b-a873-4aa2-b225-cf8fd3466e0d" providerId="ADAL" clId="{A30A5C05-46CF-4F03-AB5B-503FD66274CE}" dt="2022-06-08T09:28:24.551" v="2011"/>
          <ac:spMkLst>
            <pc:docMk/>
            <pc:sldMk cId="1411220885" sldId="2145705747"/>
            <ac:spMk id="97" creationId="{D63D13AC-22C6-4818-9CC9-7369A656E3D6}"/>
          </ac:spMkLst>
        </pc:spChg>
        <pc:spChg chg="mod">
          <ac:chgData name="Ying Yang" userId="f1527f9b-a873-4aa2-b225-cf8fd3466e0d" providerId="ADAL" clId="{A30A5C05-46CF-4F03-AB5B-503FD66274CE}" dt="2022-06-09T03:32:29.031" v="4205" actId="207"/>
          <ac:spMkLst>
            <pc:docMk/>
            <pc:sldMk cId="1411220885" sldId="2145705747"/>
            <ac:spMk id="98" creationId="{31C22B4F-40F2-4505-B398-43BC3ED5289E}"/>
          </ac:spMkLst>
        </pc:spChg>
        <pc:spChg chg="mod">
          <ac:chgData name="Ying Yang" userId="f1527f9b-a873-4aa2-b225-cf8fd3466e0d" providerId="ADAL" clId="{A30A5C05-46CF-4F03-AB5B-503FD66274CE}" dt="2022-06-08T09:28:24.551" v="2011"/>
          <ac:spMkLst>
            <pc:docMk/>
            <pc:sldMk cId="1411220885" sldId="2145705747"/>
            <ac:spMk id="98" creationId="{3F6FDA82-A004-426E-A5AD-6DC546770DE5}"/>
          </ac:spMkLst>
        </pc:spChg>
        <pc:spChg chg="mod">
          <ac:chgData name="Ying Yang" userId="f1527f9b-a873-4aa2-b225-cf8fd3466e0d" providerId="ADAL" clId="{A30A5C05-46CF-4F03-AB5B-503FD66274CE}" dt="2022-06-09T02:12:14.421" v="2868" actId="404"/>
          <ac:spMkLst>
            <pc:docMk/>
            <pc:sldMk cId="1411220885" sldId="2145705747"/>
            <ac:spMk id="100" creationId="{4C5C3D9D-A04F-48CB-9BB8-5AB5CBD836F0}"/>
          </ac:spMkLst>
        </pc:spChg>
        <pc:spChg chg="mod">
          <ac:chgData name="Ying Yang" userId="f1527f9b-a873-4aa2-b225-cf8fd3466e0d" providerId="ADAL" clId="{A30A5C05-46CF-4F03-AB5B-503FD66274CE}" dt="2022-06-09T02:12:17.169" v="2869" actId="404"/>
          <ac:spMkLst>
            <pc:docMk/>
            <pc:sldMk cId="1411220885" sldId="2145705747"/>
            <ac:spMk id="101" creationId="{A3F71D35-B0AE-4243-9AE6-EB5D24629396}"/>
          </ac:spMkLst>
        </pc:spChg>
        <pc:spChg chg="mod">
          <ac:chgData name="Ying Yang" userId="f1527f9b-a873-4aa2-b225-cf8fd3466e0d" providerId="ADAL" clId="{A30A5C05-46CF-4F03-AB5B-503FD66274CE}" dt="2022-06-09T02:12:11.033" v="2867" actId="404"/>
          <ac:spMkLst>
            <pc:docMk/>
            <pc:sldMk cId="1411220885" sldId="2145705747"/>
            <ac:spMk id="102" creationId="{CE7E2D97-09D5-451D-9CAC-3E58F9365430}"/>
          </ac:spMkLst>
        </pc:spChg>
        <pc:spChg chg="mod">
          <ac:chgData name="Ying Yang" userId="f1527f9b-a873-4aa2-b225-cf8fd3466e0d" providerId="ADAL" clId="{A30A5C05-46CF-4F03-AB5B-503FD66274CE}" dt="2022-06-09T02:12:20.565" v="2870" actId="404"/>
          <ac:spMkLst>
            <pc:docMk/>
            <pc:sldMk cId="1411220885" sldId="2145705747"/>
            <ac:spMk id="103" creationId="{669BEC9C-2FD7-4001-B497-BA66D4BF0327}"/>
          </ac:spMkLst>
        </pc:spChg>
        <pc:spChg chg="mod">
          <ac:chgData name="Ying Yang" userId="f1527f9b-a873-4aa2-b225-cf8fd3466e0d" providerId="ADAL" clId="{A30A5C05-46CF-4F03-AB5B-503FD66274CE}" dt="2022-06-09T02:12:22.570" v="2871" actId="404"/>
          <ac:spMkLst>
            <pc:docMk/>
            <pc:sldMk cId="1411220885" sldId="2145705747"/>
            <ac:spMk id="104" creationId="{4D80035D-B679-48BD-9D79-AC87B216E103}"/>
          </ac:spMkLst>
        </pc:spChg>
        <pc:spChg chg="mod">
          <ac:chgData name="Ying Yang" userId="f1527f9b-a873-4aa2-b225-cf8fd3466e0d" providerId="ADAL" clId="{A30A5C05-46CF-4F03-AB5B-503FD66274CE}" dt="2022-06-09T02:12:29.194" v="2874" actId="1076"/>
          <ac:spMkLst>
            <pc:docMk/>
            <pc:sldMk cId="1411220885" sldId="2145705747"/>
            <ac:spMk id="105" creationId="{26F9B3E7-1853-4BBC-9BC2-760E6D5FA1EA}"/>
          </ac:spMkLst>
        </pc:spChg>
        <pc:spChg chg="add mod">
          <ac:chgData name="Ying Yang" userId="f1527f9b-a873-4aa2-b225-cf8fd3466e0d" providerId="ADAL" clId="{A30A5C05-46CF-4F03-AB5B-503FD66274CE}" dt="2022-06-08T09:31:31.433" v="2051" actId="164"/>
          <ac:spMkLst>
            <pc:docMk/>
            <pc:sldMk cId="1411220885" sldId="2145705747"/>
            <ac:spMk id="107" creationId="{05E2B0A6-0E38-453A-8878-07049121FD62}"/>
          </ac:spMkLst>
        </pc:spChg>
        <pc:spChg chg="add del mod">
          <ac:chgData name="Ying Yang" userId="f1527f9b-a873-4aa2-b225-cf8fd3466e0d" providerId="ADAL" clId="{A30A5C05-46CF-4F03-AB5B-503FD66274CE}" dt="2022-06-08T09:29:01.048" v="2017" actId="478"/>
          <ac:spMkLst>
            <pc:docMk/>
            <pc:sldMk cId="1411220885" sldId="2145705747"/>
            <ac:spMk id="114" creationId="{F9503D31-61FA-4007-A6CB-C90ADFED3381}"/>
          </ac:spMkLst>
        </pc:spChg>
        <pc:spChg chg="mod ord">
          <ac:chgData name="Ying Yang" userId="f1527f9b-a873-4aa2-b225-cf8fd3466e0d" providerId="ADAL" clId="{A30A5C05-46CF-4F03-AB5B-503FD66274CE}" dt="2022-06-09T02:21:21.388" v="3163" actId="207"/>
          <ac:spMkLst>
            <pc:docMk/>
            <pc:sldMk cId="1411220885" sldId="2145705747"/>
            <ac:spMk id="116" creationId="{848C55FF-BBE0-4668-B10C-60E8AD8D1237}"/>
          </ac:spMkLst>
        </pc:spChg>
        <pc:spChg chg="mod ord">
          <ac:chgData name="Ying Yang" userId="f1527f9b-a873-4aa2-b225-cf8fd3466e0d" providerId="ADAL" clId="{A30A5C05-46CF-4F03-AB5B-503FD66274CE}" dt="2022-06-09T02:15:18.873" v="2956" actId="167"/>
          <ac:spMkLst>
            <pc:docMk/>
            <pc:sldMk cId="1411220885" sldId="2145705747"/>
            <ac:spMk id="117" creationId="{83569C3A-C08F-445C-886B-9A76A87D4060}"/>
          </ac:spMkLst>
        </pc:spChg>
        <pc:spChg chg="mod">
          <ac:chgData name="Ying Yang" userId="f1527f9b-a873-4aa2-b225-cf8fd3466e0d" providerId="ADAL" clId="{A30A5C05-46CF-4F03-AB5B-503FD66274CE}" dt="2022-06-09T03:27:38.997" v="4097"/>
          <ac:spMkLst>
            <pc:docMk/>
            <pc:sldMk cId="1411220885" sldId="2145705747"/>
            <ac:spMk id="118" creationId="{30ABE9CF-FE05-4A0E-A44E-6E0731D9C9A1}"/>
          </ac:spMkLst>
        </pc:spChg>
        <pc:spChg chg="mod">
          <ac:chgData name="Ying Yang" userId="f1527f9b-a873-4aa2-b225-cf8fd3466e0d" providerId="ADAL" clId="{A30A5C05-46CF-4F03-AB5B-503FD66274CE}" dt="2022-06-09T03:27:38.997" v="4097"/>
          <ac:spMkLst>
            <pc:docMk/>
            <pc:sldMk cId="1411220885" sldId="2145705747"/>
            <ac:spMk id="119" creationId="{B263A3A9-6807-4B0F-8186-38C7560C1D49}"/>
          </ac:spMkLst>
        </pc:spChg>
        <pc:spChg chg="mod">
          <ac:chgData name="Ying Yang" userId="f1527f9b-a873-4aa2-b225-cf8fd3466e0d" providerId="ADAL" clId="{A30A5C05-46CF-4F03-AB5B-503FD66274CE}" dt="2022-06-08T09:35:08.555" v="2094"/>
          <ac:spMkLst>
            <pc:docMk/>
            <pc:sldMk cId="1411220885" sldId="2145705747"/>
            <ac:spMk id="119" creationId="{FA6C05BB-ED98-4902-A163-895C33311B02}"/>
          </ac:spMkLst>
        </pc:spChg>
        <pc:spChg chg="mod">
          <ac:chgData name="Ying Yang" userId="f1527f9b-a873-4aa2-b225-cf8fd3466e0d" providerId="ADAL" clId="{A30A5C05-46CF-4F03-AB5B-503FD66274CE}" dt="2022-06-08T09:35:08.555" v="2094"/>
          <ac:spMkLst>
            <pc:docMk/>
            <pc:sldMk cId="1411220885" sldId="2145705747"/>
            <ac:spMk id="120" creationId="{0DE71C50-5D4B-47F7-A9F2-8D5E0F325A12}"/>
          </ac:spMkLst>
        </pc:spChg>
        <pc:spChg chg="mod">
          <ac:chgData name="Ying Yang" userId="f1527f9b-a873-4aa2-b225-cf8fd3466e0d" providerId="ADAL" clId="{A30A5C05-46CF-4F03-AB5B-503FD66274CE}" dt="2022-06-09T03:27:38.997" v="4097"/>
          <ac:spMkLst>
            <pc:docMk/>
            <pc:sldMk cId="1411220885" sldId="2145705747"/>
            <ac:spMk id="120" creationId="{D3530EC9-0078-44B0-B433-66CF3F8F449C}"/>
          </ac:spMkLst>
        </pc:spChg>
        <pc:spChg chg="mod">
          <ac:chgData name="Ying Yang" userId="f1527f9b-a873-4aa2-b225-cf8fd3466e0d" providerId="ADAL" clId="{A30A5C05-46CF-4F03-AB5B-503FD66274CE}" dt="2022-06-09T03:27:38.997" v="4097"/>
          <ac:spMkLst>
            <pc:docMk/>
            <pc:sldMk cId="1411220885" sldId="2145705747"/>
            <ac:spMk id="121" creationId="{88297EEF-F317-4EB4-9B57-EFE9880C2393}"/>
          </ac:spMkLst>
        </pc:spChg>
        <pc:spChg chg="mod">
          <ac:chgData name="Ying Yang" userId="f1527f9b-a873-4aa2-b225-cf8fd3466e0d" providerId="ADAL" clId="{A30A5C05-46CF-4F03-AB5B-503FD66274CE}" dt="2022-06-08T09:35:08.555" v="2094"/>
          <ac:spMkLst>
            <pc:docMk/>
            <pc:sldMk cId="1411220885" sldId="2145705747"/>
            <ac:spMk id="121" creationId="{8B780869-FD9E-42D0-9EC0-89A77A13B1AF}"/>
          </ac:spMkLst>
        </pc:spChg>
        <pc:spChg chg="mod">
          <ac:chgData name="Ying Yang" userId="f1527f9b-a873-4aa2-b225-cf8fd3466e0d" providerId="ADAL" clId="{A30A5C05-46CF-4F03-AB5B-503FD66274CE}" dt="2022-06-09T03:27:38.997" v="4097"/>
          <ac:spMkLst>
            <pc:docMk/>
            <pc:sldMk cId="1411220885" sldId="2145705747"/>
            <ac:spMk id="122" creationId="{316E9429-2BC0-4346-8AE4-98AF942FE67A}"/>
          </ac:spMkLst>
        </pc:spChg>
        <pc:spChg chg="mod">
          <ac:chgData name="Ying Yang" userId="f1527f9b-a873-4aa2-b225-cf8fd3466e0d" providerId="ADAL" clId="{A30A5C05-46CF-4F03-AB5B-503FD66274CE}" dt="2022-06-09T03:27:38.997" v="4097"/>
          <ac:spMkLst>
            <pc:docMk/>
            <pc:sldMk cId="1411220885" sldId="2145705747"/>
            <ac:spMk id="123" creationId="{37020CBB-8655-41B5-8502-D0FC10FD3FF5}"/>
          </ac:spMkLst>
        </pc:spChg>
        <pc:spChg chg="del mod topLvl">
          <ac:chgData name="Ying Yang" userId="f1527f9b-a873-4aa2-b225-cf8fd3466e0d" providerId="ADAL" clId="{A30A5C05-46CF-4F03-AB5B-503FD66274CE}" dt="2022-06-08T09:43:20.092" v="2162" actId="478"/>
          <ac:spMkLst>
            <pc:docMk/>
            <pc:sldMk cId="1411220885" sldId="2145705747"/>
            <ac:spMk id="124" creationId="{34A40FF3-DD08-47D4-BA8C-94963B82B7CF}"/>
          </ac:spMkLst>
        </pc:spChg>
        <pc:spChg chg="mod">
          <ac:chgData name="Ying Yang" userId="f1527f9b-a873-4aa2-b225-cf8fd3466e0d" providerId="ADAL" clId="{A30A5C05-46CF-4F03-AB5B-503FD66274CE}" dt="2022-06-09T03:27:38.997" v="4097"/>
          <ac:spMkLst>
            <pc:docMk/>
            <pc:sldMk cId="1411220885" sldId="2145705747"/>
            <ac:spMk id="124" creationId="{E944E368-4F06-42D0-98B6-7E3DA1FDD715}"/>
          </ac:spMkLst>
        </pc:spChg>
        <pc:spChg chg="mod">
          <ac:chgData name="Ying Yang" userId="f1527f9b-a873-4aa2-b225-cf8fd3466e0d" providerId="ADAL" clId="{A30A5C05-46CF-4F03-AB5B-503FD66274CE}" dt="2022-06-09T03:27:38.997" v="4097"/>
          <ac:spMkLst>
            <pc:docMk/>
            <pc:sldMk cId="1411220885" sldId="2145705747"/>
            <ac:spMk id="125" creationId="{1469CC7D-4762-4CC7-A1EB-E2D186F17566}"/>
          </ac:spMkLst>
        </pc:spChg>
        <pc:spChg chg="del mod topLvl">
          <ac:chgData name="Ying Yang" userId="f1527f9b-a873-4aa2-b225-cf8fd3466e0d" providerId="ADAL" clId="{A30A5C05-46CF-4F03-AB5B-503FD66274CE}" dt="2022-06-08T09:42:30.823" v="2141" actId="478"/>
          <ac:spMkLst>
            <pc:docMk/>
            <pc:sldMk cId="1411220885" sldId="2145705747"/>
            <ac:spMk id="125" creationId="{BF58A0CF-F5B2-41B9-8A44-A7B23983D760}"/>
          </ac:spMkLst>
        </pc:spChg>
        <pc:spChg chg="mod">
          <ac:chgData name="Ying Yang" userId="f1527f9b-a873-4aa2-b225-cf8fd3466e0d" providerId="ADAL" clId="{A30A5C05-46CF-4F03-AB5B-503FD66274CE}" dt="2022-06-08T09:41:17.595" v="2121"/>
          <ac:spMkLst>
            <pc:docMk/>
            <pc:sldMk cId="1411220885" sldId="2145705747"/>
            <ac:spMk id="127" creationId="{762D09A2-48C9-4272-A69C-C33814A320CC}"/>
          </ac:spMkLst>
        </pc:spChg>
        <pc:spChg chg="mod">
          <ac:chgData name="Ying Yang" userId="f1527f9b-a873-4aa2-b225-cf8fd3466e0d" providerId="ADAL" clId="{A30A5C05-46CF-4F03-AB5B-503FD66274CE}" dt="2022-06-09T03:28:08.793" v="4117"/>
          <ac:spMkLst>
            <pc:docMk/>
            <pc:sldMk cId="1411220885" sldId="2145705747"/>
            <ac:spMk id="127" creationId="{8209E7C8-5484-43CF-8A19-42C6EC298A42}"/>
          </ac:spMkLst>
        </pc:spChg>
        <pc:spChg chg="mod">
          <ac:chgData name="Ying Yang" userId="f1527f9b-a873-4aa2-b225-cf8fd3466e0d" providerId="ADAL" clId="{A30A5C05-46CF-4F03-AB5B-503FD66274CE}" dt="2022-06-08T09:41:17.595" v="2121"/>
          <ac:spMkLst>
            <pc:docMk/>
            <pc:sldMk cId="1411220885" sldId="2145705747"/>
            <ac:spMk id="128" creationId="{8F2F3768-30F5-40E9-B6B5-7629EDF7B234}"/>
          </ac:spMkLst>
        </pc:spChg>
        <pc:spChg chg="add del mod">
          <ac:chgData name="Ying Yang" userId="f1527f9b-a873-4aa2-b225-cf8fd3466e0d" providerId="ADAL" clId="{A30A5C05-46CF-4F03-AB5B-503FD66274CE}" dt="2022-06-08T09:42:30.825" v="2143"/>
          <ac:spMkLst>
            <pc:docMk/>
            <pc:sldMk cId="1411220885" sldId="2145705747"/>
            <ac:spMk id="129" creationId="{24AD2B10-7E0E-417B-8487-1E44A1A87C8B}"/>
          </ac:spMkLst>
        </pc:spChg>
        <pc:spChg chg="mod">
          <ac:chgData name="Ying Yang" userId="f1527f9b-a873-4aa2-b225-cf8fd3466e0d" providerId="ADAL" clId="{A30A5C05-46CF-4F03-AB5B-503FD66274CE}" dt="2022-06-09T03:32:32.521" v="4206" actId="207"/>
          <ac:spMkLst>
            <pc:docMk/>
            <pc:sldMk cId="1411220885" sldId="2145705747"/>
            <ac:spMk id="130" creationId="{4101535D-F7D2-4168-84DF-D9954F61F2DF}"/>
          </ac:spMkLst>
        </pc:spChg>
        <pc:spChg chg="add del mod">
          <ac:chgData name="Ying Yang" userId="f1527f9b-a873-4aa2-b225-cf8fd3466e0d" providerId="ADAL" clId="{A30A5C05-46CF-4F03-AB5B-503FD66274CE}" dt="2022-06-08T09:42:58.604" v="2156" actId="478"/>
          <ac:spMkLst>
            <pc:docMk/>
            <pc:sldMk cId="1411220885" sldId="2145705747"/>
            <ac:spMk id="130" creationId="{76D903FE-405E-45B0-BEBA-60583CFFFA95}"/>
          </ac:spMkLst>
        </pc:spChg>
        <pc:spChg chg="del mod">
          <ac:chgData name="Ying Yang" userId="f1527f9b-a873-4aa2-b225-cf8fd3466e0d" providerId="ADAL" clId="{A30A5C05-46CF-4F03-AB5B-503FD66274CE}" dt="2022-06-09T02:20:22.664" v="3104" actId="478"/>
          <ac:spMkLst>
            <pc:docMk/>
            <pc:sldMk cId="1411220885" sldId="2145705747"/>
            <ac:spMk id="132" creationId="{B7A48D60-7C60-43FF-8B29-83B420E9F395}"/>
          </ac:spMkLst>
        </pc:spChg>
        <pc:spChg chg="del mod">
          <ac:chgData name="Ying Yang" userId="f1527f9b-a873-4aa2-b225-cf8fd3466e0d" providerId="ADAL" clId="{A30A5C05-46CF-4F03-AB5B-503FD66274CE}" dt="2022-06-08T09:57:24.051" v="2609" actId="478"/>
          <ac:spMkLst>
            <pc:docMk/>
            <pc:sldMk cId="1411220885" sldId="2145705747"/>
            <ac:spMk id="133" creationId="{13EE9A62-1342-4949-8956-3F3CA1656622}"/>
          </ac:spMkLst>
        </pc:spChg>
        <pc:spChg chg="del mod">
          <ac:chgData name="Ying Yang" userId="f1527f9b-a873-4aa2-b225-cf8fd3466e0d" providerId="ADAL" clId="{A30A5C05-46CF-4F03-AB5B-503FD66274CE}" dt="2022-06-09T03:28:25.501" v="4125" actId="478"/>
          <ac:spMkLst>
            <pc:docMk/>
            <pc:sldMk cId="1411220885" sldId="2145705747"/>
            <ac:spMk id="134" creationId="{70AD459E-B308-4249-9E2C-A4245CE76A43}"/>
          </ac:spMkLst>
        </pc:spChg>
        <pc:spChg chg="del mod">
          <ac:chgData name="Ying Yang" userId="f1527f9b-a873-4aa2-b225-cf8fd3466e0d" providerId="ADAL" clId="{A30A5C05-46CF-4F03-AB5B-503FD66274CE}" dt="2022-06-09T02:20:46.510" v="3113" actId="478"/>
          <ac:spMkLst>
            <pc:docMk/>
            <pc:sldMk cId="1411220885" sldId="2145705747"/>
            <ac:spMk id="137" creationId="{5BBDD019-D0A8-4377-9BE2-F04C4CB93EA4}"/>
          </ac:spMkLst>
        </pc:spChg>
        <pc:spChg chg="mod">
          <ac:chgData name="Ying Yang" userId="f1527f9b-a873-4aa2-b225-cf8fd3466e0d" providerId="ADAL" clId="{A30A5C05-46CF-4F03-AB5B-503FD66274CE}" dt="2022-06-09T03:28:08.793" v="4117"/>
          <ac:spMkLst>
            <pc:docMk/>
            <pc:sldMk cId="1411220885" sldId="2145705747"/>
            <ac:spMk id="138" creationId="{06041D1F-D7DE-43E4-9505-03EF5671DE35}"/>
          </ac:spMkLst>
        </pc:spChg>
        <pc:spChg chg="del mod">
          <ac:chgData name="Ying Yang" userId="f1527f9b-a873-4aa2-b225-cf8fd3466e0d" providerId="ADAL" clId="{A30A5C05-46CF-4F03-AB5B-503FD66274CE}" dt="2022-06-08T09:56:46.229" v="2599" actId="478"/>
          <ac:spMkLst>
            <pc:docMk/>
            <pc:sldMk cId="1411220885" sldId="2145705747"/>
            <ac:spMk id="138" creationId="{811C1FBD-B13F-49D2-A6C3-2F3CBFC12491}"/>
          </ac:spMkLst>
        </pc:spChg>
        <pc:spChg chg="del mod topLvl">
          <ac:chgData name="Ying Yang" userId="f1527f9b-a873-4aa2-b225-cf8fd3466e0d" providerId="ADAL" clId="{A30A5C05-46CF-4F03-AB5B-503FD66274CE}" dt="2022-06-09T03:29:08.284" v="4139" actId="478"/>
          <ac:spMkLst>
            <pc:docMk/>
            <pc:sldMk cId="1411220885" sldId="2145705747"/>
            <ac:spMk id="139" creationId="{C3975F1D-DB35-4F09-9CAD-328718241E67}"/>
          </ac:spMkLst>
        </pc:spChg>
        <pc:spChg chg="mod">
          <ac:chgData name="Ying Yang" userId="f1527f9b-a873-4aa2-b225-cf8fd3466e0d" providerId="ADAL" clId="{A30A5C05-46CF-4F03-AB5B-503FD66274CE}" dt="2022-06-09T03:28:08.793" v="4117"/>
          <ac:spMkLst>
            <pc:docMk/>
            <pc:sldMk cId="1411220885" sldId="2145705747"/>
            <ac:spMk id="140" creationId="{1980133A-127E-439C-87CF-89DABA4ED9E9}"/>
          </ac:spMkLst>
        </pc:spChg>
        <pc:spChg chg="add del mod">
          <ac:chgData name="Ying Yang" userId="f1527f9b-a873-4aa2-b225-cf8fd3466e0d" providerId="ADAL" clId="{A30A5C05-46CF-4F03-AB5B-503FD66274CE}" dt="2022-06-08T09:49:03.649" v="2292" actId="478"/>
          <ac:spMkLst>
            <pc:docMk/>
            <pc:sldMk cId="1411220885" sldId="2145705747"/>
            <ac:spMk id="140" creationId="{5D7EA95E-3C5C-4AD0-BC03-DB5127EFF2CA}"/>
          </ac:spMkLst>
        </pc:spChg>
        <pc:spChg chg="add mod">
          <ac:chgData name="Ying Yang" userId="f1527f9b-a873-4aa2-b225-cf8fd3466e0d" providerId="ADAL" clId="{A30A5C05-46CF-4F03-AB5B-503FD66274CE}" dt="2022-06-08T10:02:29.282" v="2704" actId="164"/>
          <ac:spMkLst>
            <pc:docMk/>
            <pc:sldMk cId="1411220885" sldId="2145705747"/>
            <ac:spMk id="141" creationId="{85BE35D5-06D6-4605-859D-FEE231653297}"/>
          </ac:spMkLst>
        </pc:spChg>
        <pc:spChg chg="add del mod">
          <ac:chgData name="Ying Yang" userId="f1527f9b-a873-4aa2-b225-cf8fd3466e0d" providerId="ADAL" clId="{A30A5C05-46CF-4F03-AB5B-503FD66274CE}" dt="2022-06-08T09:52:38.410" v="2417" actId="478"/>
          <ac:spMkLst>
            <pc:docMk/>
            <pc:sldMk cId="1411220885" sldId="2145705747"/>
            <ac:spMk id="142" creationId="{52A4C17B-1759-4327-AE0D-69E3F72C5F27}"/>
          </ac:spMkLst>
        </pc:spChg>
        <pc:spChg chg="mod">
          <ac:chgData name="Ying Yang" userId="f1527f9b-a873-4aa2-b225-cf8fd3466e0d" providerId="ADAL" clId="{A30A5C05-46CF-4F03-AB5B-503FD66274CE}" dt="2022-06-09T03:28:08.793" v="4117"/>
          <ac:spMkLst>
            <pc:docMk/>
            <pc:sldMk cId="1411220885" sldId="2145705747"/>
            <ac:spMk id="142" creationId="{93D1F527-0B2D-4452-8460-C2C16CEED821}"/>
          </ac:spMkLst>
        </pc:spChg>
        <pc:spChg chg="add mod">
          <ac:chgData name="Ying Yang" userId="f1527f9b-a873-4aa2-b225-cf8fd3466e0d" providerId="ADAL" clId="{A30A5C05-46CF-4F03-AB5B-503FD66274CE}" dt="2022-06-08T10:02:29.282" v="2704" actId="164"/>
          <ac:spMkLst>
            <pc:docMk/>
            <pc:sldMk cId="1411220885" sldId="2145705747"/>
            <ac:spMk id="143" creationId="{B75006F0-6FA3-4CB9-AE4B-3EAB5BA3E5A7}"/>
          </ac:spMkLst>
        </pc:spChg>
        <pc:spChg chg="add mod">
          <ac:chgData name="Ying Yang" userId="f1527f9b-a873-4aa2-b225-cf8fd3466e0d" providerId="ADAL" clId="{A30A5C05-46CF-4F03-AB5B-503FD66274CE}" dt="2022-06-08T10:02:29.282" v="2704" actId="164"/>
          <ac:spMkLst>
            <pc:docMk/>
            <pc:sldMk cId="1411220885" sldId="2145705747"/>
            <ac:spMk id="144" creationId="{8F7CED72-8C73-46BC-82E9-3406DF9FEE7D}"/>
          </ac:spMkLst>
        </pc:spChg>
        <pc:spChg chg="add mod">
          <ac:chgData name="Ying Yang" userId="f1527f9b-a873-4aa2-b225-cf8fd3466e0d" providerId="ADAL" clId="{A30A5C05-46CF-4F03-AB5B-503FD66274CE}" dt="2022-06-09T03:29:26.638" v="4148" actId="164"/>
          <ac:spMkLst>
            <pc:docMk/>
            <pc:sldMk cId="1411220885" sldId="2145705747"/>
            <ac:spMk id="145" creationId="{453CE3A9-7BE1-43CE-B709-570E0C0DDA89}"/>
          </ac:spMkLst>
        </pc:spChg>
        <pc:spChg chg="add mod">
          <ac:chgData name="Ying Yang" userId="f1527f9b-a873-4aa2-b225-cf8fd3466e0d" providerId="ADAL" clId="{A30A5C05-46CF-4F03-AB5B-503FD66274CE}" dt="2022-06-09T03:29:26.638" v="4148" actId="164"/>
          <ac:spMkLst>
            <pc:docMk/>
            <pc:sldMk cId="1411220885" sldId="2145705747"/>
            <ac:spMk id="146" creationId="{E2835BDD-6E6E-4C3F-9FA7-8C4063B401C7}"/>
          </ac:spMkLst>
        </pc:spChg>
        <pc:spChg chg="add mod">
          <ac:chgData name="Ying Yang" userId="f1527f9b-a873-4aa2-b225-cf8fd3466e0d" providerId="ADAL" clId="{A30A5C05-46CF-4F03-AB5B-503FD66274CE}" dt="2022-06-09T03:29:26.638" v="4148" actId="164"/>
          <ac:spMkLst>
            <pc:docMk/>
            <pc:sldMk cId="1411220885" sldId="2145705747"/>
            <ac:spMk id="147" creationId="{89FE1198-D02E-4985-9264-481942239519}"/>
          </ac:spMkLst>
        </pc:spChg>
        <pc:spChg chg="add mod">
          <ac:chgData name="Ying Yang" userId="f1527f9b-a873-4aa2-b225-cf8fd3466e0d" providerId="ADAL" clId="{A30A5C05-46CF-4F03-AB5B-503FD66274CE}" dt="2022-06-09T03:29:26.638" v="4148" actId="164"/>
          <ac:spMkLst>
            <pc:docMk/>
            <pc:sldMk cId="1411220885" sldId="2145705747"/>
            <ac:spMk id="148" creationId="{970FEEF1-9962-47C5-8655-1796C6113DEF}"/>
          </ac:spMkLst>
        </pc:spChg>
        <pc:spChg chg="mod">
          <ac:chgData name="Ying Yang" userId="f1527f9b-a873-4aa2-b225-cf8fd3466e0d" providerId="ADAL" clId="{A30A5C05-46CF-4F03-AB5B-503FD66274CE}" dt="2022-06-09T03:28:08.793" v="4117"/>
          <ac:spMkLst>
            <pc:docMk/>
            <pc:sldMk cId="1411220885" sldId="2145705747"/>
            <ac:spMk id="151" creationId="{430684F2-9646-4929-AE24-8604859EAB98}"/>
          </ac:spMkLst>
        </pc:spChg>
        <pc:spChg chg="mod">
          <ac:chgData name="Ying Yang" userId="f1527f9b-a873-4aa2-b225-cf8fd3466e0d" providerId="ADAL" clId="{A30A5C05-46CF-4F03-AB5B-503FD66274CE}" dt="2022-06-09T03:28:08.793" v="4117"/>
          <ac:spMkLst>
            <pc:docMk/>
            <pc:sldMk cId="1411220885" sldId="2145705747"/>
            <ac:spMk id="152" creationId="{BB6DF802-AF6B-4724-891A-E56915A7B5F8}"/>
          </ac:spMkLst>
        </pc:spChg>
        <pc:spChg chg="mod">
          <ac:chgData name="Ying Yang" userId="f1527f9b-a873-4aa2-b225-cf8fd3466e0d" providerId="ADAL" clId="{A30A5C05-46CF-4F03-AB5B-503FD66274CE}" dt="2022-06-09T03:28:08.793" v="4117"/>
          <ac:spMkLst>
            <pc:docMk/>
            <pc:sldMk cId="1411220885" sldId="2145705747"/>
            <ac:spMk id="153" creationId="{F77438BE-B997-4CAB-B47D-B3ADBE3ACD82}"/>
          </ac:spMkLst>
        </pc:spChg>
        <pc:spChg chg="mod">
          <ac:chgData name="Ying Yang" userId="f1527f9b-a873-4aa2-b225-cf8fd3466e0d" providerId="ADAL" clId="{A30A5C05-46CF-4F03-AB5B-503FD66274CE}" dt="2022-06-09T03:28:08.793" v="4117"/>
          <ac:spMkLst>
            <pc:docMk/>
            <pc:sldMk cId="1411220885" sldId="2145705747"/>
            <ac:spMk id="166" creationId="{F9BD7898-F2B1-4EE7-B7BC-202ACDAECF30}"/>
          </ac:spMkLst>
        </pc:spChg>
        <pc:spChg chg="mod">
          <ac:chgData name="Ying Yang" userId="f1527f9b-a873-4aa2-b225-cf8fd3466e0d" providerId="ADAL" clId="{A30A5C05-46CF-4F03-AB5B-503FD66274CE}" dt="2022-06-09T03:28:08.793" v="4117"/>
          <ac:spMkLst>
            <pc:docMk/>
            <pc:sldMk cId="1411220885" sldId="2145705747"/>
            <ac:spMk id="167" creationId="{34830E61-1FA6-4E58-9F62-C93B39440512}"/>
          </ac:spMkLst>
        </pc:spChg>
        <pc:spChg chg="mod">
          <ac:chgData name="Ying Yang" userId="f1527f9b-a873-4aa2-b225-cf8fd3466e0d" providerId="ADAL" clId="{A30A5C05-46CF-4F03-AB5B-503FD66274CE}" dt="2022-06-09T03:28:38.808" v="4131"/>
          <ac:spMkLst>
            <pc:docMk/>
            <pc:sldMk cId="1411220885" sldId="2145705747"/>
            <ac:spMk id="169" creationId="{CABD4C30-CF42-49F2-BC1C-08E5817DD20C}"/>
          </ac:spMkLst>
        </pc:spChg>
        <pc:spChg chg="mod">
          <ac:chgData name="Ying Yang" userId="f1527f9b-a873-4aa2-b225-cf8fd3466e0d" providerId="ADAL" clId="{A30A5C05-46CF-4F03-AB5B-503FD66274CE}" dt="2022-06-09T03:32:36.324" v="4207" actId="207"/>
          <ac:spMkLst>
            <pc:docMk/>
            <pc:sldMk cId="1411220885" sldId="2145705747"/>
            <ac:spMk id="172" creationId="{D8DB1E6D-DB05-4167-8ADE-0F72D863B364}"/>
          </ac:spMkLst>
        </pc:spChg>
        <pc:spChg chg="mod">
          <ac:chgData name="Ying Yang" userId="f1527f9b-a873-4aa2-b225-cf8fd3466e0d" providerId="ADAL" clId="{A30A5C05-46CF-4F03-AB5B-503FD66274CE}" dt="2022-06-09T03:28:38.808" v="4131"/>
          <ac:spMkLst>
            <pc:docMk/>
            <pc:sldMk cId="1411220885" sldId="2145705747"/>
            <ac:spMk id="175" creationId="{8CACE16E-0E73-4B40-9ACF-25FA815436E1}"/>
          </ac:spMkLst>
        </pc:spChg>
        <pc:spChg chg="mod">
          <ac:chgData name="Ying Yang" userId="f1527f9b-a873-4aa2-b225-cf8fd3466e0d" providerId="ADAL" clId="{A30A5C05-46CF-4F03-AB5B-503FD66274CE}" dt="2022-06-09T03:28:38.808" v="4131"/>
          <ac:spMkLst>
            <pc:docMk/>
            <pc:sldMk cId="1411220885" sldId="2145705747"/>
            <ac:spMk id="176" creationId="{BECE1249-832C-412E-9E02-32ED97D2628D}"/>
          </ac:spMkLst>
        </pc:spChg>
        <pc:spChg chg="mod">
          <ac:chgData name="Ying Yang" userId="f1527f9b-a873-4aa2-b225-cf8fd3466e0d" providerId="ADAL" clId="{A30A5C05-46CF-4F03-AB5B-503FD66274CE}" dt="2022-06-09T03:28:38.808" v="4131"/>
          <ac:spMkLst>
            <pc:docMk/>
            <pc:sldMk cId="1411220885" sldId="2145705747"/>
            <ac:spMk id="177" creationId="{42EEBD69-3A70-4E35-9144-AC0BDC6B0F20}"/>
          </ac:spMkLst>
        </pc:spChg>
        <pc:spChg chg="mod">
          <ac:chgData name="Ying Yang" userId="f1527f9b-a873-4aa2-b225-cf8fd3466e0d" providerId="ADAL" clId="{A30A5C05-46CF-4F03-AB5B-503FD66274CE}" dt="2022-06-09T03:28:38.808" v="4131"/>
          <ac:spMkLst>
            <pc:docMk/>
            <pc:sldMk cId="1411220885" sldId="2145705747"/>
            <ac:spMk id="178" creationId="{6D62E806-F7CD-4073-BF5A-D8E141F5F248}"/>
          </ac:spMkLst>
        </pc:spChg>
        <pc:spChg chg="mod">
          <ac:chgData name="Ying Yang" userId="f1527f9b-a873-4aa2-b225-cf8fd3466e0d" providerId="ADAL" clId="{A30A5C05-46CF-4F03-AB5B-503FD66274CE}" dt="2022-06-09T03:28:38.808" v="4131"/>
          <ac:spMkLst>
            <pc:docMk/>
            <pc:sldMk cId="1411220885" sldId="2145705747"/>
            <ac:spMk id="179" creationId="{A51D554D-C5A7-4659-8B19-1A766528D890}"/>
          </ac:spMkLst>
        </pc:spChg>
        <pc:spChg chg="mod">
          <ac:chgData name="Ying Yang" userId="f1527f9b-a873-4aa2-b225-cf8fd3466e0d" providerId="ADAL" clId="{A30A5C05-46CF-4F03-AB5B-503FD66274CE}" dt="2022-06-09T03:28:38.808" v="4131"/>
          <ac:spMkLst>
            <pc:docMk/>
            <pc:sldMk cId="1411220885" sldId="2145705747"/>
            <ac:spMk id="180" creationId="{57DE5CBB-0D1B-4815-B5B7-AB5F458DD6AB}"/>
          </ac:spMkLst>
        </pc:spChg>
        <pc:spChg chg="mod">
          <ac:chgData name="Ying Yang" userId="f1527f9b-a873-4aa2-b225-cf8fd3466e0d" providerId="ADAL" clId="{A30A5C05-46CF-4F03-AB5B-503FD66274CE}" dt="2022-06-09T03:28:38.808" v="4131"/>
          <ac:spMkLst>
            <pc:docMk/>
            <pc:sldMk cId="1411220885" sldId="2145705747"/>
            <ac:spMk id="181" creationId="{14A5F119-AD7E-44A5-9D7D-4D14449445B1}"/>
          </ac:spMkLst>
        </pc:spChg>
        <pc:spChg chg="mod">
          <ac:chgData name="Ying Yang" userId="f1527f9b-a873-4aa2-b225-cf8fd3466e0d" providerId="ADAL" clId="{A30A5C05-46CF-4F03-AB5B-503FD66274CE}" dt="2022-06-09T03:28:38.808" v="4131"/>
          <ac:spMkLst>
            <pc:docMk/>
            <pc:sldMk cId="1411220885" sldId="2145705747"/>
            <ac:spMk id="182" creationId="{CFDDA6E5-EE34-4979-B8B5-1300542C6128}"/>
          </ac:spMkLst>
        </pc:spChg>
        <pc:spChg chg="mod">
          <ac:chgData name="Ying Yang" userId="f1527f9b-a873-4aa2-b225-cf8fd3466e0d" providerId="ADAL" clId="{A30A5C05-46CF-4F03-AB5B-503FD66274CE}" dt="2022-06-09T03:29:42.586" v="4162"/>
          <ac:spMkLst>
            <pc:docMk/>
            <pc:sldMk cId="1411220885" sldId="2145705747"/>
            <ac:spMk id="184" creationId="{17BC35AA-2143-4FBB-AC21-4ABCBF51CB46}"/>
          </ac:spMkLst>
        </pc:spChg>
        <pc:spChg chg="mod">
          <ac:chgData name="Ying Yang" userId="f1527f9b-a873-4aa2-b225-cf8fd3466e0d" providerId="ADAL" clId="{A30A5C05-46CF-4F03-AB5B-503FD66274CE}" dt="2022-06-09T03:32:40.224" v="4208" actId="207"/>
          <ac:spMkLst>
            <pc:docMk/>
            <pc:sldMk cId="1411220885" sldId="2145705747"/>
            <ac:spMk id="187" creationId="{2E84FE7E-59AF-4C97-B981-5D88E0918B0C}"/>
          </ac:spMkLst>
        </pc:spChg>
        <pc:spChg chg="mod">
          <ac:chgData name="Ying Yang" userId="f1527f9b-a873-4aa2-b225-cf8fd3466e0d" providerId="ADAL" clId="{A30A5C05-46CF-4F03-AB5B-503FD66274CE}" dt="2022-06-09T03:29:42.586" v="4162"/>
          <ac:spMkLst>
            <pc:docMk/>
            <pc:sldMk cId="1411220885" sldId="2145705747"/>
            <ac:spMk id="190" creationId="{14E1E423-D6C6-481D-875A-73E10C9431A6}"/>
          </ac:spMkLst>
        </pc:spChg>
        <pc:spChg chg="mod">
          <ac:chgData name="Ying Yang" userId="f1527f9b-a873-4aa2-b225-cf8fd3466e0d" providerId="ADAL" clId="{A30A5C05-46CF-4F03-AB5B-503FD66274CE}" dt="2022-06-09T03:29:42.586" v="4162"/>
          <ac:spMkLst>
            <pc:docMk/>
            <pc:sldMk cId="1411220885" sldId="2145705747"/>
            <ac:spMk id="191" creationId="{E9C8C8FA-0948-49B5-996B-493463390088}"/>
          </ac:spMkLst>
        </pc:spChg>
        <pc:spChg chg="mod">
          <ac:chgData name="Ying Yang" userId="f1527f9b-a873-4aa2-b225-cf8fd3466e0d" providerId="ADAL" clId="{A30A5C05-46CF-4F03-AB5B-503FD66274CE}" dt="2022-06-09T03:29:42.586" v="4162"/>
          <ac:spMkLst>
            <pc:docMk/>
            <pc:sldMk cId="1411220885" sldId="2145705747"/>
            <ac:spMk id="192" creationId="{51EC2520-707D-48E5-86A7-5681F1A84E3D}"/>
          </ac:spMkLst>
        </pc:spChg>
        <pc:spChg chg="mod">
          <ac:chgData name="Ying Yang" userId="f1527f9b-a873-4aa2-b225-cf8fd3466e0d" providerId="ADAL" clId="{A30A5C05-46CF-4F03-AB5B-503FD66274CE}" dt="2022-06-09T03:29:42.586" v="4162"/>
          <ac:spMkLst>
            <pc:docMk/>
            <pc:sldMk cId="1411220885" sldId="2145705747"/>
            <ac:spMk id="193" creationId="{7054AF00-6634-4E5B-9DE1-1CE89C53979A}"/>
          </ac:spMkLst>
        </pc:spChg>
        <pc:spChg chg="mod">
          <ac:chgData name="Ying Yang" userId="f1527f9b-a873-4aa2-b225-cf8fd3466e0d" providerId="ADAL" clId="{A30A5C05-46CF-4F03-AB5B-503FD66274CE}" dt="2022-06-09T03:29:42.586" v="4162"/>
          <ac:spMkLst>
            <pc:docMk/>
            <pc:sldMk cId="1411220885" sldId="2145705747"/>
            <ac:spMk id="194" creationId="{907B5F77-ACB3-4CC2-A6FF-B9C0BC27A61B}"/>
          </ac:spMkLst>
        </pc:spChg>
        <pc:spChg chg="mod">
          <ac:chgData name="Ying Yang" userId="f1527f9b-a873-4aa2-b225-cf8fd3466e0d" providerId="ADAL" clId="{A30A5C05-46CF-4F03-AB5B-503FD66274CE}" dt="2022-06-09T03:29:42.586" v="4162"/>
          <ac:spMkLst>
            <pc:docMk/>
            <pc:sldMk cId="1411220885" sldId="2145705747"/>
            <ac:spMk id="195" creationId="{A62D8135-D6C2-4CC7-8AE5-33D394139922}"/>
          </ac:spMkLst>
        </pc:spChg>
        <pc:spChg chg="mod">
          <ac:chgData name="Ying Yang" userId="f1527f9b-a873-4aa2-b225-cf8fd3466e0d" providerId="ADAL" clId="{A30A5C05-46CF-4F03-AB5B-503FD66274CE}" dt="2022-06-09T03:29:42.586" v="4162"/>
          <ac:spMkLst>
            <pc:docMk/>
            <pc:sldMk cId="1411220885" sldId="2145705747"/>
            <ac:spMk id="196" creationId="{151F9C2C-0E0D-4151-8AD8-483A0C042402}"/>
          </ac:spMkLst>
        </pc:spChg>
        <pc:spChg chg="mod">
          <ac:chgData name="Ying Yang" userId="f1527f9b-a873-4aa2-b225-cf8fd3466e0d" providerId="ADAL" clId="{A30A5C05-46CF-4F03-AB5B-503FD66274CE}" dt="2022-06-09T03:29:42.586" v="4162"/>
          <ac:spMkLst>
            <pc:docMk/>
            <pc:sldMk cId="1411220885" sldId="2145705747"/>
            <ac:spMk id="197" creationId="{4FD8AC32-5F58-4022-9CED-2C030107A6A1}"/>
          </ac:spMkLst>
        </pc:spChg>
        <pc:grpChg chg="mod topLvl">
          <ac:chgData name="Ying Yang" userId="f1527f9b-a873-4aa2-b225-cf8fd3466e0d" providerId="ADAL" clId="{A30A5C05-46CF-4F03-AB5B-503FD66274CE}" dt="2022-06-09T02:28:42.186" v="3250" actId="164"/>
          <ac:grpSpMkLst>
            <pc:docMk/>
            <pc:sldMk cId="1411220885" sldId="2145705747"/>
            <ac:grpSpMk id="2" creationId="{00000000-0000-0000-0000-000000000000}"/>
          </ac:grpSpMkLst>
        </pc:grpChg>
        <pc:grpChg chg="del mod">
          <ac:chgData name="Ying Yang" userId="f1527f9b-a873-4aa2-b225-cf8fd3466e0d" providerId="ADAL" clId="{A30A5C05-46CF-4F03-AB5B-503FD66274CE}" dt="2022-06-09T02:26:02.554" v="3216" actId="165"/>
          <ac:grpSpMkLst>
            <pc:docMk/>
            <pc:sldMk cId="1411220885" sldId="2145705747"/>
            <ac:grpSpMk id="5" creationId="{00000000-0000-0000-0000-000000000000}"/>
          </ac:grpSpMkLst>
        </pc:grpChg>
        <pc:grpChg chg="add mod">
          <ac:chgData name="Ying Yang" userId="f1527f9b-a873-4aa2-b225-cf8fd3466e0d" providerId="ADAL" clId="{A30A5C05-46CF-4F03-AB5B-503FD66274CE}" dt="2022-06-08T09:33:17.496" v="2077" actId="164"/>
          <ac:grpSpMkLst>
            <pc:docMk/>
            <pc:sldMk cId="1411220885" sldId="2145705747"/>
            <ac:grpSpMk id="8" creationId="{B4199011-DFB4-42F6-8C6F-2C53CC6B5835}"/>
          </ac:grpSpMkLst>
        </pc:grpChg>
        <pc:grpChg chg="del">
          <ac:chgData name="Ying Yang" userId="f1527f9b-a873-4aa2-b225-cf8fd3466e0d" providerId="ADAL" clId="{A30A5C05-46CF-4F03-AB5B-503FD66274CE}" dt="2022-06-08T09:16:29.905" v="1883" actId="478"/>
          <ac:grpSpMkLst>
            <pc:docMk/>
            <pc:sldMk cId="1411220885" sldId="2145705747"/>
            <ac:grpSpMk id="10" creationId="{6E19E5A5-C02A-42FE-8A6A-3300D2E82851}"/>
          </ac:grpSpMkLst>
        </pc:grpChg>
        <pc:grpChg chg="del">
          <ac:chgData name="Ying Yang" userId="f1527f9b-a873-4aa2-b225-cf8fd3466e0d" providerId="ADAL" clId="{A30A5C05-46CF-4F03-AB5B-503FD66274CE}" dt="2022-06-08T09:16:30.996" v="1884" actId="478"/>
          <ac:grpSpMkLst>
            <pc:docMk/>
            <pc:sldMk cId="1411220885" sldId="2145705747"/>
            <ac:grpSpMk id="11" creationId="{835777C3-7480-4D14-A87E-A9664498F92D}"/>
          </ac:grpSpMkLst>
        </pc:grpChg>
        <pc:grpChg chg="add mod ord">
          <ac:chgData name="Ying Yang" userId="f1527f9b-a873-4aa2-b225-cf8fd3466e0d" providerId="ADAL" clId="{A30A5C05-46CF-4F03-AB5B-503FD66274CE}" dt="2022-06-09T02:15:18.092" v="2955" actId="167"/>
          <ac:grpSpMkLst>
            <pc:docMk/>
            <pc:sldMk cId="1411220885" sldId="2145705747"/>
            <ac:grpSpMk id="12" creationId="{9DD93AB4-E486-4C7A-BD5D-1893AE30B25D}"/>
          </ac:grpSpMkLst>
        </pc:grpChg>
        <pc:grpChg chg="add del mod">
          <ac:chgData name="Ying Yang" userId="f1527f9b-a873-4aa2-b225-cf8fd3466e0d" providerId="ADAL" clId="{A30A5C05-46CF-4F03-AB5B-503FD66274CE}" dt="2022-06-09T03:27:54.815" v="4113" actId="478"/>
          <ac:grpSpMkLst>
            <pc:docMk/>
            <pc:sldMk cId="1411220885" sldId="2145705747"/>
            <ac:grpSpMk id="13" creationId="{FE63133C-8281-4EC8-86A8-F0B8EB1C22E9}"/>
          </ac:grpSpMkLst>
        </pc:grpChg>
        <pc:grpChg chg="add mod">
          <ac:chgData name="Ying Yang" userId="f1527f9b-a873-4aa2-b225-cf8fd3466e0d" providerId="ADAL" clId="{A30A5C05-46CF-4F03-AB5B-503FD66274CE}" dt="2022-06-09T02:31:09.907" v="3290" actId="164"/>
          <ac:grpSpMkLst>
            <pc:docMk/>
            <pc:sldMk cId="1411220885" sldId="2145705747"/>
            <ac:grpSpMk id="17" creationId="{63FBB759-52F0-4907-A0E8-2FC106F5A9A9}"/>
          </ac:grpSpMkLst>
        </pc:grpChg>
        <pc:grpChg chg="add mod">
          <ac:chgData name="Ying Yang" userId="f1527f9b-a873-4aa2-b225-cf8fd3466e0d" providerId="ADAL" clId="{A30A5C05-46CF-4F03-AB5B-503FD66274CE}" dt="2022-06-09T02:31:18.648" v="3291" actId="1076"/>
          <ac:grpSpMkLst>
            <pc:docMk/>
            <pc:sldMk cId="1411220885" sldId="2145705747"/>
            <ac:grpSpMk id="21" creationId="{6EF9C752-801F-4433-89AD-CE2111B86388}"/>
          </ac:grpSpMkLst>
        </pc:grpChg>
        <pc:grpChg chg="add mod">
          <ac:chgData name="Ying Yang" userId="f1527f9b-a873-4aa2-b225-cf8fd3466e0d" providerId="ADAL" clId="{A30A5C05-46CF-4F03-AB5B-503FD66274CE}" dt="2022-06-09T02:34:43.844" v="3294" actId="1076"/>
          <ac:grpSpMkLst>
            <pc:docMk/>
            <pc:sldMk cId="1411220885" sldId="2145705747"/>
            <ac:grpSpMk id="22" creationId="{C1706697-BE78-4F66-AA05-B3269B4024A1}"/>
          </ac:grpSpMkLst>
        </pc:grpChg>
        <pc:grpChg chg="add mod">
          <ac:chgData name="Ying Yang" userId="f1527f9b-a873-4aa2-b225-cf8fd3466e0d" providerId="ADAL" clId="{A30A5C05-46CF-4F03-AB5B-503FD66274CE}" dt="2022-06-09T03:29:30.167" v="4161" actId="1036"/>
          <ac:grpSpMkLst>
            <pc:docMk/>
            <pc:sldMk cId="1411220885" sldId="2145705747"/>
            <ac:grpSpMk id="23" creationId="{BFCEAB18-ACBE-429D-9870-D119FDA1E54B}"/>
          </ac:grpSpMkLst>
        </pc:grpChg>
        <pc:grpChg chg="add del mod">
          <ac:chgData name="Ying Yang" userId="f1527f9b-a873-4aa2-b225-cf8fd3466e0d" providerId="ADAL" clId="{A30A5C05-46CF-4F03-AB5B-503FD66274CE}" dt="2022-06-09T02:30:55.609" v="3286" actId="478"/>
          <ac:grpSpMkLst>
            <pc:docMk/>
            <pc:sldMk cId="1411220885" sldId="2145705747"/>
            <ac:grpSpMk id="27" creationId="{30D92E9B-C8CD-4078-9B73-C46D5032C277}"/>
          </ac:grpSpMkLst>
        </pc:grpChg>
        <pc:grpChg chg="add del mod">
          <ac:chgData name="Ying Yang" userId="f1527f9b-a873-4aa2-b225-cf8fd3466e0d" providerId="ADAL" clId="{A30A5C05-46CF-4F03-AB5B-503FD66274CE}" dt="2022-06-09T02:30:59.828" v="3289" actId="478"/>
          <ac:grpSpMkLst>
            <pc:docMk/>
            <pc:sldMk cId="1411220885" sldId="2145705747"/>
            <ac:grpSpMk id="28" creationId="{DC125B44-753B-4FC4-825A-6B140B3A958B}"/>
          </ac:grpSpMkLst>
        </pc:grpChg>
        <pc:grpChg chg="add mod">
          <ac:chgData name="Ying Yang" userId="f1527f9b-a873-4aa2-b225-cf8fd3466e0d" providerId="ADAL" clId="{A30A5C05-46CF-4F03-AB5B-503FD66274CE}" dt="2022-06-08T10:02:31.351" v="2709" actId="1035"/>
          <ac:grpSpMkLst>
            <pc:docMk/>
            <pc:sldMk cId="1411220885" sldId="2145705747"/>
            <ac:grpSpMk id="29" creationId="{EFDA74A9-1318-4C32-81AD-1EEEBBB8F4EC}"/>
          </ac:grpSpMkLst>
        </pc:grpChg>
        <pc:grpChg chg="del">
          <ac:chgData name="Ying Yang" userId="f1527f9b-a873-4aa2-b225-cf8fd3466e0d" providerId="ADAL" clId="{A30A5C05-46CF-4F03-AB5B-503FD66274CE}" dt="2022-06-08T09:16:29.905" v="1883" actId="478"/>
          <ac:grpSpMkLst>
            <pc:docMk/>
            <pc:sldMk cId="1411220885" sldId="2145705747"/>
            <ac:grpSpMk id="31" creationId="{41785589-7329-4587-9BC8-31B79CFF4CC8}"/>
          </ac:grpSpMkLst>
        </pc:grpChg>
        <pc:grpChg chg="del">
          <ac:chgData name="Ying Yang" userId="f1527f9b-a873-4aa2-b225-cf8fd3466e0d" providerId="ADAL" clId="{A30A5C05-46CF-4F03-AB5B-503FD66274CE}" dt="2022-06-08T09:16:29.905" v="1883" actId="478"/>
          <ac:grpSpMkLst>
            <pc:docMk/>
            <pc:sldMk cId="1411220885" sldId="2145705747"/>
            <ac:grpSpMk id="34" creationId="{FBC70C0D-7E2B-4AB9-9DE6-97E2243E482F}"/>
          </ac:grpSpMkLst>
        </pc:grpChg>
        <pc:grpChg chg="del">
          <ac:chgData name="Ying Yang" userId="f1527f9b-a873-4aa2-b225-cf8fd3466e0d" providerId="ADAL" clId="{A30A5C05-46CF-4F03-AB5B-503FD66274CE}" dt="2022-06-08T09:16:29.905" v="1883" actId="478"/>
          <ac:grpSpMkLst>
            <pc:docMk/>
            <pc:sldMk cId="1411220885" sldId="2145705747"/>
            <ac:grpSpMk id="37" creationId="{44BA05D2-3213-4782-8F22-06E735F1B16E}"/>
          </ac:grpSpMkLst>
        </pc:grpChg>
        <pc:grpChg chg="del">
          <ac:chgData name="Ying Yang" userId="f1527f9b-a873-4aa2-b225-cf8fd3466e0d" providerId="ADAL" clId="{A30A5C05-46CF-4F03-AB5B-503FD66274CE}" dt="2022-06-08T09:16:29.905" v="1883" actId="478"/>
          <ac:grpSpMkLst>
            <pc:docMk/>
            <pc:sldMk cId="1411220885" sldId="2145705747"/>
            <ac:grpSpMk id="40" creationId="{75BC67DC-66A0-4F11-9ACD-6CBDC8387FD1}"/>
          </ac:grpSpMkLst>
        </pc:grpChg>
        <pc:grpChg chg="del">
          <ac:chgData name="Ying Yang" userId="f1527f9b-a873-4aa2-b225-cf8fd3466e0d" providerId="ADAL" clId="{A30A5C05-46CF-4F03-AB5B-503FD66274CE}" dt="2022-06-08T09:16:29.905" v="1883" actId="478"/>
          <ac:grpSpMkLst>
            <pc:docMk/>
            <pc:sldMk cId="1411220885" sldId="2145705747"/>
            <ac:grpSpMk id="44" creationId="{C2323B32-F045-4B94-961D-C277F7BE936E}"/>
          </ac:grpSpMkLst>
        </pc:grpChg>
        <pc:grpChg chg="del">
          <ac:chgData name="Ying Yang" userId="f1527f9b-a873-4aa2-b225-cf8fd3466e0d" providerId="ADAL" clId="{A30A5C05-46CF-4F03-AB5B-503FD66274CE}" dt="2022-06-08T09:16:29.905" v="1883" actId="478"/>
          <ac:grpSpMkLst>
            <pc:docMk/>
            <pc:sldMk cId="1411220885" sldId="2145705747"/>
            <ac:grpSpMk id="45" creationId="{67B0E1A9-62A0-474E-A4A7-930342987425}"/>
          </ac:grpSpMkLst>
        </pc:grpChg>
        <pc:grpChg chg="del">
          <ac:chgData name="Ying Yang" userId="f1527f9b-a873-4aa2-b225-cf8fd3466e0d" providerId="ADAL" clId="{A30A5C05-46CF-4F03-AB5B-503FD66274CE}" dt="2022-06-08T09:16:29.905" v="1883" actId="478"/>
          <ac:grpSpMkLst>
            <pc:docMk/>
            <pc:sldMk cId="1411220885" sldId="2145705747"/>
            <ac:grpSpMk id="46" creationId="{201B4F57-5C74-4359-9334-8A3A3B12A762}"/>
          </ac:grpSpMkLst>
        </pc:grpChg>
        <pc:grpChg chg="add mod ord">
          <ac:chgData name="Ying Yang" userId="f1527f9b-a873-4aa2-b225-cf8fd3466e0d" providerId="ADAL" clId="{A30A5C05-46CF-4F03-AB5B-503FD66274CE}" dt="2022-06-09T02:20:01.774" v="3101" actId="167"/>
          <ac:grpSpMkLst>
            <pc:docMk/>
            <pc:sldMk cId="1411220885" sldId="2145705747"/>
            <ac:grpSpMk id="64" creationId="{64D0D190-560B-4F74-9336-884552D946DE}"/>
          </ac:grpSpMkLst>
        </pc:grpChg>
        <pc:grpChg chg="mod">
          <ac:chgData name="Ying Yang" userId="f1527f9b-a873-4aa2-b225-cf8fd3466e0d" providerId="ADAL" clId="{A30A5C05-46CF-4F03-AB5B-503FD66274CE}" dt="2022-06-09T02:19:34.609" v="3092"/>
          <ac:grpSpMkLst>
            <pc:docMk/>
            <pc:sldMk cId="1411220885" sldId="2145705747"/>
            <ac:grpSpMk id="66" creationId="{1136264D-41E0-45DB-8C7C-41CC383CE7E1}"/>
          </ac:grpSpMkLst>
        </pc:grpChg>
        <pc:grpChg chg="add del mod">
          <ac:chgData name="Ying Yang" userId="f1527f9b-a873-4aa2-b225-cf8fd3466e0d" providerId="ADAL" clId="{A30A5C05-46CF-4F03-AB5B-503FD66274CE}" dt="2022-06-08T09:29:44.792" v="2028" actId="165"/>
          <ac:grpSpMkLst>
            <pc:docMk/>
            <pc:sldMk cId="1411220885" sldId="2145705747"/>
            <ac:grpSpMk id="70" creationId="{D5056C97-476E-4B3F-A38B-EC0AC243FBC4}"/>
          </ac:grpSpMkLst>
        </pc:grpChg>
        <pc:grpChg chg="mod">
          <ac:chgData name="Ying Yang" userId="f1527f9b-a873-4aa2-b225-cf8fd3466e0d" providerId="ADAL" clId="{A30A5C05-46CF-4F03-AB5B-503FD66274CE}" dt="2022-06-09T02:19:34.609" v="3092"/>
          <ac:grpSpMkLst>
            <pc:docMk/>
            <pc:sldMk cId="1411220885" sldId="2145705747"/>
            <ac:grpSpMk id="70" creationId="{EFE74199-F4F1-412B-B41F-860F98C7CE58}"/>
          </ac:grpSpMkLst>
        </pc:grpChg>
        <pc:grpChg chg="mod">
          <ac:chgData name="Ying Yang" userId="f1527f9b-a873-4aa2-b225-cf8fd3466e0d" providerId="ADAL" clId="{A30A5C05-46CF-4F03-AB5B-503FD66274CE}" dt="2022-06-09T02:19:34.609" v="3092"/>
          <ac:grpSpMkLst>
            <pc:docMk/>
            <pc:sldMk cId="1411220885" sldId="2145705747"/>
            <ac:grpSpMk id="71" creationId="{48A8F0D6-2F19-41B5-8C76-FE7721E4D833}"/>
          </ac:grpSpMkLst>
        </pc:grpChg>
        <pc:grpChg chg="mod">
          <ac:chgData name="Ying Yang" userId="f1527f9b-a873-4aa2-b225-cf8fd3466e0d" providerId="ADAL" clId="{A30A5C05-46CF-4F03-AB5B-503FD66274CE}" dt="2022-06-09T02:19:34.609" v="3092"/>
          <ac:grpSpMkLst>
            <pc:docMk/>
            <pc:sldMk cId="1411220885" sldId="2145705747"/>
            <ac:grpSpMk id="72" creationId="{3C7FD491-7B19-4EC9-9F9D-0FE6E7B30F5B}"/>
          </ac:grpSpMkLst>
        </pc:grpChg>
        <pc:grpChg chg="del mod topLvl">
          <ac:chgData name="Ying Yang" userId="f1527f9b-a873-4aa2-b225-cf8fd3466e0d" providerId="ADAL" clId="{A30A5C05-46CF-4F03-AB5B-503FD66274CE}" dt="2022-06-08T09:29:48.553" v="2029" actId="21"/>
          <ac:grpSpMkLst>
            <pc:docMk/>
            <pc:sldMk cId="1411220885" sldId="2145705747"/>
            <ac:grpSpMk id="76" creationId="{0A84A5C4-FC69-4646-AF85-98D0995AD838}"/>
          </ac:grpSpMkLst>
        </pc:grpChg>
        <pc:grpChg chg="add del mod">
          <ac:chgData name="Ying Yang" userId="f1527f9b-a873-4aa2-b225-cf8fd3466e0d" providerId="ADAL" clId="{A30A5C05-46CF-4F03-AB5B-503FD66274CE}" dt="2022-06-08T09:28:27.191" v="2012"/>
          <ac:grpSpMkLst>
            <pc:docMk/>
            <pc:sldMk cId="1411220885" sldId="2145705747"/>
            <ac:grpSpMk id="92" creationId="{FA9858F8-61B3-40DA-9BB8-E170C0BEA284}"/>
          </ac:grpSpMkLst>
        </pc:grpChg>
        <pc:grpChg chg="add mod">
          <ac:chgData name="Ying Yang" userId="f1527f9b-a873-4aa2-b225-cf8fd3466e0d" providerId="ADAL" clId="{A30A5C05-46CF-4F03-AB5B-503FD66274CE}" dt="2022-06-09T03:28:02.503" v="4116" actId="1076"/>
          <ac:grpSpMkLst>
            <pc:docMk/>
            <pc:sldMk cId="1411220885" sldId="2145705747"/>
            <ac:grpSpMk id="94" creationId="{77D8A3B9-45DE-433D-9328-E08C2CD69A98}"/>
          </ac:grpSpMkLst>
        </pc:grpChg>
        <pc:grpChg chg="mod">
          <ac:chgData name="Ying Yang" userId="f1527f9b-a873-4aa2-b225-cf8fd3466e0d" providerId="ADAL" clId="{A30A5C05-46CF-4F03-AB5B-503FD66274CE}" dt="2022-06-09T03:27:38.997" v="4097"/>
          <ac:grpSpMkLst>
            <pc:docMk/>
            <pc:sldMk cId="1411220885" sldId="2145705747"/>
            <ac:grpSpMk id="96" creationId="{38300539-6B8A-4F73-8EB4-60DC690BB5B1}"/>
          </ac:grpSpMkLst>
        </pc:grpChg>
        <pc:grpChg chg="mod">
          <ac:chgData name="Ying Yang" userId="f1527f9b-a873-4aa2-b225-cf8fd3466e0d" providerId="ADAL" clId="{A30A5C05-46CF-4F03-AB5B-503FD66274CE}" dt="2022-06-09T03:27:38.997" v="4097"/>
          <ac:grpSpMkLst>
            <pc:docMk/>
            <pc:sldMk cId="1411220885" sldId="2145705747"/>
            <ac:grpSpMk id="97" creationId="{1525B618-685F-4FA2-8B85-A7D5DC2CB221}"/>
          </ac:grpSpMkLst>
        </pc:grpChg>
        <pc:grpChg chg="add mod">
          <ac:chgData name="Ying Yang" userId="f1527f9b-a873-4aa2-b225-cf8fd3466e0d" providerId="ADAL" clId="{A30A5C05-46CF-4F03-AB5B-503FD66274CE}" dt="2022-06-08T09:33:17.496" v="2077" actId="164"/>
          <ac:grpSpMkLst>
            <pc:docMk/>
            <pc:sldMk cId="1411220885" sldId="2145705747"/>
            <ac:grpSpMk id="99" creationId="{8C7B3CE1-37FC-41C5-B6E4-2AC38AF028AF}"/>
          </ac:grpSpMkLst>
        </pc:grpChg>
        <pc:grpChg chg="mod">
          <ac:chgData name="Ying Yang" userId="f1527f9b-a873-4aa2-b225-cf8fd3466e0d" providerId="ADAL" clId="{A30A5C05-46CF-4F03-AB5B-503FD66274CE}" dt="2022-06-09T03:27:38.997" v="4097"/>
          <ac:grpSpMkLst>
            <pc:docMk/>
            <pc:sldMk cId="1411220885" sldId="2145705747"/>
            <ac:grpSpMk id="106" creationId="{7BCDA9F6-C757-4E03-9E8D-8EF878E5AA5B}"/>
          </ac:grpSpMkLst>
        </pc:grpChg>
        <pc:grpChg chg="mod">
          <ac:chgData name="Ying Yang" userId="f1527f9b-a873-4aa2-b225-cf8fd3466e0d" providerId="ADAL" clId="{A30A5C05-46CF-4F03-AB5B-503FD66274CE}" dt="2022-06-09T03:27:38.997" v="4097"/>
          <ac:grpSpMkLst>
            <pc:docMk/>
            <pc:sldMk cId="1411220885" sldId="2145705747"/>
            <ac:grpSpMk id="114" creationId="{EB195571-6014-4E64-B665-55C53E18C635}"/>
          </ac:grpSpMkLst>
        </pc:grpChg>
        <pc:grpChg chg="add mod ord">
          <ac:chgData name="Ying Yang" userId="f1527f9b-a873-4aa2-b225-cf8fd3466e0d" providerId="ADAL" clId="{A30A5C05-46CF-4F03-AB5B-503FD66274CE}" dt="2022-06-08T09:33:17.496" v="2077" actId="164"/>
          <ac:grpSpMkLst>
            <pc:docMk/>
            <pc:sldMk cId="1411220885" sldId="2145705747"/>
            <ac:grpSpMk id="115" creationId="{626B6662-DEB8-4385-BA6A-AFA4F304C442}"/>
          </ac:grpSpMkLst>
        </pc:grpChg>
        <pc:grpChg chg="add del mod">
          <ac:chgData name="Ying Yang" userId="f1527f9b-a873-4aa2-b225-cf8fd3466e0d" providerId="ADAL" clId="{A30A5C05-46CF-4F03-AB5B-503FD66274CE}" dt="2022-06-08T09:35:45.069" v="2096" actId="478"/>
          <ac:grpSpMkLst>
            <pc:docMk/>
            <pc:sldMk cId="1411220885" sldId="2145705747"/>
            <ac:grpSpMk id="118" creationId="{024B7E84-CB67-4E91-97A0-A09B08F471DA}"/>
          </ac:grpSpMkLst>
        </pc:grpChg>
        <pc:grpChg chg="add del mod">
          <ac:chgData name="Ying Yang" userId="f1527f9b-a873-4aa2-b225-cf8fd3466e0d" providerId="ADAL" clId="{A30A5C05-46CF-4F03-AB5B-503FD66274CE}" dt="2022-06-08T09:42:30.823" v="2141" actId="478"/>
          <ac:grpSpMkLst>
            <pc:docMk/>
            <pc:sldMk cId="1411220885" sldId="2145705747"/>
            <ac:grpSpMk id="123" creationId="{1D632314-2739-4C07-B158-6D4DB759F337}"/>
          </ac:grpSpMkLst>
        </pc:grpChg>
        <pc:grpChg chg="add del mod">
          <ac:chgData name="Ying Yang" userId="f1527f9b-a873-4aa2-b225-cf8fd3466e0d" providerId="ADAL" clId="{A30A5C05-46CF-4F03-AB5B-503FD66274CE}" dt="2022-06-08T09:47:08.306" v="2234" actId="478"/>
          <ac:grpSpMkLst>
            <pc:docMk/>
            <pc:sldMk cId="1411220885" sldId="2145705747"/>
            <ac:grpSpMk id="126" creationId="{262B1A8E-2DBE-46AE-89E2-6460FD35568F}"/>
          </ac:grpSpMkLst>
        </pc:grpChg>
        <pc:grpChg chg="add mod">
          <ac:chgData name="Ying Yang" userId="f1527f9b-a873-4aa2-b225-cf8fd3466e0d" providerId="ADAL" clId="{A30A5C05-46CF-4F03-AB5B-503FD66274CE}" dt="2022-06-09T03:28:33.434" v="4130" actId="1035"/>
          <ac:grpSpMkLst>
            <pc:docMk/>
            <pc:sldMk cId="1411220885" sldId="2145705747"/>
            <ac:grpSpMk id="126" creationId="{E26653E1-E8F3-44C0-8E2C-52468C1C65FA}"/>
          </ac:grpSpMkLst>
        </pc:grpChg>
        <pc:grpChg chg="mod">
          <ac:chgData name="Ying Yang" userId="f1527f9b-a873-4aa2-b225-cf8fd3466e0d" providerId="ADAL" clId="{A30A5C05-46CF-4F03-AB5B-503FD66274CE}" dt="2022-06-09T03:28:08.793" v="4117"/>
          <ac:grpSpMkLst>
            <pc:docMk/>
            <pc:sldMk cId="1411220885" sldId="2145705747"/>
            <ac:grpSpMk id="128" creationId="{2B68A49E-766B-4D78-BD64-093CE51A914C}"/>
          </ac:grpSpMkLst>
        </pc:grpChg>
        <pc:grpChg chg="mod">
          <ac:chgData name="Ying Yang" userId="f1527f9b-a873-4aa2-b225-cf8fd3466e0d" providerId="ADAL" clId="{A30A5C05-46CF-4F03-AB5B-503FD66274CE}" dt="2022-06-09T03:28:08.793" v="4117"/>
          <ac:grpSpMkLst>
            <pc:docMk/>
            <pc:sldMk cId="1411220885" sldId="2145705747"/>
            <ac:grpSpMk id="129" creationId="{CCE63BB8-D78D-4FD7-9085-4C6E737977A4}"/>
          </ac:grpSpMkLst>
        </pc:grpChg>
        <pc:grpChg chg="add del mod">
          <ac:chgData name="Ying Yang" userId="f1527f9b-a873-4aa2-b225-cf8fd3466e0d" providerId="ADAL" clId="{A30A5C05-46CF-4F03-AB5B-503FD66274CE}" dt="2022-06-09T02:20:22.664" v="3104" actId="478"/>
          <ac:grpSpMkLst>
            <pc:docMk/>
            <pc:sldMk cId="1411220885" sldId="2145705747"/>
            <ac:grpSpMk id="131" creationId="{61A50C56-648D-4639-933F-0DCF39646596}"/>
          </ac:grpSpMkLst>
        </pc:grpChg>
        <pc:grpChg chg="mod">
          <ac:chgData name="Ying Yang" userId="f1527f9b-a873-4aa2-b225-cf8fd3466e0d" providerId="ADAL" clId="{A30A5C05-46CF-4F03-AB5B-503FD66274CE}" dt="2022-06-09T03:28:08.793" v="4117"/>
          <ac:grpSpMkLst>
            <pc:docMk/>
            <pc:sldMk cId="1411220885" sldId="2145705747"/>
            <ac:grpSpMk id="133" creationId="{7FDF9BF9-7E6D-4E24-8839-E3720F7DA634}"/>
          </ac:grpSpMkLst>
        </pc:grpChg>
        <pc:grpChg chg="mod">
          <ac:chgData name="Ying Yang" userId="f1527f9b-a873-4aa2-b225-cf8fd3466e0d" providerId="ADAL" clId="{A30A5C05-46CF-4F03-AB5B-503FD66274CE}" dt="2022-06-09T03:28:08.793" v="4117"/>
          <ac:grpSpMkLst>
            <pc:docMk/>
            <pc:sldMk cId="1411220885" sldId="2145705747"/>
            <ac:grpSpMk id="135" creationId="{2D1CF752-7C70-4C7C-9CC3-420E9F7F9680}"/>
          </ac:grpSpMkLst>
        </pc:grpChg>
        <pc:grpChg chg="add del mod">
          <ac:chgData name="Ying Yang" userId="f1527f9b-a873-4aa2-b225-cf8fd3466e0d" providerId="ADAL" clId="{A30A5C05-46CF-4F03-AB5B-503FD66274CE}" dt="2022-06-09T02:20:46.510" v="3113" actId="478"/>
          <ac:grpSpMkLst>
            <pc:docMk/>
            <pc:sldMk cId="1411220885" sldId="2145705747"/>
            <ac:grpSpMk id="136" creationId="{E6A38328-DDF6-446D-9138-BD20CA18160F}"/>
          </ac:grpSpMkLst>
        </pc:grpChg>
        <pc:grpChg chg="add del mod">
          <ac:chgData name="Ying Yang" userId="f1527f9b-a873-4aa2-b225-cf8fd3466e0d" providerId="ADAL" clId="{A30A5C05-46CF-4F03-AB5B-503FD66274CE}" dt="2022-06-08T10:01:39.868" v="2684"/>
          <ac:grpSpMkLst>
            <pc:docMk/>
            <pc:sldMk cId="1411220885" sldId="2145705747"/>
            <ac:grpSpMk id="151" creationId="{2D5D8D99-2E9A-4DAF-8EEF-5F560ABE615F}"/>
          </ac:grpSpMkLst>
        </pc:grpChg>
        <pc:grpChg chg="add del mod">
          <ac:chgData name="Ying Yang" userId="f1527f9b-a873-4aa2-b225-cf8fd3466e0d" providerId="ADAL" clId="{A30A5C05-46CF-4F03-AB5B-503FD66274CE}" dt="2022-06-09T02:30:50.715" v="3285" actId="478"/>
          <ac:grpSpMkLst>
            <pc:docMk/>
            <pc:sldMk cId="1411220885" sldId="2145705747"/>
            <ac:grpSpMk id="154" creationId="{985A2235-3BB9-48B1-8C26-A8017DAA7936}"/>
          </ac:grpSpMkLst>
        </pc:grpChg>
        <pc:grpChg chg="add del mod">
          <ac:chgData name="Ying Yang" userId="f1527f9b-a873-4aa2-b225-cf8fd3466e0d" providerId="ADAL" clId="{A30A5C05-46CF-4F03-AB5B-503FD66274CE}" dt="2022-06-09T02:30:58.765" v="3288" actId="478"/>
          <ac:grpSpMkLst>
            <pc:docMk/>
            <pc:sldMk cId="1411220885" sldId="2145705747"/>
            <ac:grpSpMk id="157" creationId="{0E03A198-1E12-48CF-88AA-376945C85EC2}"/>
          </ac:grpSpMkLst>
        </pc:grpChg>
        <pc:grpChg chg="add del mod">
          <ac:chgData name="Ying Yang" userId="f1527f9b-a873-4aa2-b225-cf8fd3466e0d" providerId="ADAL" clId="{A30A5C05-46CF-4F03-AB5B-503FD66274CE}" dt="2022-06-09T03:30:10.595" v="4172" actId="478"/>
          <ac:grpSpMkLst>
            <pc:docMk/>
            <pc:sldMk cId="1411220885" sldId="2145705747"/>
            <ac:grpSpMk id="160" creationId="{B36E5F67-1A63-4293-A248-CF18E3662E16}"/>
          </ac:grpSpMkLst>
        </pc:grpChg>
        <pc:grpChg chg="add del mod">
          <ac:chgData name="Ying Yang" userId="f1527f9b-a873-4aa2-b225-cf8fd3466e0d" providerId="ADAL" clId="{A30A5C05-46CF-4F03-AB5B-503FD66274CE}" dt="2022-06-09T03:30:12.667" v="4173" actId="478"/>
          <ac:grpSpMkLst>
            <pc:docMk/>
            <pc:sldMk cId="1411220885" sldId="2145705747"/>
            <ac:grpSpMk id="163" creationId="{AC878337-DDE9-491A-BE57-F1F2896E9E4D}"/>
          </ac:grpSpMkLst>
        </pc:grpChg>
        <pc:grpChg chg="add mod">
          <ac:chgData name="Ying Yang" userId="f1527f9b-a873-4aa2-b225-cf8fd3466e0d" providerId="ADAL" clId="{A30A5C05-46CF-4F03-AB5B-503FD66274CE}" dt="2022-06-09T03:29:26.638" v="4148" actId="164"/>
          <ac:grpSpMkLst>
            <pc:docMk/>
            <pc:sldMk cId="1411220885" sldId="2145705747"/>
            <ac:grpSpMk id="168" creationId="{50C6B766-4358-4E08-A95A-87C0846C958C}"/>
          </ac:grpSpMkLst>
        </pc:grpChg>
        <pc:grpChg chg="mod">
          <ac:chgData name="Ying Yang" userId="f1527f9b-a873-4aa2-b225-cf8fd3466e0d" providerId="ADAL" clId="{A30A5C05-46CF-4F03-AB5B-503FD66274CE}" dt="2022-06-09T03:28:38.808" v="4131"/>
          <ac:grpSpMkLst>
            <pc:docMk/>
            <pc:sldMk cId="1411220885" sldId="2145705747"/>
            <ac:grpSpMk id="170" creationId="{E6DDC47E-46BA-4319-92BE-B670BEEDDF53}"/>
          </ac:grpSpMkLst>
        </pc:grpChg>
        <pc:grpChg chg="mod">
          <ac:chgData name="Ying Yang" userId="f1527f9b-a873-4aa2-b225-cf8fd3466e0d" providerId="ADAL" clId="{A30A5C05-46CF-4F03-AB5B-503FD66274CE}" dt="2022-06-09T03:28:38.808" v="4131"/>
          <ac:grpSpMkLst>
            <pc:docMk/>
            <pc:sldMk cId="1411220885" sldId="2145705747"/>
            <ac:grpSpMk id="171" creationId="{3B83A90C-3E29-4F34-9549-671F8D830E46}"/>
          </ac:grpSpMkLst>
        </pc:grpChg>
        <pc:grpChg chg="mod">
          <ac:chgData name="Ying Yang" userId="f1527f9b-a873-4aa2-b225-cf8fd3466e0d" providerId="ADAL" clId="{A30A5C05-46CF-4F03-AB5B-503FD66274CE}" dt="2022-06-09T03:28:38.808" v="4131"/>
          <ac:grpSpMkLst>
            <pc:docMk/>
            <pc:sldMk cId="1411220885" sldId="2145705747"/>
            <ac:grpSpMk id="173" creationId="{F8BA6703-F3A3-4BD2-A692-379326B8CC39}"/>
          </ac:grpSpMkLst>
        </pc:grpChg>
        <pc:grpChg chg="mod">
          <ac:chgData name="Ying Yang" userId="f1527f9b-a873-4aa2-b225-cf8fd3466e0d" providerId="ADAL" clId="{A30A5C05-46CF-4F03-AB5B-503FD66274CE}" dt="2022-06-09T03:28:38.808" v="4131"/>
          <ac:grpSpMkLst>
            <pc:docMk/>
            <pc:sldMk cId="1411220885" sldId="2145705747"/>
            <ac:grpSpMk id="174" creationId="{BE00B777-5B75-4B02-A549-9DF4CB4DB0A0}"/>
          </ac:grpSpMkLst>
        </pc:grpChg>
        <pc:grpChg chg="add mod">
          <ac:chgData name="Ying Yang" userId="f1527f9b-a873-4aa2-b225-cf8fd3466e0d" providerId="ADAL" clId="{A30A5C05-46CF-4F03-AB5B-503FD66274CE}" dt="2022-06-09T03:31:16.588" v="4178" actId="14100"/>
          <ac:grpSpMkLst>
            <pc:docMk/>
            <pc:sldMk cId="1411220885" sldId="2145705747"/>
            <ac:grpSpMk id="183" creationId="{5AD0BB73-1D20-40DA-85BE-D1B01B4D8783}"/>
          </ac:grpSpMkLst>
        </pc:grpChg>
        <pc:grpChg chg="mod">
          <ac:chgData name="Ying Yang" userId="f1527f9b-a873-4aa2-b225-cf8fd3466e0d" providerId="ADAL" clId="{A30A5C05-46CF-4F03-AB5B-503FD66274CE}" dt="2022-06-09T03:29:42.586" v="4162"/>
          <ac:grpSpMkLst>
            <pc:docMk/>
            <pc:sldMk cId="1411220885" sldId="2145705747"/>
            <ac:grpSpMk id="185" creationId="{9ED74F9F-0563-44A7-B55D-3CADA4975CD5}"/>
          </ac:grpSpMkLst>
        </pc:grpChg>
        <pc:grpChg chg="mod">
          <ac:chgData name="Ying Yang" userId="f1527f9b-a873-4aa2-b225-cf8fd3466e0d" providerId="ADAL" clId="{A30A5C05-46CF-4F03-AB5B-503FD66274CE}" dt="2022-06-09T03:29:42.586" v="4162"/>
          <ac:grpSpMkLst>
            <pc:docMk/>
            <pc:sldMk cId="1411220885" sldId="2145705747"/>
            <ac:grpSpMk id="186" creationId="{9CB400EC-15FE-4F03-AC43-30EB24C01605}"/>
          </ac:grpSpMkLst>
        </pc:grpChg>
        <pc:grpChg chg="mod">
          <ac:chgData name="Ying Yang" userId="f1527f9b-a873-4aa2-b225-cf8fd3466e0d" providerId="ADAL" clId="{A30A5C05-46CF-4F03-AB5B-503FD66274CE}" dt="2022-06-09T03:29:42.586" v="4162"/>
          <ac:grpSpMkLst>
            <pc:docMk/>
            <pc:sldMk cId="1411220885" sldId="2145705747"/>
            <ac:grpSpMk id="188" creationId="{884C611D-F268-4603-A7BB-AAB18D7F2E0E}"/>
          </ac:grpSpMkLst>
        </pc:grpChg>
        <pc:grpChg chg="mod">
          <ac:chgData name="Ying Yang" userId="f1527f9b-a873-4aa2-b225-cf8fd3466e0d" providerId="ADAL" clId="{A30A5C05-46CF-4F03-AB5B-503FD66274CE}" dt="2022-06-09T03:29:42.586" v="4162"/>
          <ac:grpSpMkLst>
            <pc:docMk/>
            <pc:sldMk cId="1411220885" sldId="2145705747"/>
            <ac:grpSpMk id="189" creationId="{F6BA1950-B525-4F20-8148-0849036A6FAD}"/>
          </ac:grpSpMkLst>
        </pc:grpChg>
        <pc:picChg chg="mod">
          <ac:chgData name="Ying Yang" userId="f1527f9b-a873-4aa2-b225-cf8fd3466e0d" providerId="ADAL" clId="{A30A5C05-46CF-4F03-AB5B-503FD66274CE}" dt="2022-06-08T09:29:44.792" v="2028" actId="165"/>
          <ac:picMkLst>
            <pc:docMk/>
            <pc:sldMk cId="1411220885" sldId="2145705747"/>
            <ac:picMk id="81" creationId="{6A4949DD-D682-4750-B91E-4DB3FB6FE75E}"/>
          </ac:picMkLst>
        </pc:picChg>
        <pc:picChg chg="add mod">
          <ac:chgData name="Ying Yang" userId="f1527f9b-a873-4aa2-b225-cf8fd3466e0d" providerId="ADAL" clId="{A30A5C05-46CF-4F03-AB5B-503FD66274CE}" dt="2022-06-09T02:34:41.107" v="3293" actId="164"/>
          <ac:picMkLst>
            <pc:docMk/>
            <pc:sldMk cId="1411220885" sldId="2145705747"/>
            <ac:picMk id="92" creationId="{1CFFD6B3-C355-495C-9CD4-A5B2729829FE}"/>
          </ac:picMkLst>
        </pc:picChg>
        <pc:picChg chg="add del mod">
          <ac:chgData name="Ying Yang" userId="f1527f9b-a873-4aa2-b225-cf8fd3466e0d" providerId="ADAL" clId="{A30A5C05-46CF-4F03-AB5B-503FD66274CE}" dt="2022-06-08T09:53:16.413" v="2447" actId="478"/>
          <ac:picMkLst>
            <pc:docMk/>
            <pc:sldMk cId="1411220885" sldId="2145705747"/>
            <ac:picMk id="122" creationId="{BDF4744F-020A-45DA-AD1E-39B7BA96FEB1}"/>
          </ac:picMkLst>
        </pc:picChg>
        <pc:picChg chg="add del mod">
          <ac:chgData name="Ying Yang" userId="f1527f9b-a873-4aa2-b225-cf8fd3466e0d" providerId="ADAL" clId="{A30A5C05-46CF-4F03-AB5B-503FD66274CE}" dt="2022-06-08T09:53:14.211" v="2446" actId="478"/>
          <ac:picMkLst>
            <pc:docMk/>
            <pc:sldMk cId="1411220885" sldId="2145705747"/>
            <ac:picMk id="135" creationId="{1EB48136-B097-4CC1-AA00-A3E82796247D}"/>
          </ac:picMkLst>
        </pc:picChg>
        <pc:picChg chg="add del mod">
          <ac:chgData name="Ying Yang" userId="f1527f9b-a873-4aa2-b225-cf8fd3466e0d" providerId="ADAL" clId="{A30A5C05-46CF-4F03-AB5B-503FD66274CE}" dt="2022-06-08T09:53:13.308" v="2445" actId="478"/>
          <ac:picMkLst>
            <pc:docMk/>
            <pc:sldMk cId="1411220885" sldId="2145705747"/>
            <ac:picMk id="1026" creationId="{26A8B672-39B8-4B1A-BF01-3E6F72CFEA8F}"/>
          </ac:picMkLst>
        </pc:picChg>
        <pc:picChg chg="add del mod">
          <ac:chgData name="Ying Yang" userId="f1527f9b-a873-4aa2-b225-cf8fd3466e0d" providerId="ADAL" clId="{A30A5C05-46CF-4F03-AB5B-503FD66274CE}" dt="2022-06-08T09:57:27.614" v="2610" actId="21"/>
          <ac:picMkLst>
            <pc:docMk/>
            <pc:sldMk cId="1411220885" sldId="2145705747"/>
            <ac:picMk id="1028" creationId="{EF7670F5-9925-442B-B6FA-3A5538663796}"/>
          </ac:picMkLst>
        </pc:picChg>
        <pc:cxnChg chg="add del mod">
          <ac:chgData name="Ying Yang" userId="f1527f9b-a873-4aa2-b225-cf8fd3466e0d" providerId="ADAL" clId="{A30A5C05-46CF-4F03-AB5B-503FD66274CE}" dt="2022-06-09T02:28:06.211" v="3239" actId="478"/>
          <ac:cxnSpMkLst>
            <pc:docMk/>
            <pc:sldMk cId="1411220885" sldId="2145705747"/>
            <ac:cxnSpMk id="10" creationId="{4E7204E3-9EBC-4AFC-8DD6-40D919B267D0}"/>
          </ac:cxnSpMkLst>
        </pc:cxnChg>
        <pc:cxnChg chg="mod topLvl">
          <ac:chgData name="Ying Yang" userId="f1527f9b-a873-4aa2-b225-cf8fd3466e0d" providerId="ADAL" clId="{A30A5C05-46CF-4F03-AB5B-503FD66274CE}" dt="2022-06-09T02:28:42.186" v="3250" actId="164"/>
          <ac:cxnSpMkLst>
            <pc:docMk/>
            <pc:sldMk cId="1411220885" sldId="2145705747"/>
            <ac:cxnSpMk id="19" creationId="{00000000-0000-0000-0000-000000000000}"/>
          </ac:cxnSpMkLst>
        </pc:cxnChg>
        <pc:cxnChg chg="mod topLvl">
          <ac:chgData name="Ying Yang" userId="f1527f9b-a873-4aa2-b225-cf8fd3466e0d" providerId="ADAL" clId="{A30A5C05-46CF-4F03-AB5B-503FD66274CE}" dt="2022-06-09T02:28:42.186" v="3250" actId="164"/>
          <ac:cxnSpMkLst>
            <pc:docMk/>
            <pc:sldMk cId="1411220885" sldId="2145705747"/>
            <ac:cxnSpMk id="20" creationId="{00000000-0000-0000-0000-000000000000}"/>
          </ac:cxnSpMkLst>
        </pc:cxnChg>
        <pc:cxnChg chg="add del mod">
          <ac:chgData name="Ying Yang" userId="f1527f9b-a873-4aa2-b225-cf8fd3466e0d" providerId="ADAL" clId="{A30A5C05-46CF-4F03-AB5B-503FD66274CE}" dt="2022-06-08T09:29:54.221" v="2031" actId="478"/>
          <ac:cxnSpMkLst>
            <pc:docMk/>
            <pc:sldMk cId="1411220885" sldId="2145705747"/>
            <ac:cxnSpMk id="106" creationId="{D7363DC8-90CE-47EB-842C-486E7783DE10}"/>
          </ac:cxnSpMkLst>
        </pc:cxnChg>
        <pc:cxnChg chg="add mod">
          <ac:chgData name="Ying Yang" userId="f1527f9b-a873-4aa2-b225-cf8fd3466e0d" providerId="ADAL" clId="{A30A5C05-46CF-4F03-AB5B-503FD66274CE}" dt="2022-06-08T09:31:31.433" v="2051" actId="164"/>
          <ac:cxnSpMkLst>
            <pc:docMk/>
            <pc:sldMk cId="1411220885" sldId="2145705747"/>
            <ac:cxnSpMk id="108" creationId="{773B4AB8-ED13-47B8-B004-E7134E831613}"/>
          </ac:cxnSpMkLst>
        </pc:cxnChg>
        <pc:cxnChg chg="add mod">
          <ac:chgData name="Ying Yang" userId="f1527f9b-a873-4aa2-b225-cf8fd3466e0d" providerId="ADAL" clId="{A30A5C05-46CF-4F03-AB5B-503FD66274CE}" dt="2022-06-08T09:31:31.433" v="2051" actId="164"/>
          <ac:cxnSpMkLst>
            <pc:docMk/>
            <pc:sldMk cId="1411220885" sldId="2145705747"/>
            <ac:cxnSpMk id="109" creationId="{4A910A56-714D-44DA-B133-E41BA544034D}"/>
          </ac:cxnSpMkLst>
        </pc:cxnChg>
        <pc:cxnChg chg="add mod">
          <ac:chgData name="Ying Yang" userId="f1527f9b-a873-4aa2-b225-cf8fd3466e0d" providerId="ADAL" clId="{A30A5C05-46CF-4F03-AB5B-503FD66274CE}" dt="2022-06-08T09:31:31.433" v="2051" actId="164"/>
          <ac:cxnSpMkLst>
            <pc:docMk/>
            <pc:sldMk cId="1411220885" sldId="2145705747"/>
            <ac:cxnSpMk id="110" creationId="{DED9E9E4-2411-4E00-BE12-63CC3704BC79}"/>
          </ac:cxnSpMkLst>
        </pc:cxnChg>
        <pc:cxnChg chg="add mod">
          <ac:chgData name="Ying Yang" userId="f1527f9b-a873-4aa2-b225-cf8fd3466e0d" providerId="ADAL" clId="{A30A5C05-46CF-4F03-AB5B-503FD66274CE}" dt="2022-06-08T09:31:31.433" v="2051" actId="164"/>
          <ac:cxnSpMkLst>
            <pc:docMk/>
            <pc:sldMk cId="1411220885" sldId="2145705747"/>
            <ac:cxnSpMk id="111" creationId="{A8A373B0-2DFE-42CF-8F24-1C04F4AA819E}"/>
          </ac:cxnSpMkLst>
        </pc:cxnChg>
        <pc:cxnChg chg="add mod">
          <ac:chgData name="Ying Yang" userId="f1527f9b-a873-4aa2-b225-cf8fd3466e0d" providerId="ADAL" clId="{A30A5C05-46CF-4F03-AB5B-503FD66274CE}" dt="2022-06-08T09:31:31.433" v="2051" actId="164"/>
          <ac:cxnSpMkLst>
            <pc:docMk/>
            <pc:sldMk cId="1411220885" sldId="2145705747"/>
            <ac:cxnSpMk id="112" creationId="{CA61E59C-66F2-44F1-8B06-268FE9B88C37}"/>
          </ac:cxnSpMkLst>
        </pc:cxnChg>
        <pc:cxnChg chg="add mod">
          <ac:chgData name="Ying Yang" userId="f1527f9b-a873-4aa2-b225-cf8fd3466e0d" providerId="ADAL" clId="{A30A5C05-46CF-4F03-AB5B-503FD66274CE}" dt="2022-06-08T09:31:31.433" v="2051" actId="164"/>
          <ac:cxnSpMkLst>
            <pc:docMk/>
            <pc:sldMk cId="1411220885" sldId="2145705747"/>
            <ac:cxnSpMk id="113" creationId="{25120CB5-405B-49B8-98AB-1F64A4DDC82B}"/>
          </ac:cxnSpMkLst>
        </pc:cxnChg>
        <pc:cxnChg chg="add del mod">
          <ac:chgData name="Ying Yang" userId="f1527f9b-a873-4aa2-b225-cf8fd3466e0d" providerId="ADAL" clId="{A30A5C05-46CF-4F03-AB5B-503FD66274CE}" dt="2022-06-09T02:30:56.762" v="3287" actId="478"/>
          <ac:cxnSpMkLst>
            <pc:docMk/>
            <pc:sldMk cId="1411220885" sldId="2145705747"/>
            <ac:cxnSpMk id="149" creationId="{6E1D4898-BAB8-43A5-97EF-A152DDEF3639}"/>
          </ac:cxnSpMkLst>
        </pc:cxnChg>
        <pc:cxnChg chg="add del mod">
          <ac:chgData name="Ying Yang" userId="f1527f9b-a873-4aa2-b225-cf8fd3466e0d" providerId="ADAL" clId="{A30A5C05-46CF-4F03-AB5B-503FD66274CE}" dt="2022-06-09T02:30:55.609" v="3286" actId="478"/>
          <ac:cxnSpMkLst>
            <pc:docMk/>
            <pc:sldMk cId="1411220885" sldId="2145705747"/>
            <ac:cxnSpMk id="150" creationId="{04F26E9B-8C48-4BDA-8053-9073F7B00C2D}"/>
          </ac:cxnSpMkLst>
        </pc:cxnChg>
        <pc:cxnChg chg="mod">
          <ac:chgData name="Ying Yang" userId="f1527f9b-a873-4aa2-b225-cf8fd3466e0d" providerId="ADAL" clId="{A30A5C05-46CF-4F03-AB5B-503FD66274CE}" dt="2022-06-08T10:01:32.309" v="2681"/>
          <ac:cxnSpMkLst>
            <pc:docMk/>
            <pc:sldMk cId="1411220885" sldId="2145705747"/>
            <ac:cxnSpMk id="152" creationId="{20E62D31-35A9-4C1A-949F-2E34ACD7EF38}"/>
          </ac:cxnSpMkLst>
        </pc:cxnChg>
        <pc:cxnChg chg="mod">
          <ac:chgData name="Ying Yang" userId="f1527f9b-a873-4aa2-b225-cf8fd3466e0d" providerId="ADAL" clId="{A30A5C05-46CF-4F03-AB5B-503FD66274CE}" dt="2022-06-08T10:01:32.309" v="2681"/>
          <ac:cxnSpMkLst>
            <pc:docMk/>
            <pc:sldMk cId="1411220885" sldId="2145705747"/>
            <ac:cxnSpMk id="153" creationId="{85B03735-EF93-4869-966E-1D914175C26D}"/>
          </ac:cxnSpMkLst>
        </pc:cxnChg>
        <pc:cxnChg chg="mod">
          <ac:chgData name="Ying Yang" userId="f1527f9b-a873-4aa2-b225-cf8fd3466e0d" providerId="ADAL" clId="{A30A5C05-46CF-4F03-AB5B-503FD66274CE}" dt="2022-06-08T10:02:06.289" v="2696"/>
          <ac:cxnSpMkLst>
            <pc:docMk/>
            <pc:sldMk cId="1411220885" sldId="2145705747"/>
            <ac:cxnSpMk id="155" creationId="{C1EFE78E-605F-409C-8475-83572DE772AD}"/>
          </ac:cxnSpMkLst>
        </pc:cxnChg>
        <pc:cxnChg chg="mod">
          <ac:chgData name="Ying Yang" userId="f1527f9b-a873-4aa2-b225-cf8fd3466e0d" providerId="ADAL" clId="{A30A5C05-46CF-4F03-AB5B-503FD66274CE}" dt="2022-06-08T10:02:06.289" v="2696"/>
          <ac:cxnSpMkLst>
            <pc:docMk/>
            <pc:sldMk cId="1411220885" sldId="2145705747"/>
            <ac:cxnSpMk id="156" creationId="{04A48923-E0D5-452D-89B6-18327C1FC08C}"/>
          </ac:cxnSpMkLst>
        </pc:cxnChg>
        <pc:cxnChg chg="del mod topLvl">
          <ac:chgData name="Ying Yang" userId="f1527f9b-a873-4aa2-b225-cf8fd3466e0d" providerId="ADAL" clId="{A30A5C05-46CF-4F03-AB5B-503FD66274CE}" dt="2022-06-09T02:30:59.828" v="3289" actId="478"/>
          <ac:cxnSpMkLst>
            <pc:docMk/>
            <pc:sldMk cId="1411220885" sldId="2145705747"/>
            <ac:cxnSpMk id="158" creationId="{92796AB3-5EBC-4C6E-B968-662E3B2B4A53}"/>
          </ac:cxnSpMkLst>
        </pc:cxnChg>
        <pc:cxnChg chg="del mod">
          <ac:chgData name="Ying Yang" userId="f1527f9b-a873-4aa2-b225-cf8fd3466e0d" providerId="ADAL" clId="{A30A5C05-46CF-4F03-AB5B-503FD66274CE}" dt="2022-06-09T02:30:58.765" v="3288" actId="478"/>
          <ac:cxnSpMkLst>
            <pc:docMk/>
            <pc:sldMk cId="1411220885" sldId="2145705747"/>
            <ac:cxnSpMk id="159" creationId="{CDE865CC-8372-4BA7-9C73-61C2BC565B0F}"/>
          </ac:cxnSpMkLst>
        </pc:cxnChg>
        <pc:cxnChg chg="mod">
          <ac:chgData name="Ying Yang" userId="f1527f9b-a873-4aa2-b225-cf8fd3466e0d" providerId="ADAL" clId="{A30A5C05-46CF-4F03-AB5B-503FD66274CE}" dt="2022-06-08T10:02:35.829" v="2710"/>
          <ac:cxnSpMkLst>
            <pc:docMk/>
            <pc:sldMk cId="1411220885" sldId="2145705747"/>
            <ac:cxnSpMk id="161" creationId="{A9DD6F1D-010B-4C32-A724-7C908BCCA7D0}"/>
          </ac:cxnSpMkLst>
        </pc:cxnChg>
        <pc:cxnChg chg="mod">
          <ac:chgData name="Ying Yang" userId="f1527f9b-a873-4aa2-b225-cf8fd3466e0d" providerId="ADAL" clId="{A30A5C05-46CF-4F03-AB5B-503FD66274CE}" dt="2022-06-08T10:02:35.829" v="2710"/>
          <ac:cxnSpMkLst>
            <pc:docMk/>
            <pc:sldMk cId="1411220885" sldId="2145705747"/>
            <ac:cxnSpMk id="162" creationId="{62F6BF14-A6F2-4415-B967-DD81C6EA87C6}"/>
          </ac:cxnSpMkLst>
        </pc:cxnChg>
        <pc:cxnChg chg="mod">
          <ac:chgData name="Ying Yang" userId="f1527f9b-a873-4aa2-b225-cf8fd3466e0d" providerId="ADAL" clId="{A30A5C05-46CF-4F03-AB5B-503FD66274CE}" dt="2022-06-08T10:02:39.954" v="2712"/>
          <ac:cxnSpMkLst>
            <pc:docMk/>
            <pc:sldMk cId="1411220885" sldId="2145705747"/>
            <ac:cxnSpMk id="164" creationId="{294C210D-D131-4AF0-968F-6D6100C1C841}"/>
          </ac:cxnSpMkLst>
        </pc:cxnChg>
        <pc:cxnChg chg="mod">
          <ac:chgData name="Ying Yang" userId="f1527f9b-a873-4aa2-b225-cf8fd3466e0d" providerId="ADAL" clId="{A30A5C05-46CF-4F03-AB5B-503FD66274CE}" dt="2022-06-08T10:02:39.954" v="2712"/>
          <ac:cxnSpMkLst>
            <pc:docMk/>
            <pc:sldMk cId="1411220885" sldId="2145705747"/>
            <ac:cxnSpMk id="165" creationId="{1EA7CFD4-82AF-4AAA-B72A-7D158AF900C8}"/>
          </ac:cxnSpMkLst>
        </pc:cxnChg>
      </pc:sldChg>
      <pc:sldChg chg="addSp delSp modSp add mod ord">
        <pc:chgData name="Ying Yang" userId="f1527f9b-a873-4aa2-b225-cf8fd3466e0d" providerId="ADAL" clId="{A30A5C05-46CF-4F03-AB5B-503FD66274CE}" dt="2022-06-09T03:06:31.552" v="3716"/>
        <pc:sldMkLst>
          <pc:docMk/>
          <pc:sldMk cId="2453307984" sldId="2145705748"/>
        </pc:sldMkLst>
        <pc:spChg chg="mod">
          <ac:chgData name="Ying Yang" userId="f1527f9b-a873-4aa2-b225-cf8fd3466e0d" providerId="ADAL" clId="{A30A5C05-46CF-4F03-AB5B-503FD66274CE}" dt="2022-06-08T10:07:38.039" v="2793" actId="21"/>
          <ac:spMkLst>
            <pc:docMk/>
            <pc:sldMk cId="2453307984" sldId="2145705748"/>
            <ac:spMk id="41" creationId="{67428D2D-B039-41DE-902A-DD249AA613B9}"/>
          </ac:spMkLst>
        </pc:spChg>
        <pc:spChg chg="mod">
          <ac:chgData name="Ying Yang" userId="f1527f9b-a873-4aa2-b225-cf8fd3466e0d" providerId="ADAL" clId="{A30A5C05-46CF-4F03-AB5B-503FD66274CE}" dt="2022-06-08T10:06:42.786" v="2775" actId="1076"/>
          <ac:spMkLst>
            <pc:docMk/>
            <pc:sldMk cId="2453307984" sldId="2145705748"/>
            <ac:spMk id="42" creationId="{0D383D67-1F1C-458E-8C4D-B0DAD031D6A2}"/>
          </ac:spMkLst>
        </pc:spChg>
        <pc:spChg chg="mod">
          <ac:chgData name="Ying Yang" userId="f1527f9b-a873-4aa2-b225-cf8fd3466e0d" providerId="ADAL" clId="{A30A5C05-46CF-4F03-AB5B-503FD66274CE}" dt="2022-06-08T10:07:12.490" v="2781" actId="207"/>
          <ac:spMkLst>
            <pc:docMk/>
            <pc:sldMk cId="2453307984" sldId="2145705748"/>
            <ac:spMk id="48" creationId="{17C41705-A231-42C5-9198-6491663DCA3D}"/>
          </ac:spMkLst>
        </pc:spChg>
        <pc:spChg chg="mod">
          <ac:chgData name="Ying Yang" userId="f1527f9b-a873-4aa2-b225-cf8fd3466e0d" providerId="ADAL" clId="{A30A5C05-46CF-4F03-AB5B-503FD66274CE}" dt="2022-06-08T10:07:08.290" v="2780" actId="207"/>
          <ac:spMkLst>
            <pc:docMk/>
            <pc:sldMk cId="2453307984" sldId="2145705748"/>
            <ac:spMk id="57" creationId="{28F4AA1D-A081-4BCA-9495-EDD6AB819DB9}"/>
          </ac:spMkLst>
        </pc:spChg>
        <pc:spChg chg="mod">
          <ac:chgData name="Ying Yang" userId="f1527f9b-a873-4aa2-b225-cf8fd3466e0d" providerId="ADAL" clId="{A30A5C05-46CF-4F03-AB5B-503FD66274CE}" dt="2022-06-08T10:07:19.549" v="2785" actId="1036"/>
          <ac:spMkLst>
            <pc:docMk/>
            <pc:sldMk cId="2453307984" sldId="2145705748"/>
            <ac:spMk id="59" creationId="{A84B1787-CC23-4C36-B906-7593FCF99B12}"/>
          </ac:spMkLst>
        </pc:spChg>
        <pc:spChg chg="mod">
          <ac:chgData name="Ying Yang" userId="f1527f9b-a873-4aa2-b225-cf8fd3466e0d" providerId="ADAL" clId="{A30A5C05-46CF-4F03-AB5B-503FD66274CE}" dt="2022-06-08T10:07:04.537" v="2779" actId="207"/>
          <ac:spMkLst>
            <pc:docMk/>
            <pc:sldMk cId="2453307984" sldId="2145705748"/>
            <ac:spMk id="66" creationId="{A99B7382-1E06-420A-BFA4-F3706FE86E02}"/>
          </ac:spMkLst>
        </pc:spChg>
        <pc:spChg chg="mod">
          <ac:chgData name="Ying Yang" userId="f1527f9b-a873-4aa2-b225-cf8fd3466e0d" providerId="ADAL" clId="{A30A5C05-46CF-4F03-AB5B-503FD66274CE}" dt="2022-06-08T10:07:22.264" v="2788" actId="1035"/>
          <ac:spMkLst>
            <pc:docMk/>
            <pc:sldMk cId="2453307984" sldId="2145705748"/>
            <ac:spMk id="68" creationId="{D01A8D23-9A95-455A-9517-29FD0E9D51D7}"/>
          </ac:spMkLst>
        </pc:spChg>
        <pc:spChg chg="mod">
          <ac:chgData name="Ying Yang" userId="f1527f9b-a873-4aa2-b225-cf8fd3466e0d" providerId="ADAL" clId="{A30A5C05-46CF-4F03-AB5B-503FD66274CE}" dt="2022-06-08T10:04:55.657" v="2746"/>
          <ac:spMkLst>
            <pc:docMk/>
            <pc:sldMk cId="2453307984" sldId="2145705748"/>
            <ac:spMk id="79" creationId="{2CFCEE81-E3DD-4EDA-A791-BAF870CEA722}"/>
          </ac:spMkLst>
        </pc:spChg>
        <pc:spChg chg="mod">
          <ac:chgData name="Ying Yang" userId="f1527f9b-a873-4aa2-b225-cf8fd3466e0d" providerId="ADAL" clId="{A30A5C05-46CF-4F03-AB5B-503FD66274CE}" dt="2022-06-08T10:05:22.814" v="2752" actId="948"/>
          <ac:spMkLst>
            <pc:docMk/>
            <pc:sldMk cId="2453307984" sldId="2145705748"/>
            <ac:spMk id="82" creationId="{DDFF4937-2959-41B7-BA6E-F81621994D4A}"/>
          </ac:spMkLst>
        </pc:spChg>
        <pc:spChg chg="mod">
          <ac:chgData name="Ying Yang" userId="f1527f9b-a873-4aa2-b225-cf8fd3466e0d" providerId="ADAL" clId="{A30A5C05-46CF-4F03-AB5B-503FD66274CE}" dt="2022-06-08T10:04:55.657" v="2746"/>
          <ac:spMkLst>
            <pc:docMk/>
            <pc:sldMk cId="2453307984" sldId="2145705748"/>
            <ac:spMk id="83" creationId="{588C2B19-08A9-4CEE-A339-AC9D866F8DA6}"/>
          </ac:spMkLst>
        </pc:spChg>
        <pc:spChg chg="mod">
          <ac:chgData name="Ying Yang" userId="f1527f9b-a873-4aa2-b225-cf8fd3466e0d" providerId="ADAL" clId="{A30A5C05-46CF-4F03-AB5B-503FD66274CE}" dt="2022-06-08T10:04:03.270" v="2730" actId="14100"/>
          <ac:spMkLst>
            <pc:docMk/>
            <pc:sldMk cId="2453307984" sldId="2145705748"/>
            <ac:spMk id="85" creationId="{FAD0CC2D-B77B-4122-9348-E8B94A907810}"/>
          </ac:spMkLst>
        </pc:spChg>
        <pc:spChg chg="del">
          <ac:chgData name="Ying Yang" userId="f1527f9b-a873-4aa2-b225-cf8fd3466e0d" providerId="ADAL" clId="{A30A5C05-46CF-4F03-AB5B-503FD66274CE}" dt="2022-06-08T10:03:43.585" v="2724" actId="478"/>
          <ac:spMkLst>
            <pc:docMk/>
            <pc:sldMk cId="2453307984" sldId="2145705748"/>
            <ac:spMk id="87" creationId="{662C3669-F743-41D5-8439-B3E4EA7B4AB7}"/>
          </ac:spMkLst>
        </pc:spChg>
        <pc:spChg chg="mod">
          <ac:chgData name="Ying Yang" userId="f1527f9b-a873-4aa2-b225-cf8fd3466e0d" providerId="ADAL" clId="{A30A5C05-46CF-4F03-AB5B-503FD66274CE}" dt="2022-06-08T10:04:39.492" v="2742" actId="948"/>
          <ac:spMkLst>
            <pc:docMk/>
            <pc:sldMk cId="2453307984" sldId="2145705748"/>
            <ac:spMk id="88" creationId="{DE389969-1AB0-4108-8A96-C25E0C073568}"/>
          </ac:spMkLst>
        </pc:spChg>
        <pc:spChg chg="del">
          <ac:chgData name="Ying Yang" userId="f1527f9b-a873-4aa2-b225-cf8fd3466e0d" providerId="ADAL" clId="{A30A5C05-46CF-4F03-AB5B-503FD66274CE}" dt="2022-06-08T10:03:44.847" v="2725" actId="478"/>
          <ac:spMkLst>
            <pc:docMk/>
            <pc:sldMk cId="2453307984" sldId="2145705748"/>
            <ac:spMk id="89" creationId="{ADA9D5AE-72BA-452C-8354-05E6482719D3}"/>
          </ac:spMkLst>
        </pc:spChg>
        <pc:spChg chg="mod">
          <ac:chgData name="Ying Yang" userId="f1527f9b-a873-4aa2-b225-cf8fd3466e0d" providerId="ADAL" clId="{A30A5C05-46CF-4F03-AB5B-503FD66274CE}" dt="2022-06-09T02:11:04.264" v="2849" actId="404"/>
          <ac:spMkLst>
            <pc:docMk/>
            <pc:sldMk cId="2453307984" sldId="2145705748"/>
            <ac:spMk id="91" creationId="{E08D4C99-ED0D-4E75-9938-439C61E6886E}"/>
          </ac:spMkLst>
        </pc:spChg>
        <pc:spChg chg="mod">
          <ac:chgData name="Ying Yang" userId="f1527f9b-a873-4aa2-b225-cf8fd3466e0d" providerId="ADAL" clId="{A30A5C05-46CF-4F03-AB5B-503FD66274CE}" dt="2022-06-09T02:11:06.056" v="2850" actId="404"/>
          <ac:spMkLst>
            <pc:docMk/>
            <pc:sldMk cId="2453307984" sldId="2145705748"/>
            <ac:spMk id="101" creationId="{7F60D29C-6DBD-4B08-AB9C-8A88A54F0961}"/>
          </ac:spMkLst>
        </pc:spChg>
        <pc:spChg chg="mod">
          <ac:chgData name="Ying Yang" userId="f1527f9b-a873-4aa2-b225-cf8fd3466e0d" providerId="ADAL" clId="{A30A5C05-46CF-4F03-AB5B-503FD66274CE}" dt="2022-06-08T10:04:55.657" v="2746"/>
          <ac:spMkLst>
            <pc:docMk/>
            <pc:sldMk cId="2453307984" sldId="2145705748"/>
            <ac:spMk id="105" creationId="{0BAEE57F-AB0C-4BB8-BBE0-69393203B182}"/>
          </ac:spMkLst>
        </pc:spChg>
        <pc:spChg chg="mod">
          <ac:chgData name="Ying Yang" userId="f1527f9b-a873-4aa2-b225-cf8fd3466e0d" providerId="ADAL" clId="{A30A5C05-46CF-4F03-AB5B-503FD66274CE}" dt="2022-06-08T10:04:55.657" v="2746"/>
          <ac:spMkLst>
            <pc:docMk/>
            <pc:sldMk cId="2453307984" sldId="2145705748"/>
            <ac:spMk id="106" creationId="{599860AB-C0DF-4071-840F-43EBEEF243D1}"/>
          </ac:spMkLst>
        </pc:spChg>
        <pc:spChg chg="mod">
          <ac:chgData name="Ying Yang" userId="f1527f9b-a873-4aa2-b225-cf8fd3466e0d" providerId="ADAL" clId="{A30A5C05-46CF-4F03-AB5B-503FD66274CE}" dt="2022-06-08T10:04:55.657" v="2746"/>
          <ac:spMkLst>
            <pc:docMk/>
            <pc:sldMk cId="2453307984" sldId="2145705748"/>
            <ac:spMk id="107" creationId="{D1C6AAEE-5C03-4180-80EF-87673FF49EAA}"/>
          </ac:spMkLst>
        </pc:spChg>
        <pc:spChg chg="mod">
          <ac:chgData name="Ying Yang" userId="f1527f9b-a873-4aa2-b225-cf8fd3466e0d" providerId="ADAL" clId="{A30A5C05-46CF-4F03-AB5B-503FD66274CE}" dt="2022-06-08T10:04:55.657" v="2746"/>
          <ac:spMkLst>
            <pc:docMk/>
            <pc:sldMk cId="2453307984" sldId="2145705748"/>
            <ac:spMk id="108" creationId="{9AD4D0E7-EF56-4D47-BF7B-3C01A42131FB}"/>
          </ac:spMkLst>
        </pc:spChg>
        <pc:spChg chg="mod">
          <ac:chgData name="Ying Yang" userId="f1527f9b-a873-4aa2-b225-cf8fd3466e0d" providerId="ADAL" clId="{A30A5C05-46CF-4F03-AB5B-503FD66274CE}" dt="2022-06-08T10:04:55.657" v="2746"/>
          <ac:spMkLst>
            <pc:docMk/>
            <pc:sldMk cId="2453307984" sldId="2145705748"/>
            <ac:spMk id="109" creationId="{75008DC3-B7EE-4CC9-81FD-F3B4AE64BE49}"/>
          </ac:spMkLst>
        </pc:spChg>
        <pc:spChg chg="mod">
          <ac:chgData name="Ying Yang" userId="f1527f9b-a873-4aa2-b225-cf8fd3466e0d" providerId="ADAL" clId="{A30A5C05-46CF-4F03-AB5B-503FD66274CE}" dt="2022-06-08T10:04:55.657" v="2746"/>
          <ac:spMkLst>
            <pc:docMk/>
            <pc:sldMk cId="2453307984" sldId="2145705748"/>
            <ac:spMk id="110" creationId="{4128458B-F964-4D82-878F-0CA2B6CC3FA5}"/>
          </ac:spMkLst>
        </pc:spChg>
        <pc:spChg chg="mod">
          <ac:chgData name="Ying Yang" userId="f1527f9b-a873-4aa2-b225-cf8fd3466e0d" providerId="ADAL" clId="{A30A5C05-46CF-4F03-AB5B-503FD66274CE}" dt="2022-06-08T10:05:32.076" v="2754"/>
          <ac:spMkLst>
            <pc:docMk/>
            <pc:sldMk cId="2453307984" sldId="2145705748"/>
            <ac:spMk id="112" creationId="{2A036395-AD63-46D2-9228-9080A95E85A6}"/>
          </ac:spMkLst>
        </pc:spChg>
        <pc:spChg chg="mod">
          <ac:chgData name="Ying Yang" userId="f1527f9b-a873-4aa2-b225-cf8fd3466e0d" providerId="ADAL" clId="{A30A5C05-46CF-4F03-AB5B-503FD66274CE}" dt="2022-06-08T10:06:14.663" v="2766" actId="1076"/>
          <ac:spMkLst>
            <pc:docMk/>
            <pc:sldMk cId="2453307984" sldId="2145705748"/>
            <ac:spMk id="114" creationId="{4E61B6AB-AAFA-4F8E-97FE-16A0CE2B664D}"/>
          </ac:spMkLst>
        </pc:spChg>
        <pc:spChg chg="mod">
          <ac:chgData name="Ying Yang" userId="f1527f9b-a873-4aa2-b225-cf8fd3466e0d" providerId="ADAL" clId="{A30A5C05-46CF-4F03-AB5B-503FD66274CE}" dt="2022-06-08T10:05:32.076" v="2754"/>
          <ac:spMkLst>
            <pc:docMk/>
            <pc:sldMk cId="2453307984" sldId="2145705748"/>
            <ac:spMk id="115" creationId="{C9907A84-01E3-45ED-A741-7375ACB6A200}"/>
          </ac:spMkLst>
        </pc:spChg>
        <pc:spChg chg="mod">
          <ac:chgData name="Ying Yang" userId="f1527f9b-a873-4aa2-b225-cf8fd3466e0d" providerId="ADAL" clId="{A30A5C05-46CF-4F03-AB5B-503FD66274CE}" dt="2022-06-09T02:11:02.138" v="2848" actId="404"/>
          <ac:spMkLst>
            <pc:docMk/>
            <pc:sldMk cId="2453307984" sldId="2145705748"/>
            <ac:spMk id="116" creationId="{B5DF4C09-84CE-47EC-B902-75BE2B19E8D2}"/>
          </ac:spMkLst>
        </pc:spChg>
        <pc:spChg chg="mod">
          <ac:chgData name="Ying Yang" userId="f1527f9b-a873-4aa2-b225-cf8fd3466e0d" providerId="ADAL" clId="{A30A5C05-46CF-4F03-AB5B-503FD66274CE}" dt="2022-06-08T10:05:32.076" v="2754"/>
          <ac:spMkLst>
            <pc:docMk/>
            <pc:sldMk cId="2453307984" sldId="2145705748"/>
            <ac:spMk id="120" creationId="{5F1E7243-3305-41A5-B5E8-323472C389DC}"/>
          </ac:spMkLst>
        </pc:spChg>
        <pc:spChg chg="mod">
          <ac:chgData name="Ying Yang" userId="f1527f9b-a873-4aa2-b225-cf8fd3466e0d" providerId="ADAL" clId="{A30A5C05-46CF-4F03-AB5B-503FD66274CE}" dt="2022-06-08T10:05:32.076" v="2754"/>
          <ac:spMkLst>
            <pc:docMk/>
            <pc:sldMk cId="2453307984" sldId="2145705748"/>
            <ac:spMk id="121" creationId="{A0368C9D-E366-4BAD-9E4F-3C3AC30884F6}"/>
          </ac:spMkLst>
        </pc:spChg>
        <pc:spChg chg="mod">
          <ac:chgData name="Ying Yang" userId="f1527f9b-a873-4aa2-b225-cf8fd3466e0d" providerId="ADAL" clId="{A30A5C05-46CF-4F03-AB5B-503FD66274CE}" dt="2022-06-08T10:05:32.076" v="2754"/>
          <ac:spMkLst>
            <pc:docMk/>
            <pc:sldMk cId="2453307984" sldId="2145705748"/>
            <ac:spMk id="122" creationId="{03C8D779-62F0-4C28-BC1E-EC566ED73620}"/>
          </ac:spMkLst>
        </pc:spChg>
        <pc:spChg chg="mod">
          <ac:chgData name="Ying Yang" userId="f1527f9b-a873-4aa2-b225-cf8fd3466e0d" providerId="ADAL" clId="{A30A5C05-46CF-4F03-AB5B-503FD66274CE}" dt="2022-06-08T10:05:32.076" v="2754"/>
          <ac:spMkLst>
            <pc:docMk/>
            <pc:sldMk cId="2453307984" sldId="2145705748"/>
            <ac:spMk id="123" creationId="{4DEB82A2-ACBD-46CA-B4AE-B68EC7443E3D}"/>
          </ac:spMkLst>
        </pc:spChg>
        <pc:spChg chg="mod">
          <ac:chgData name="Ying Yang" userId="f1527f9b-a873-4aa2-b225-cf8fd3466e0d" providerId="ADAL" clId="{A30A5C05-46CF-4F03-AB5B-503FD66274CE}" dt="2022-06-08T10:05:32.076" v="2754"/>
          <ac:spMkLst>
            <pc:docMk/>
            <pc:sldMk cId="2453307984" sldId="2145705748"/>
            <ac:spMk id="124" creationId="{1C9F2673-8B69-448F-8F76-C60AE3AD296C}"/>
          </ac:spMkLst>
        </pc:spChg>
        <pc:spChg chg="mod">
          <ac:chgData name="Ying Yang" userId="f1527f9b-a873-4aa2-b225-cf8fd3466e0d" providerId="ADAL" clId="{A30A5C05-46CF-4F03-AB5B-503FD66274CE}" dt="2022-06-08T10:05:32.076" v="2754"/>
          <ac:spMkLst>
            <pc:docMk/>
            <pc:sldMk cId="2453307984" sldId="2145705748"/>
            <ac:spMk id="125" creationId="{6E25C086-F196-4996-B63D-A29E250D2480}"/>
          </ac:spMkLst>
        </pc:spChg>
        <pc:spChg chg="mod">
          <ac:chgData name="Ying Yang" userId="f1527f9b-a873-4aa2-b225-cf8fd3466e0d" providerId="ADAL" clId="{A30A5C05-46CF-4F03-AB5B-503FD66274CE}" dt="2022-06-08T10:06:23.434" v="2767"/>
          <ac:spMkLst>
            <pc:docMk/>
            <pc:sldMk cId="2453307984" sldId="2145705748"/>
            <ac:spMk id="127" creationId="{EB72036B-B496-452D-B697-F6E25ACD15F8}"/>
          </ac:spMkLst>
        </pc:spChg>
        <pc:spChg chg="del mod">
          <ac:chgData name="Ying Yang" userId="f1527f9b-a873-4aa2-b225-cf8fd3466e0d" providerId="ADAL" clId="{A30A5C05-46CF-4F03-AB5B-503FD66274CE}" dt="2022-06-08T10:06:32.381" v="2770" actId="478"/>
          <ac:spMkLst>
            <pc:docMk/>
            <pc:sldMk cId="2453307984" sldId="2145705748"/>
            <ac:spMk id="129" creationId="{4C5A9768-98C0-4E42-BE34-5CD4F7CD74A3}"/>
          </ac:spMkLst>
        </pc:spChg>
        <pc:spChg chg="mod">
          <ac:chgData name="Ying Yang" userId="f1527f9b-a873-4aa2-b225-cf8fd3466e0d" providerId="ADAL" clId="{A30A5C05-46CF-4F03-AB5B-503FD66274CE}" dt="2022-06-08T10:06:23.434" v="2767"/>
          <ac:spMkLst>
            <pc:docMk/>
            <pc:sldMk cId="2453307984" sldId="2145705748"/>
            <ac:spMk id="130" creationId="{8CDBDAEB-4255-4226-91D6-05D344A802F8}"/>
          </ac:spMkLst>
        </pc:spChg>
        <pc:spChg chg="mod">
          <ac:chgData name="Ying Yang" userId="f1527f9b-a873-4aa2-b225-cf8fd3466e0d" providerId="ADAL" clId="{A30A5C05-46CF-4F03-AB5B-503FD66274CE}" dt="2022-06-09T02:11:08.312" v="2851" actId="404"/>
          <ac:spMkLst>
            <pc:docMk/>
            <pc:sldMk cId="2453307984" sldId="2145705748"/>
            <ac:spMk id="131" creationId="{97A9C0CF-4599-464C-BF94-72141BE2D18C}"/>
          </ac:spMkLst>
        </pc:spChg>
        <pc:spChg chg="mod">
          <ac:chgData name="Ying Yang" userId="f1527f9b-a873-4aa2-b225-cf8fd3466e0d" providerId="ADAL" clId="{A30A5C05-46CF-4F03-AB5B-503FD66274CE}" dt="2022-06-08T10:06:23.434" v="2767"/>
          <ac:spMkLst>
            <pc:docMk/>
            <pc:sldMk cId="2453307984" sldId="2145705748"/>
            <ac:spMk id="135" creationId="{36006924-F887-492F-B0AC-C50B9E606754}"/>
          </ac:spMkLst>
        </pc:spChg>
        <pc:spChg chg="mod">
          <ac:chgData name="Ying Yang" userId="f1527f9b-a873-4aa2-b225-cf8fd3466e0d" providerId="ADAL" clId="{A30A5C05-46CF-4F03-AB5B-503FD66274CE}" dt="2022-06-08T10:06:23.434" v="2767"/>
          <ac:spMkLst>
            <pc:docMk/>
            <pc:sldMk cId="2453307984" sldId="2145705748"/>
            <ac:spMk id="136" creationId="{5EA144ED-519B-4766-B9BD-CC6B01C465F1}"/>
          </ac:spMkLst>
        </pc:spChg>
        <pc:spChg chg="mod">
          <ac:chgData name="Ying Yang" userId="f1527f9b-a873-4aa2-b225-cf8fd3466e0d" providerId="ADAL" clId="{A30A5C05-46CF-4F03-AB5B-503FD66274CE}" dt="2022-06-08T10:06:23.434" v="2767"/>
          <ac:spMkLst>
            <pc:docMk/>
            <pc:sldMk cId="2453307984" sldId="2145705748"/>
            <ac:spMk id="137" creationId="{977C647E-8B7E-488E-AD70-46B4B0E9EB6F}"/>
          </ac:spMkLst>
        </pc:spChg>
        <pc:spChg chg="mod">
          <ac:chgData name="Ying Yang" userId="f1527f9b-a873-4aa2-b225-cf8fd3466e0d" providerId="ADAL" clId="{A30A5C05-46CF-4F03-AB5B-503FD66274CE}" dt="2022-06-08T10:06:23.434" v="2767"/>
          <ac:spMkLst>
            <pc:docMk/>
            <pc:sldMk cId="2453307984" sldId="2145705748"/>
            <ac:spMk id="138" creationId="{29A0FE8E-04F0-4CA0-AD80-4293D87C8C11}"/>
          </ac:spMkLst>
        </pc:spChg>
        <pc:spChg chg="mod">
          <ac:chgData name="Ying Yang" userId="f1527f9b-a873-4aa2-b225-cf8fd3466e0d" providerId="ADAL" clId="{A30A5C05-46CF-4F03-AB5B-503FD66274CE}" dt="2022-06-08T10:06:23.434" v="2767"/>
          <ac:spMkLst>
            <pc:docMk/>
            <pc:sldMk cId="2453307984" sldId="2145705748"/>
            <ac:spMk id="139" creationId="{D81CC825-DBD8-4A15-BA4A-F48DE337E335}"/>
          </ac:spMkLst>
        </pc:spChg>
        <pc:spChg chg="mod">
          <ac:chgData name="Ying Yang" userId="f1527f9b-a873-4aa2-b225-cf8fd3466e0d" providerId="ADAL" clId="{A30A5C05-46CF-4F03-AB5B-503FD66274CE}" dt="2022-06-08T10:06:23.434" v="2767"/>
          <ac:spMkLst>
            <pc:docMk/>
            <pc:sldMk cId="2453307984" sldId="2145705748"/>
            <ac:spMk id="140" creationId="{EFC11102-C4F6-4F20-87BF-3CA45FFCF221}"/>
          </ac:spMkLst>
        </pc:spChg>
        <pc:spChg chg="mod">
          <ac:chgData name="Ying Yang" userId="f1527f9b-a873-4aa2-b225-cf8fd3466e0d" providerId="ADAL" clId="{A30A5C05-46CF-4F03-AB5B-503FD66274CE}" dt="2022-06-08T10:07:52.601" v="2803" actId="14100"/>
          <ac:spMkLst>
            <pc:docMk/>
            <pc:sldMk cId="2453307984" sldId="2145705748"/>
            <ac:spMk id="142" creationId="{5C5FE427-36E2-4AD0-A604-4ED26C8E1BAF}"/>
          </ac:spMkLst>
        </pc:spChg>
        <pc:spChg chg="mod">
          <ac:chgData name="Ying Yang" userId="f1527f9b-a873-4aa2-b225-cf8fd3466e0d" providerId="ADAL" clId="{A30A5C05-46CF-4F03-AB5B-503FD66274CE}" dt="2022-06-08T10:07:42.711" v="2798"/>
          <ac:spMkLst>
            <pc:docMk/>
            <pc:sldMk cId="2453307984" sldId="2145705748"/>
            <ac:spMk id="144" creationId="{493F66E9-D384-4E2E-B2C7-A7F52ECECA7A}"/>
          </ac:spMkLst>
        </pc:spChg>
        <pc:spChg chg="mod">
          <ac:chgData name="Ying Yang" userId="f1527f9b-a873-4aa2-b225-cf8fd3466e0d" providerId="ADAL" clId="{A30A5C05-46CF-4F03-AB5B-503FD66274CE}" dt="2022-06-08T10:07:28.229" v="2790"/>
          <ac:spMkLst>
            <pc:docMk/>
            <pc:sldMk cId="2453307984" sldId="2145705748"/>
            <ac:spMk id="145" creationId="{A35930D5-E4F0-44CE-9D62-8224FCF7A8FB}"/>
          </ac:spMkLst>
        </pc:spChg>
        <pc:spChg chg="mod">
          <ac:chgData name="Ying Yang" userId="f1527f9b-a873-4aa2-b225-cf8fd3466e0d" providerId="ADAL" clId="{A30A5C05-46CF-4F03-AB5B-503FD66274CE}" dt="2022-06-09T02:11:17.936" v="2857" actId="404"/>
          <ac:spMkLst>
            <pc:docMk/>
            <pc:sldMk cId="2453307984" sldId="2145705748"/>
            <ac:spMk id="146" creationId="{30F44661-60BF-490C-A152-14DE999F5588}"/>
          </ac:spMkLst>
        </pc:spChg>
        <pc:spChg chg="mod">
          <ac:chgData name="Ying Yang" userId="f1527f9b-a873-4aa2-b225-cf8fd3466e0d" providerId="ADAL" clId="{A30A5C05-46CF-4F03-AB5B-503FD66274CE}" dt="2022-06-08T10:07:28.229" v="2790"/>
          <ac:spMkLst>
            <pc:docMk/>
            <pc:sldMk cId="2453307984" sldId="2145705748"/>
            <ac:spMk id="150" creationId="{FE7A7550-0EFC-49AE-9613-7FFCD1BA516F}"/>
          </ac:spMkLst>
        </pc:spChg>
        <pc:spChg chg="mod">
          <ac:chgData name="Ying Yang" userId="f1527f9b-a873-4aa2-b225-cf8fd3466e0d" providerId="ADAL" clId="{A30A5C05-46CF-4F03-AB5B-503FD66274CE}" dt="2022-06-08T10:07:28.229" v="2790"/>
          <ac:spMkLst>
            <pc:docMk/>
            <pc:sldMk cId="2453307984" sldId="2145705748"/>
            <ac:spMk id="151" creationId="{8D0FF7BD-4E54-4E74-ACC7-4067A81E9559}"/>
          </ac:spMkLst>
        </pc:spChg>
        <pc:spChg chg="mod">
          <ac:chgData name="Ying Yang" userId="f1527f9b-a873-4aa2-b225-cf8fd3466e0d" providerId="ADAL" clId="{A30A5C05-46CF-4F03-AB5B-503FD66274CE}" dt="2022-06-08T10:07:28.229" v="2790"/>
          <ac:spMkLst>
            <pc:docMk/>
            <pc:sldMk cId="2453307984" sldId="2145705748"/>
            <ac:spMk id="152" creationId="{B27746FC-6D3C-4F6C-830F-08B779E62C12}"/>
          </ac:spMkLst>
        </pc:spChg>
        <pc:spChg chg="mod">
          <ac:chgData name="Ying Yang" userId="f1527f9b-a873-4aa2-b225-cf8fd3466e0d" providerId="ADAL" clId="{A30A5C05-46CF-4F03-AB5B-503FD66274CE}" dt="2022-06-08T10:07:28.229" v="2790"/>
          <ac:spMkLst>
            <pc:docMk/>
            <pc:sldMk cId="2453307984" sldId="2145705748"/>
            <ac:spMk id="153" creationId="{C5519C22-99BD-4F66-8C4A-62445E3DA343}"/>
          </ac:spMkLst>
        </pc:spChg>
        <pc:spChg chg="mod">
          <ac:chgData name="Ying Yang" userId="f1527f9b-a873-4aa2-b225-cf8fd3466e0d" providerId="ADAL" clId="{A30A5C05-46CF-4F03-AB5B-503FD66274CE}" dt="2022-06-08T10:07:28.229" v="2790"/>
          <ac:spMkLst>
            <pc:docMk/>
            <pc:sldMk cId="2453307984" sldId="2145705748"/>
            <ac:spMk id="154" creationId="{80481267-38CC-4793-8596-023B33633F20}"/>
          </ac:spMkLst>
        </pc:spChg>
        <pc:spChg chg="mod">
          <ac:chgData name="Ying Yang" userId="f1527f9b-a873-4aa2-b225-cf8fd3466e0d" providerId="ADAL" clId="{A30A5C05-46CF-4F03-AB5B-503FD66274CE}" dt="2022-06-08T10:07:28.229" v="2790"/>
          <ac:spMkLst>
            <pc:docMk/>
            <pc:sldMk cId="2453307984" sldId="2145705748"/>
            <ac:spMk id="155" creationId="{EBED6F81-949C-49E3-9B66-B30DD2EB515F}"/>
          </ac:spMkLst>
        </pc:spChg>
        <pc:grpChg chg="add mod">
          <ac:chgData name="Ying Yang" userId="f1527f9b-a873-4aa2-b225-cf8fd3466e0d" providerId="ADAL" clId="{A30A5C05-46CF-4F03-AB5B-503FD66274CE}" dt="2022-06-08T10:06:51.293" v="2777" actId="1076"/>
          <ac:grpSpMkLst>
            <pc:docMk/>
            <pc:sldMk cId="2453307984" sldId="2145705748"/>
            <ac:grpSpMk id="3" creationId="{DC37874C-8232-404A-A312-5A02BB9D4061}"/>
          </ac:grpSpMkLst>
        </pc:grpChg>
        <pc:grpChg chg="del">
          <ac:chgData name="Ying Yang" userId="f1527f9b-a873-4aa2-b225-cf8fd3466e0d" providerId="ADAL" clId="{A30A5C05-46CF-4F03-AB5B-503FD66274CE}" dt="2022-06-08T10:04:44.279" v="2743" actId="478"/>
          <ac:grpSpMkLst>
            <pc:docMk/>
            <pc:sldMk cId="2453307984" sldId="2145705748"/>
            <ac:grpSpMk id="10" creationId="{6E19E5A5-C02A-42FE-8A6A-3300D2E82851}"/>
          </ac:grpSpMkLst>
        </pc:grpChg>
        <pc:grpChg chg="mod">
          <ac:chgData name="Ying Yang" userId="f1527f9b-a873-4aa2-b225-cf8fd3466e0d" providerId="ADAL" clId="{A30A5C05-46CF-4F03-AB5B-503FD66274CE}" dt="2022-06-08T10:07:57.574" v="2804" actId="1076"/>
          <ac:grpSpMkLst>
            <pc:docMk/>
            <pc:sldMk cId="2453307984" sldId="2145705748"/>
            <ac:grpSpMk id="11" creationId="{835777C3-7480-4D14-A87E-A9664498F92D}"/>
          </ac:grpSpMkLst>
        </pc:grpChg>
        <pc:grpChg chg="del mod">
          <ac:chgData name="Ying Yang" userId="f1527f9b-a873-4aa2-b225-cf8fd3466e0d" providerId="ADAL" clId="{A30A5C05-46CF-4F03-AB5B-503FD66274CE}" dt="2022-06-08T10:05:28.314" v="2753" actId="478"/>
          <ac:grpSpMkLst>
            <pc:docMk/>
            <pc:sldMk cId="2453307984" sldId="2145705748"/>
            <ac:grpSpMk id="31" creationId="{41785589-7329-4587-9BC8-31B79CFF4CC8}"/>
          </ac:grpSpMkLst>
        </pc:grpChg>
        <pc:grpChg chg="del">
          <ac:chgData name="Ying Yang" userId="f1527f9b-a873-4aa2-b225-cf8fd3466e0d" providerId="ADAL" clId="{A30A5C05-46CF-4F03-AB5B-503FD66274CE}" dt="2022-06-08T10:06:33.743" v="2771" actId="478"/>
          <ac:grpSpMkLst>
            <pc:docMk/>
            <pc:sldMk cId="2453307984" sldId="2145705748"/>
            <ac:grpSpMk id="34" creationId="{FBC70C0D-7E2B-4AB9-9DE6-97E2243E482F}"/>
          </ac:grpSpMkLst>
        </pc:grpChg>
        <pc:grpChg chg="del">
          <ac:chgData name="Ying Yang" userId="f1527f9b-a873-4aa2-b225-cf8fd3466e0d" providerId="ADAL" clId="{A30A5C05-46CF-4F03-AB5B-503FD66274CE}" dt="2022-06-08T10:03:23.752" v="2719" actId="478"/>
          <ac:grpSpMkLst>
            <pc:docMk/>
            <pc:sldMk cId="2453307984" sldId="2145705748"/>
            <ac:grpSpMk id="37" creationId="{44BA05D2-3213-4782-8F22-06E735F1B16E}"/>
          </ac:grpSpMkLst>
        </pc:grpChg>
        <pc:grpChg chg="del mod">
          <ac:chgData name="Ying Yang" userId="f1527f9b-a873-4aa2-b225-cf8fd3466e0d" providerId="ADAL" clId="{A30A5C05-46CF-4F03-AB5B-503FD66274CE}" dt="2022-06-08T10:07:43.798" v="2799" actId="478"/>
          <ac:grpSpMkLst>
            <pc:docMk/>
            <pc:sldMk cId="2453307984" sldId="2145705748"/>
            <ac:grpSpMk id="40" creationId="{75BC67DC-66A0-4F11-9ACD-6CBDC8387FD1}"/>
          </ac:grpSpMkLst>
        </pc:grpChg>
        <pc:grpChg chg="mod">
          <ac:chgData name="Ying Yang" userId="f1527f9b-a873-4aa2-b225-cf8fd3466e0d" providerId="ADAL" clId="{A30A5C05-46CF-4F03-AB5B-503FD66274CE}" dt="2022-06-08T10:06:47.298" v="2776" actId="164"/>
          <ac:grpSpMkLst>
            <pc:docMk/>
            <pc:sldMk cId="2453307984" sldId="2145705748"/>
            <ac:grpSpMk id="44" creationId="{C2323B32-F045-4B94-961D-C277F7BE936E}"/>
          </ac:grpSpMkLst>
        </pc:grpChg>
        <pc:grpChg chg="mod">
          <ac:chgData name="Ying Yang" userId="f1527f9b-a873-4aa2-b225-cf8fd3466e0d" providerId="ADAL" clId="{A30A5C05-46CF-4F03-AB5B-503FD66274CE}" dt="2022-06-08T10:06:47.298" v="2776" actId="164"/>
          <ac:grpSpMkLst>
            <pc:docMk/>
            <pc:sldMk cId="2453307984" sldId="2145705748"/>
            <ac:grpSpMk id="45" creationId="{67B0E1A9-62A0-474E-A4A7-930342987425}"/>
          </ac:grpSpMkLst>
        </pc:grpChg>
        <pc:grpChg chg="mod">
          <ac:chgData name="Ying Yang" userId="f1527f9b-a873-4aa2-b225-cf8fd3466e0d" providerId="ADAL" clId="{A30A5C05-46CF-4F03-AB5B-503FD66274CE}" dt="2022-06-08T10:06:47.298" v="2776" actId="164"/>
          <ac:grpSpMkLst>
            <pc:docMk/>
            <pc:sldMk cId="2453307984" sldId="2145705748"/>
            <ac:grpSpMk id="46" creationId="{201B4F57-5C74-4359-9334-8A3A3B12A762}"/>
          </ac:grpSpMkLst>
        </pc:grpChg>
        <pc:grpChg chg="add mod">
          <ac:chgData name="Ying Yang" userId="f1527f9b-a873-4aa2-b225-cf8fd3466e0d" providerId="ADAL" clId="{A30A5C05-46CF-4F03-AB5B-503FD66274CE}" dt="2022-06-08T10:04:58.396" v="2747" actId="1076"/>
          <ac:grpSpMkLst>
            <pc:docMk/>
            <pc:sldMk cId="2453307984" sldId="2145705748"/>
            <ac:grpSpMk id="75" creationId="{51FA0C35-65D9-42EA-B7E5-69529F542092}"/>
          </ac:grpSpMkLst>
        </pc:grpChg>
        <pc:grpChg chg="mod">
          <ac:chgData name="Ying Yang" userId="f1527f9b-a873-4aa2-b225-cf8fd3466e0d" providerId="ADAL" clId="{A30A5C05-46CF-4F03-AB5B-503FD66274CE}" dt="2022-06-08T10:04:55.657" v="2746"/>
          <ac:grpSpMkLst>
            <pc:docMk/>
            <pc:sldMk cId="2453307984" sldId="2145705748"/>
            <ac:grpSpMk id="81" creationId="{361C8E13-5A5E-45EF-80BF-D3E6FFC96D29}"/>
          </ac:grpSpMkLst>
        </pc:grpChg>
        <pc:grpChg chg="mod">
          <ac:chgData name="Ying Yang" userId="f1527f9b-a873-4aa2-b225-cf8fd3466e0d" providerId="ADAL" clId="{A30A5C05-46CF-4F03-AB5B-503FD66274CE}" dt="2022-06-08T10:04:47.822" v="2744" actId="1076"/>
          <ac:grpSpMkLst>
            <pc:docMk/>
            <pc:sldMk cId="2453307984" sldId="2145705748"/>
            <ac:grpSpMk id="84" creationId="{92EC5F1A-5BF3-4AF1-BD07-F2AECC12FD9D}"/>
          </ac:grpSpMkLst>
        </pc:grpChg>
        <pc:grpChg chg="mod">
          <ac:chgData name="Ying Yang" userId="f1527f9b-a873-4aa2-b225-cf8fd3466e0d" providerId="ADAL" clId="{A30A5C05-46CF-4F03-AB5B-503FD66274CE}" dt="2022-06-08T10:04:55.657" v="2746"/>
          <ac:grpSpMkLst>
            <pc:docMk/>
            <pc:sldMk cId="2453307984" sldId="2145705748"/>
            <ac:grpSpMk id="102" creationId="{E8ECBC04-C8B2-4FD1-B411-EBC67D7CD489}"/>
          </ac:grpSpMkLst>
        </pc:grpChg>
        <pc:grpChg chg="mod">
          <ac:chgData name="Ying Yang" userId="f1527f9b-a873-4aa2-b225-cf8fd3466e0d" providerId="ADAL" clId="{A30A5C05-46CF-4F03-AB5B-503FD66274CE}" dt="2022-06-08T10:04:55.657" v="2746"/>
          <ac:grpSpMkLst>
            <pc:docMk/>
            <pc:sldMk cId="2453307984" sldId="2145705748"/>
            <ac:grpSpMk id="103" creationId="{E035A31D-BD43-4DD2-BC2A-687A18769775}"/>
          </ac:grpSpMkLst>
        </pc:grpChg>
        <pc:grpChg chg="mod">
          <ac:chgData name="Ying Yang" userId="f1527f9b-a873-4aa2-b225-cf8fd3466e0d" providerId="ADAL" clId="{A30A5C05-46CF-4F03-AB5B-503FD66274CE}" dt="2022-06-08T10:04:55.657" v="2746"/>
          <ac:grpSpMkLst>
            <pc:docMk/>
            <pc:sldMk cId="2453307984" sldId="2145705748"/>
            <ac:grpSpMk id="104" creationId="{FADE8385-F108-4235-9918-00936A2E2EE0}"/>
          </ac:grpSpMkLst>
        </pc:grpChg>
        <pc:grpChg chg="add mod">
          <ac:chgData name="Ying Yang" userId="f1527f9b-a873-4aa2-b225-cf8fd3466e0d" providerId="ADAL" clId="{A30A5C05-46CF-4F03-AB5B-503FD66274CE}" dt="2022-06-08T10:05:34.836" v="2755" actId="1076"/>
          <ac:grpSpMkLst>
            <pc:docMk/>
            <pc:sldMk cId="2453307984" sldId="2145705748"/>
            <ac:grpSpMk id="111" creationId="{85651D16-CC31-4A04-A461-F776CEF1AEA3}"/>
          </ac:grpSpMkLst>
        </pc:grpChg>
        <pc:grpChg chg="mod">
          <ac:chgData name="Ying Yang" userId="f1527f9b-a873-4aa2-b225-cf8fd3466e0d" providerId="ADAL" clId="{A30A5C05-46CF-4F03-AB5B-503FD66274CE}" dt="2022-06-08T10:05:32.076" v="2754"/>
          <ac:grpSpMkLst>
            <pc:docMk/>
            <pc:sldMk cId="2453307984" sldId="2145705748"/>
            <ac:grpSpMk id="113" creationId="{96DEE0BB-16BD-4C6F-8D9C-542C83EEF578}"/>
          </ac:grpSpMkLst>
        </pc:grpChg>
        <pc:grpChg chg="mod">
          <ac:chgData name="Ying Yang" userId="f1527f9b-a873-4aa2-b225-cf8fd3466e0d" providerId="ADAL" clId="{A30A5C05-46CF-4F03-AB5B-503FD66274CE}" dt="2022-06-08T10:05:32.076" v="2754"/>
          <ac:grpSpMkLst>
            <pc:docMk/>
            <pc:sldMk cId="2453307984" sldId="2145705748"/>
            <ac:grpSpMk id="117" creationId="{3DB9C5CD-B709-49BB-81BA-D0D188E97CD1}"/>
          </ac:grpSpMkLst>
        </pc:grpChg>
        <pc:grpChg chg="mod">
          <ac:chgData name="Ying Yang" userId="f1527f9b-a873-4aa2-b225-cf8fd3466e0d" providerId="ADAL" clId="{A30A5C05-46CF-4F03-AB5B-503FD66274CE}" dt="2022-06-08T10:05:32.076" v="2754"/>
          <ac:grpSpMkLst>
            <pc:docMk/>
            <pc:sldMk cId="2453307984" sldId="2145705748"/>
            <ac:grpSpMk id="118" creationId="{70EC5D13-E4B0-4360-BDEB-999214079796}"/>
          </ac:grpSpMkLst>
        </pc:grpChg>
        <pc:grpChg chg="mod">
          <ac:chgData name="Ying Yang" userId="f1527f9b-a873-4aa2-b225-cf8fd3466e0d" providerId="ADAL" clId="{A30A5C05-46CF-4F03-AB5B-503FD66274CE}" dt="2022-06-08T10:05:32.076" v="2754"/>
          <ac:grpSpMkLst>
            <pc:docMk/>
            <pc:sldMk cId="2453307984" sldId="2145705748"/>
            <ac:grpSpMk id="119" creationId="{C53029AA-2FFC-4A82-9300-CD27E154800E}"/>
          </ac:grpSpMkLst>
        </pc:grpChg>
        <pc:grpChg chg="add mod ord">
          <ac:chgData name="Ying Yang" userId="f1527f9b-a873-4aa2-b225-cf8fd3466e0d" providerId="ADAL" clId="{A30A5C05-46CF-4F03-AB5B-503FD66274CE}" dt="2022-06-08T10:06:38.077" v="2773" actId="167"/>
          <ac:grpSpMkLst>
            <pc:docMk/>
            <pc:sldMk cId="2453307984" sldId="2145705748"/>
            <ac:grpSpMk id="126" creationId="{D3E14BEF-0931-4135-A172-E2DCFDF3EA18}"/>
          </ac:grpSpMkLst>
        </pc:grpChg>
        <pc:grpChg chg="mod">
          <ac:chgData name="Ying Yang" userId="f1527f9b-a873-4aa2-b225-cf8fd3466e0d" providerId="ADAL" clId="{A30A5C05-46CF-4F03-AB5B-503FD66274CE}" dt="2022-06-08T10:06:23.434" v="2767"/>
          <ac:grpSpMkLst>
            <pc:docMk/>
            <pc:sldMk cId="2453307984" sldId="2145705748"/>
            <ac:grpSpMk id="128" creationId="{6CD3CA13-58D2-43C8-9061-6CC392D89594}"/>
          </ac:grpSpMkLst>
        </pc:grpChg>
        <pc:grpChg chg="mod">
          <ac:chgData name="Ying Yang" userId="f1527f9b-a873-4aa2-b225-cf8fd3466e0d" providerId="ADAL" clId="{A30A5C05-46CF-4F03-AB5B-503FD66274CE}" dt="2022-06-08T10:06:23.434" v="2767"/>
          <ac:grpSpMkLst>
            <pc:docMk/>
            <pc:sldMk cId="2453307984" sldId="2145705748"/>
            <ac:grpSpMk id="132" creationId="{B9EEB8C6-6C8C-4D68-8AE6-B5218453AEA7}"/>
          </ac:grpSpMkLst>
        </pc:grpChg>
        <pc:grpChg chg="mod">
          <ac:chgData name="Ying Yang" userId="f1527f9b-a873-4aa2-b225-cf8fd3466e0d" providerId="ADAL" clId="{A30A5C05-46CF-4F03-AB5B-503FD66274CE}" dt="2022-06-08T10:06:23.434" v="2767"/>
          <ac:grpSpMkLst>
            <pc:docMk/>
            <pc:sldMk cId="2453307984" sldId="2145705748"/>
            <ac:grpSpMk id="133" creationId="{E5E9C3B7-AACF-4443-8CB1-474B9430180B}"/>
          </ac:grpSpMkLst>
        </pc:grpChg>
        <pc:grpChg chg="mod">
          <ac:chgData name="Ying Yang" userId="f1527f9b-a873-4aa2-b225-cf8fd3466e0d" providerId="ADAL" clId="{A30A5C05-46CF-4F03-AB5B-503FD66274CE}" dt="2022-06-08T10:06:23.434" v="2767"/>
          <ac:grpSpMkLst>
            <pc:docMk/>
            <pc:sldMk cId="2453307984" sldId="2145705748"/>
            <ac:grpSpMk id="134" creationId="{E49899C9-B848-448C-8D6B-2A46E9B75A46}"/>
          </ac:grpSpMkLst>
        </pc:grpChg>
        <pc:grpChg chg="add mod">
          <ac:chgData name="Ying Yang" userId="f1527f9b-a873-4aa2-b225-cf8fd3466e0d" providerId="ADAL" clId="{A30A5C05-46CF-4F03-AB5B-503FD66274CE}" dt="2022-06-08T10:07:49.895" v="2802" actId="14100"/>
          <ac:grpSpMkLst>
            <pc:docMk/>
            <pc:sldMk cId="2453307984" sldId="2145705748"/>
            <ac:grpSpMk id="141" creationId="{FF92120D-6106-49B1-8D74-16F069C75A68}"/>
          </ac:grpSpMkLst>
        </pc:grpChg>
        <pc:grpChg chg="mod">
          <ac:chgData name="Ying Yang" userId="f1527f9b-a873-4aa2-b225-cf8fd3466e0d" providerId="ADAL" clId="{A30A5C05-46CF-4F03-AB5B-503FD66274CE}" dt="2022-06-08T10:07:28.229" v="2790"/>
          <ac:grpSpMkLst>
            <pc:docMk/>
            <pc:sldMk cId="2453307984" sldId="2145705748"/>
            <ac:grpSpMk id="143" creationId="{AD376A0A-0BEA-47FC-91E0-46A130D2A04F}"/>
          </ac:grpSpMkLst>
        </pc:grpChg>
        <pc:grpChg chg="mod">
          <ac:chgData name="Ying Yang" userId="f1527f9b-a873-4aa2-b225-cf8fd3466e0d" providerId="ADAL" clId="{A30A5C05-46CF-4F03-AB5B-503FD66274CE}" dt="2022-06-08T10:07:28.229" v="2790"/>
          <ac:grpSpMkLst>
            <pc:docMk/>
            <pc:sldMk cId="2453307984" sldId="2145705748"/>
            <ac:grpSpMk id="147" creationId="{5CAF18C9-E26B-450E-B002-7274A28470C4}"/>
          </ac:grpSpMkLst>
        </pc:grpChg>
        <pc:grpChg chg="mod">
          <ac:chgData name="Ying Yang" userId="f1527f9b-a873-4aa2-b225-cf8fd3466e0d" providerId="ADAL" clId="{A30A5C05-46CF-4F03-AB5B-503FD66274CE}" dt="2022-06-08T10:07:28.229" v="2790"/>
          <ac:grpSpMkLst>
            <pc:docMk/>
            <pc:sldMk cId="2453307984" sldId="2145705748"/>
            <ac:grpSpMk id="148" creationId="{0E4F127F-76EA-444C-AC2D-B8DF115995C1}"/>
          </ac:grpSpMkLst>
        </pc:grpChg>
        <pc:grpChg chg="mod">
          <ac:chgData name="Ying Yang" userId="f1527f9b-a873-4aa2-b225-cf8fd3466e0d" providerId="ADAL" clId="{A30A5C05-46CF-4F03-AB5B-503FD66274CE}" dt="2022-06-08T10:07:28.229" v="2790"/>
          <ac:grpSpMkLst>
            <pc:docMk/>
            <pc:sldMk cId="2453307984" sldId="2145705748"/>
            <ac:grpSpMk id="149" creationId="{A456CAA9-33FF-4E5B-90C0-1FD3215843CF}"/>
          </ac:grpSpMkLst>
        </pc:grpChg>
      </pc:sldChg>
      <pc:sldChg chg="addSp delSp modSp add mod modNotesTx">
        <pc:chgData name="Ying Yang" userId="f1527f9b-a873-4aa2-b225-cf8fd3466e0d" providerId="ADAL" clId="{A30A5C05-46CF-4F03-AB5B-503FD66274CE}" dt="2022-06-13T08:39:23.568" v="5017" actId="1076"/>
        <pc:sldMkLst>
          <pc:docMk/>
          <pc:sldMk cId="696217983" sldId="2145705749"/>
        </pc:sldMkLst>
        <pc:spChg chg="add del mod">
          <ac:chgData name="Ying Yang" userId="f1527f9b-a873-4aa2-b225-cf8fd3466e0d" providerId="ADAL" clId="{A30A5C05-46CF-4F03-AB5B-503FD66274CE}" dt="2022-06-09T02:45:31.978" v="3448" actId="767"/>
          <ac:spMkLst>
            <pc:docMk/>
            <pc:sldMk cId="696217983" sldId="2145705749"/>
            <ac:spMk id="16" creationId="{C038794F-CB35-436E-9924-29F331D7AEA8}"/>
          </ac:spMkLst>
        </pc:spChg>
        <pc:spChg chg="add mod ord">
          <ac:chgData name="Ying Yang" userId="f1527f9b-a873-4aa2-b225-cf8fd3466e0d" providerId="ADAL" clId="{A30A5C05-46CF-4F03-AB5B-503FD66274CE}" dt="2022-06-09T03:26:27.296" v="4084" actId="339"/>
          <ac:spMkLst>
            <pc:docMk/>
            <pc:sldMk cId="696217983" sldId="2145705749"/>
            <ac:spMk id="21" creationId="{92A6D8F9-4A8B-4488-B80A-B4BBB26906DE}"/>
          </ac:spMkLst>
        </pc:spChg>
        <pc:spChg chg="add del mod">
          <ac:chgData name="Ying Yang" userId="f1527f9b-a873-4aa2-b225-cf8fd3466e0d" providerId="ADAL" clId="{A30A5C05-46CF-4F03-AB5B-503FD66274CE}" dt="2022-06-09T02:55:16.893" v="3621" actId="478"/>
          <ac:spMkLst>
            <pc:docMk/>
            <pc:sldMk cId="696217983" sldId="2145705749"/>
            <ac:spMk id="22" creationId="{C65A939E-69B1-4D25-BFDD-DEABD51DCCD9}"/>
          </ac:spMkLst>
        </pc:spChg>
        <pc:spChg chg="del mod">
          <ac:chgData name="Ying Yang" userId="f1527f9b-a873-4aa2-b225-cf8fd3466e0d" providerId="ADAL" clId="{A30A5C05-46CF-4F03-AB5B-503FD66274CE}" dt="2022-06-09T02:14:49.925" v="2950" actId="478"/>
          <ac:spMkLst>
            <pc:docMk/>
            <pc:sldMk cId="696217983" sldId="2145705749"/>
            <ac:spMk id="61" creationId="{5FD5F2DC-5621-48EF-9287-F94F0B976095}"/>
          </ac:spMkLst>
        </pc:spChg>
        <pc:spChg chg="add mod">
          <ac:chgData name="Ying Yang" userId="f1527f9b-a873-4aa2-b225-cf8fd3466e0d" providerId="ADAL" clId="{A30A5C05-46CF-4F03-AB5B-503FD66274CE}" dt="2022-06-09T02:22:38.845" v="3186" actId="164"/>
          <ac:spMkLst>
            <pc:docMk/>
            <pc:sldMk cId="696217983" sldId="2145705749"/>
            <ac:spMk id="64" creationId="{43586F6A-6F0A-4C5D-87A7-7D89524C9FD8}"/>
          </ac:spMkLst>
        </pc:spChg>
        <pc:spChg chg="mod topLvl">
          <ac:chgData name="Ying Yang" userId="f1527f9b-a873-4aa2-b225-cf8fd3466e0d" providerId="ADAL" clId="{A30A5C05-46CF-4F03-AB5B-503FD66274CE}" dt="2022-06-09T02:24:54.879" v="3201" actId="1076"/>
          <ac:spMkLst>
            <pc:docMk/>
            <pc:sldMk cId="696217983" sldId="2145705749"/>
            <ac:spMk id="66" creationId="{C5B2C0FB-DD7E-4BBF-8FCE-22CE2BB71C99}"/>
          </ac:spMkLst>
        </pc:spChg>
        <pc:spChg chg="del mod topLvl">
          <ac:chgData name="Ying Yang" userId="f1527f9b-a873-4aa2-b225-cf8fd3466e0d" providerId="ADAL" clId="{A30A5C05-46CF-4F03-AB5B-503FD66274CE}" dt="2022-06-09T02:16:15.422" v="2964" actId="478"/>
          <ac:spMkLst>
            <pc:docMk/>
            <pc:sldMk cId="696217983" sldId="2145705749"/>
            <ac:spMk id="67" creationId="{E55E8FE2-5CBC-4E15-87FD-20D3772DE456}"/>
          </ac:spMkLst>
        </pc:spChg>
        <pc:spChg chg="mod">
          <ac:chgData name="Ying Yang" userId="f1527f9b-a873-4aa2-b225-cf8fd3466e0d" providerId="ADAL" clId="{A30A5C05-46CF-4F03-AB5B-503FD66274CE}" dt="2022-06-09T02:15:59.937" v="2961"/>
          <ac:spMkLst>
            <pc:docMk/>
            <pc:sldMk cId="696217983" sldId="2145705749"/>
            <ac:spMk id="69" creationId="{207E1785-8BFD-4601-8779-3F92A5EC0138}"/>
          </ac:spMkLst>
        </pc:spChg>
        <pc:spChg chg="mod">
          <ac:chgData name="Ying Yang" userId="f1527f9b-a873-4aa2-b225-cf8fd3466e0d" providerId="ADAL" clId="{A30A5C05-46CF-4F03-AB5B-503FD66274CE}" dt="2022-06-09T02:42:12.863" v="3413" actId="404"/>
          <ac:spMkLst>
            <pc:docMk/>
            <pc:sldMk cId="696217983" sldId="2145705749"/>
            <ac:spMk id="70" creationId="{2ECD6BBB-6BDB-44E0-9D14-5C51EEE89CA7}"/>
          </ac:spMkLst>
        </pc:spChg>
        <pc:spChg chg="mod">
          <ac:chgData name="Ying Yang" userId="f1527f9b-a873-4aa2-b225-cf8fd3466e0d" providerId="ADAL" clId="{A30A5C05-46CF-4F03-AB5B-503FD66274CE}" dt="2022-06-09T02:15:59.937" v="2961"/>
          <ac:spMkLst>
            <pc:docMk/>
            <pc:sldMk cId="696217983" sldId="2145705749"/>
            <ac:spMk id="72" creationId="{7017ED09-A73C-485A-A60C-A05F8D8D501A}"/>
          </ac:spMkLst>
        </pc:spChg>
        <pc:spChg chg="mod">
          <ac:chgData name="Ying Yang" userId="f1527f9b-a873-4aa2-b225-cf8fd3466e0d" providerId="ADAL" clId="{A30A5C05-46CF-4F03-AB5B-503FD66274CE}" dt="2022-06-09T02:42:17.668" v="3414" actId="108"/>
          <ac:spMkLst>
            <pc:docMk/>
            <pc:sldMk cId="696217983" sldId="2145705749"/>
            <ac:spMk id="73" creationId="{107BDB56-A3B8-4A70-9B5A-0AAE3EA3B4A8}"/>
          </ac:spMkLst>
        </pc:spChg>
        <pc:spChg chg="mod">
          <ac:chgData name="Ying Yang" userId="f1527f9b-a873-4aa2-b225-cf8fd3466e0d" providerId="ADAL" clId="{A30A5C05-46CF-4F03-AB5B-503FD66274CE}" dt="2022-06-09T02:15:59.937" v="2961"/>
          <ac:spMkLst>
            <pc:docMk/>
            <pc:sldMk cId="696217983" sldId="2145705749"/>
            <ac:spMk id="75" creationId="{03F8A9FC-5911-4ED6-B497-ECEFCFBD055E}"/>
          </ac:spMkLst>
        </pc:spChg>
        <pc:spChg chg="mod">
          <ac:chgData name="Ying Yang" userId="f1527f9b-a873-4aa2-b225-cf8fd3466e0d" providerId="ADAL" clId="{A30A5C05-46CF-4F03-AB5B-503FD66274CE}" dt="2022-06-09T02:42:20.178" v="3415" actId="108"/>
          <ac:spMkLst>
            <pc:docMk/>
            <pc:sldMk cId="696217983" sldId="2145705749"/>
            <ac:spMk id="76" creationId="{2B92B98C-BEEF-4DF4-AB91-CE7766799B92}"/>
          </ac:spMkLst>
        </pc:spChg>
        <pc:spChg chg="mod">
          <ac:chgData name="Ying Yang" userId="f1527f9b-a873-4aa2-b225-cf8fd3466e0d" providerId="ADAL" clId="{A30A5C05-46CF-4F03-AB5B-503FD66274CE}" dt="2022-06-09T02:15:59.937" v="2961"/>
          <ac:spMkLst>
            <pc:docMk/>
            <pc:sldMk cId="696217983" sldId="2145705749"/>
            <ac:spMk id="78" creationId="{BF4A3351-0E55-4E96-8A4F-78283C484821}"/>
          </ac:spMkLst>
        </pc:spChg>
        <pc:spChg chg="mod">
          <ac:chgData name="Ying Yang" userId="f1527f9b-a873-4aa2-b225-cf8fd3466e0d" providerId="ADAL" clId="{A30A5C05-46CF-4F03-AB5B-503FD66274CE}" dt="2022-06-09T03:26:53.513" v="4093" actId="255"/>
          <ac:spMkLst>
            <pc:docMk/>
            <pc:sldMk cId="696217983" sldId="2145705749"/>
            <ac:spMk id="79" creationId="{01BD58FA-E87A-4C0F-ACEB-3B9B7C852C99}"/>
          </ac:spMkLst>
        </pc:spChg>
        <pc:spChg chg="mod">
          <ac:chgData name="Ying Yang" userId="f1527f9b-a873-4aa2-b225-cf8fd3466e0d" providerId="ADAL" clId="{A30A5C05-46CF-4F03-AB5B-503FD66274CE}" dt="2022-06-09T02:59:50.116" v="3675" actId="1076"/>
          <ac:spMkLst>
            <pc:docMk/>
            <pc:sldMk cId="696217983" sldId="2145705749"/>
            <ac:spMk id="85" creationId="{EB6713F3-B78E-4C7E-B993-3DFFDF761F87}"/>
          </ac:spMkLst>
        </pc:spChg>
        <pc:spChg chg="mod">
          <ac:chgData name="Ying Yang" userId="f1527f9b-a873-4aa2-b225-cf8fd3466e0d" providerId="ADAL" clId="{A30A5C05-46CF-4F03-AB5B-503FD66274CE}" dt="2022-06-09T02:59:50.116" v="3675" actId="1076"/>
          <ac:spMkLst>
            <pc:docMk/>
            <pc:sldMk cId="696217983" sldId="2145705749"/>
            <ac:spMk id="86" creationId="{C4223B1F-1259-4E95-BC15-82A03269518D}"/>
          </ac:spMkLst>
        </pc:spChg>
        <pc:spChg chg="add del mod">
          <ac:chgData name="Ying Yang" userId="f1527f9b-a873-4aa2-b225-cf8fd3466e0d" providerId="ADAL" clId="{A30A5C05-46CF-4F03-AB5B-503FD66274CE}" dt="2022-06-09T02:35:22.366" v="3301" actId="478"/>
          <ac:spMkLst>
            <pc:docMk/>
            <pc:sldMk cId="696217983" sldId="2145705749"/>
            <ac:spMk id="87" creationId="{886FF54E-E56A-49FC-B916-21A8DBA7EF76}"/>
          </ac:spMkLst>
        </pc:spChg>
        <pc:spChg chg="mod">
          <ac:chgData name="Ying Yang" userId="f1527f9b-a873-4aa2-b225-cf8fd3466e0d" providerId="ADAL" clId="{A30A5C05-46CF-4F03-AB5B-503FD66274CE}" dt="2022-06-09T03:24:55.160" v="4075" actId="113"/>
          <ac:spMkLst>
            <pc:docMk/>
            <pc:sldMk cId="696217983" sldId="2145705749"/>
            <ac:spMk id="92" creationId="{DA1A959C-52D7-4FFB-95F8-F007237FB13E}"/>
          </ac:spMkLst>
        </pc:spChg>
        <pc:spChg chg="mod">
          <ac:chgData name="Ying Yang" userId="f1527f9b-a873-4aa2-b225-cf8fd3466e0d" providerId="ADAL" clId="{A30A5C05-46CF-4F03-AB5B-503FD66274CE}" dt="2022-06-09T02:35:28.962" v="3302"/>
          <ac:spMkLst>
            <pc:docMk/>
            <pc:sldMk cId="696217983" sldId="2145705749"/>
            <ac:spMk id="95" creationId="{37670C23-DE49-4A65-AA7D-B176C885C738}"/>
          </ac:spMkLst>
        </pc:spChg>
        <pc:spChg chg="mod">
          <ac:chgData name="Ying Yang" userId="f1527f9b-a873-4aa2-b225-cf8fd3466e0d" providerId="ADAL" clId="{A30A5C05-46CF-4F03-AB5B-503FD66274CE}" dt="2022-06-09T02:35:28.962" v="3302"/>
          <ac:spMkLst>
            <pc:docMk/>
            <pc:sldMk cId="696217983" sldId="2145705749"/>
            <ac:spMk id="114" creationId="{14C16477-A421-4A3D-B212-3CB46A6D7017}"/>
          </ac:spMkLst>
        </pc:spChg>
        <pc:spChg chg="mod">
          <ac:chgData name="Ying Yang" userId="f1527f9b-a873-4aa2-b225-cf8fd3466e0d" providerId="ADAL" clId="{A30A5C05-46CF-4F03-AB5B-503FD66274CE}" dt="2022-06-09T02:35:28.962" v="3302"/>
          <ac:spMkLst>
            <pc:docMk/>
            <pc:sldMk cId="696217983" sldId="2145705749"/>
            <ac:spMk id="118" creationId="{DEE9E9F5-9DDB-48A7-95BF-1E36EADFA10E}"/>
          </ac:spMkLst>
        </pc:spChg>
        <pc:spChg chg="mod">
          <ac:chgData name="Ying Yang" userId="f1527f9b-a873-4aa2-b225-cf8fd3466e0d" providerId="ADAL" clId="{A30A5C05-46CF-4F03-AB5B-503FD66274CE}" dt="2022-06-09T02:36:42.949" v="3339"/>
          <ac:spMkLst>
            <pc:docMk/>
            <pc:sldMk cId="696217983" sldId="2145705749"/>
            <ac:spMk id="122" creationId="{85E6FC0D-A65C-4D3B-B0A8-A019F3A655B7}"/>
          </ac:spMkLst>
        </pc:spChg>
        <pc:spChg chg="mod">
          <ac:chgData name="Ying Yang" userId="f1527f9b-a873-4aa2-b225-cf8fd3466e0d" providerId="ADAL" clId="{A30A5C05-46CF-4F03-AB5B-503FD66274CE}" dt="2022-06-09T02:36:42.949" v="3339"/>
          <ac:spMkLst>
            <pc:docMk/>
            <pc:sldMk cId="696217983" sldId="2145705749"/>
            <ac:spMk id="123" creationId="{D885D78E-A98E-4252-A7CD-CDC1E76E0D62}"/>
          </ac:spMkLst>
        </pc:spChg>
        <pc:spChg chg="mod">
          <ac:chgData name="Ying Yang" userId="f1527f9b-a873-4aa2-b225-cf8fd3466e0d" providerId="ADAL" clId="{A30A5C05-46CF-4F03-AB5B-503FD66274CE}" dt="2022-06-09T02:36:42.949" v="3339"/>
          <ac:spMkLst>
            <pc:docMk/>
            <pc:sldMk cId="696217983" sldId="2145705749"/>
            <ac:spMk id="124" creationId="{72370210-3510-4D36-9F29-FC2EC5E35B97}"/>
          </ac:spMkLst>
        </pc:spChg>
        <pc:spChg chg="mod">
          <ac:chgData name="Ying Yang" userId="f1527f9b-a873-4aa2-b225-cf8fd3466e0d" providerId="ADAL" clId="{A30A5C05-46CF-4F03-AB5B-503FD66274CE}" dt="2022-06-09T02:36:42.949" v="3339"/>
          <ac:spMkLst>
            <pc:docMk/>
            <pc:sldMk cId="696217983" sldId="2145705749"/>
            <ac:spMk id="125" creationId="{3FE77F72-2193-4765-A5CB-97954B9F9AE1}"/>
          </ac:spMkLst>
        </pc:spChg>
        <pc:spChg chg="mod">
          <ac:chgData name="Ying Yang" userId="f1527f9b-a873-4aa2-b225-cf8fd3466e0d" providerId="ADAL" clId="{A30A5C05-46CF-4F03-AB5B-503FD66274CE}" dt="2022-06-09T02:36:42.949" v="3339"/>
          <ac:spMkLst>
            <pc:docMk/>
            <pc:sldMk cId="696217983" sldId="2145705749"/>
            <ac:spMk id="126" creationId="{77C48211-3B0E-4818-AFA2-349A91FFC7F0}"/>
          </ac:spMkLst>
        </pc:spChg>
        <pc:spChg chg="mod">
          <ac:chgData name="Ying Yang" userId="f1527f9b-a873-4aa2-b225-cf8fd3466e0d" providerId="ADAL" clId="{A30A5C05-46CF-4F03-AB5B-503FD66274CE}" dt="2022-06-09T02:36:42.949" v="3339"/>
          <ac:spMkLst>
            <pc:docMk/>
            <pc:sldMk cId="696217983" sldId="2145705749"/>
            <ac:spMk id="127" creationId="{F0513EA2-4F02-40AF-81A3-CB30D7A3B119}"/>
          </ac:spMkLst>
        </pc:spChg>
        <pc:spChg chg="mod">
          <ac:chgData name="Ying Yang" userId="f1527f9b-a873-4aa2-b225-cf8fd3466e0d" providerId="ADAL" clId="{A30A5C05-46CF-4F03-AB5B-503FD66274CE}" dt="2022-06-09T02:36:42.949" v="3339"/>
          <ac:spMkLst>
            <pc:docMk/>
            <pc:sldMk cId="696217983" sldId="2145705749"/>
            <ac:spMk id="128" creationId="{06A37E68-952E-40A6-A597-1739AF193281}"/>
          </ac:spMkLst>
        </pc:spChg>
        <pc:spChg chg="mod">
          <ac:chgData name="Ying Yang" userId="f1527f9b-a873-4aa2-b225-cf8fd3466e0d" providerId="ADAL" clId="{A30A5C05-46CF-4F03-AB5B-503FD66274CE}" dt="2022-06-09T02:36:42.949" v="3339"/>
          <ac:spMkLst>
            <pc:docMk/>
            <pc:sldMk cId="696217983" sldId="2145705749"/>
            <ac:spMk id="129" creationId="{5EF996C4-9785-403D-8544-D774DCA6E41E}"/>
          </ac:spMkLst>
        </pc:spChg>
        <pc:spChg chg="mod topLvl">
          <ac:chgData name="Ying Yang" userId="f1527f9b-a873-4aa2-b225-cf8fd3466e0d" providerId="ADAL" clId="{A30A5C05-46CF-4F03-AB5B-503FD66274CE}" dt="2022-06-09T02:59:59.357" v="3676" actId="1076"/>
          <ac:spMkLst>
            <pc:docMk/>
            <pc:sldMk cId="696217983" sldId="2145705749"/>
            <ac:spMk id="138" creationId="{694B7D07-8C9E-40DC-A8AF-0742311F74AE}"/>
          </ac:spMkLst>
        </pc:spChg>
        <pc:spChg chg="mod topLvl">
          <ac:chgData name="Ying Yang" userId="f1527f9b-a873-4aa2-b225-cf8fd3466e0d" providerId="ADAL" clId="{A30A5C05-46CF-4F03-AB5B-503FD66274CE}" dt="2022-06-09T02:59:59.357" v="3676" actId="1076"/>
          <ac:spMkLst>
            <pc:docMk/>
            <pc:sldMk cId="696217983" sldId="2145705749"/>
            <ac:spMk id="140" creationId="{2DFF3BEA-A77A-4CD0-9685-A4CF8D0D4828}"/>
          </ac:spMkLst>
        </pc:spChg>
        <pc:spChg chg="mod topLvl">
          <ac:chgData name="Ying Yang" userId="f1527f9b-a873-4aa2-b225-cf8fd3466e0d" providerId="ADAL" clId="{A30A5C05-46CF-4F03-AB5B-503FD66274CE}" dt="2022-06-09T03:00:05.412" v="3677" actId="1076"/>
          <ac:spMkLst>
            <pc:docMk/>
            <pc:sldMk cId="696217983" sldId="2145705749"/>
            <ac:spMk id="142" creationId="{33B0CD60-6715-4CC2-9388-96C77B989C4C}"/>
          </ac:spMkLst>
        </pc:spChg>
        <pc:spChg chg="del">
          <ac:chgData name="Ying Yang" userId="f1527f9b-a873-4aa2-b225-cf8fd3466e0d" providerId="ADAL" clId="{A30A5C05-46CF-4F03-AB5B-503FD66274CE}" dt="2022-06-09T02:14:49.006" v="2949" actId="478"/>
          <ac:spMkLst>
            <pc:docMk/>
            <pc:sldMk cId="696217983" sldId="2145705749"/>
            <ac:spMk id="145" creationId="{453CE3A9-7BE1-43CE-B709-570E0C0DDA89}"/>
          </ac:spMkLst>
        </pc:spChg>
        <pc:spChg chg="del">
          <ac:chgData name="Ying Yang" userId="f1527f9b-a873-4aa2-b225-cf8fd3466e0d" providerId="ADAL" clId="{A30A5C05-46CF-4F03-AB5B-503FD66274CE}" dt="2022-06-09T02:14:49.006" v="2949" actId="478"/>
          <ac:spMkLst>
            <pc:docMk/>
            <pc:sldMk cId="696217983" sldId="2145705749"/>
            <ac:spMk id="146" creationId="{E2835BDD-6E6E-4C3F-9FA7-8C4063B401C7}"/>
          </ac:spMkLst>
        </pc:spChg>
        <pc:spChg chg="del">
          <ac:chgData name="Ying Yang" userId="f1527f9b-a873-4aa2-b225-cf8fd3466e0d" providerId="ADAL" clId="{A30A5C05-46CF-4F03-AB5B-503FD66274CE}" dt="2022-06-09T02:14:49.006" v="2949" actId="478"/>
          <ac:spMkLst>
            <pc:docMk/>
            <pc:sldMk cId="696217983" sldId="2145705749"/>
            <ac:spMk id="147" creationId="{89FE1198-D02E-4985-9264-481942239519}"/>
          </ac:spMkLst>
        </pc:spChg>
        <pc:spChg chg="del">
          <ac:chgData name="Ying Yang" userId="f1527f9b-a873-4aa2-b225-cf8fd3466e0d" providerId="ADAL" clId="{A30A5C05-46CF-4F03-AB5B-503FD66274CE}" dt="2022-06-09T02:14:49.006" v="2949" actId="478"/>
          <ac:spMkLst>
            <pc:docMk/>
            <pc:sldMk cId="696217983" sldId="2145705749"/>
            <ac:spMk id="148" creationId="{970FEEF1-9962-47C5-8655-1796C6113DEF}"/>
          </ac:spMkLst>
        </pc:spChg>
        <pc:spChg chg="mod topLvl">
          <ac:chgData name="Ying Yang" userId="f1527f9b-a873-4aa2-b225-cf8fd3466e0d" providerId="ADAL" clId="{A30A5C05-46CF-4F03-AB5B-503FD66274CE}" dt="2022-06-09T03:00:05.412" v="3677" actId="1076"/>
          <ac:spMkLst>
            <pc:docMk/>
            <pc:sldMk cId="696217983" sldId="2145705749"/>
            <ac:spMk id="151" creationId="{90049B87-09FA-46EB-9F74-94206CFD73CB}"/>
          </ac:spMkLst>
        </pc:spChg>
        <pc:spChg chg="mod">
          <ac:chgData name="Ying Yang" userId="f1527f9b-a873-4aa2-b225-cf8fd3466e0d" providerId="ADAL" clId="{A30A5C05-46CF-4F03-AB5B-503FD66274CE}" dt="2022-06-09T02:59:46.541" v="3674" actId="14100"/>
          <ac:spMkLst>
            <pc:docMk/>
            <pc:sldMk cId="696217983" sldId="2145705749"/>
            <ac:spMk id="152" creationId="{EAEC96B9-3FDD-4343-A294-248C74FBBFF0}"/>
          </ac:spMkLst>
        </pc:spChg>
        <pc:spChg chg="mod">
          <ac:chgData name="Ying Yang" userId="f1527f9b-a873-4aa2-b225-cf8fd3466e0d" providerId="ADAL" clId="{A30A5C05-46CF-4F03-AB5B-503FD66274CE}" dt="2022-06-09T03:02:19.044" v="3703" actId="207"/>
          <ac:spMkLst>
            <pc:docMk/>
            <pc:sldMk cId="696217983" sldId="2145705749"/>
            <ac:spMk id="153" creationId="{64DFED30-DE63-41B0-800F-10CC3C307B23}"/>
          </ac:spMkLst>
        </pc:spChg>
        <pc:spChg chg="mod">
          <ac:chgData name="Ying Yang" userId="f1527f9b-a873-4aa2-b225-cf8fd3466e0d" providerId="ADAL" clId="{A30A5C05-46CF-4F03-AB5B-503FD66274CE}" dt="2022-06-09T02:59:46.541" v="3674" actId="14100"/>
          <ac:spMkLst>
            <pc:docMk/>
            <pc:sldMk cId="696217983" sldId="2145705749"/>
            <ac:spMk id="166" creationId="{C79E01A4-F049-40DD-9ADF-6EF1430D554D}"/>
          </ac:spMkLst>
        </pc:spChg>
        <pc:spChg chg="del mod">
          <ac:chgData name="Ying Yang" userId="f1527f9b-a873-4aa2-b225-cf8fd3466e0d" providerId="ADAL" clId="{A30A5C05-46CF-4F03-AB5B-503FD66274CE}" dt="2022-06-09T02:43:16.677" v="3421" actId="478"/>
          <ac:spMkLst>
            <pc:docMk/>
            <pc:sldMk cId="696217983" sldId="2145705749"/>
            <ac:spMk id="167" creationId="{3171FD33-3DA7-40CF-85F1-7E657B9D596D}"/>
          </ac:spMkLst>
        </pc:spChg>
        <pc:spChg chg="mod">
          <ac:chgData name="Ying Yang" userId="f1527f9b-a873-4aa2-b225-cf8fd3466e0d" providerId="ADAL" clId="{A30A5C05-46CF-4F03-AB5B-503FD66274CE}" dt="2022-06-09T02:37:02.199" v="3346"/>
          <ac:spMkLst>
            <pc:docMk/>
            <pc:sldMk cId="696217983" sldId="2145705749"/>
            <ac:spMk id="169" creationId="{E6DA218F-18AE-479C-B20B-02A81E79219E}"/>
          </ac:spMkLst>
        </pc:spChg>
        <pc:spChg chg="mod">
          <ac:chgData name="Ying Yang" userId="f1527f9b-a873-4aa2-b225-cf8fd3466e0d" providerId="ADAL" clId="{A30A5C05-46CF-4F03-AB5B-503FD66274CE}" dt="2022-06-09T02:37:02.199" v="3346"/>
          <ac:spMkLst>
            <pc:docMk/>
            <pc:sldMk cId="696217983" sldId="2145705749"/>
            <ac:spMk id="170" creationId="{0F43BDBE-728A-4C29-AB73-8FC3DF637BB5}"/>
          </ac:spMkLst>
        </pc:spChg>
        <pc:spChg chg="add mod">
          <ac:chgData name="Ying Yang" userId="f1527f9b-a873-4aa2-b225-cf8fd3466e0d" providerId="ADAL" clId="{A30A5C05-46CF-4F03-AB5B-503FD66274CE}" dt="2022-06-09T02:37:02.199" v="3346"/>
          <ac:spMkLst>
            <pc:docMk/>
            <pc:sldMk cId="696217983" sldId="2145705749"/>
            <ac:spMk id="171" creationId="{A4B339CE-DDDC-403A-95CC-85FACA5D3648}"/>
          </ac:spMkLst>
        </pc:spChg>
        <pc:spChg chg="add mod">
          <ac:chgData name="Ying Yang" userId="f1527f9b-a873-4aa2-b225-cf8fd3466e0d" providerId="ADAL" clId="{A30A5C05-46CF-4F03-AB5B-503FD66274CE}" dt="2022-06-09T02:37:02.199" v="3346"/>
          <ac:spMkLst>
            <pc:docMk/>
            <pc:sldMk cId="696217983" sldId="2145705749"/>
            <ac:spMk id="172" creationId="{FC1F6BEA-2D39-46C4-8133-4CC9B15C093F}"/>
          </ac:spMkLst>
        </pc:spChg>
        <pc:spChg chg="mod">
          <ac:chgData name="Ying Yang" userId="f1527f9b-a873-4aa2-b225-cf8fd3466e0d" providerId="ADAL" clId="{A30A5C05-46CF-4F03-AB5B-503FD66274CE}" dt="2022-06-09T02:39:34.073" v="3380" actId="571"/>
          <ac:spMkLst>
            <pc:docMk/>
            <pc:sldMk cId="696217983" sldId="2145705749"/>
            <ac:spMk id="174" creationId="{899D99D6-F840-4945-BF1F-61A5783A2378}"/>
          </ac:spMkLst>
        </pc:spChg>
        <pc:spChg chg="mod">
          <ac:chgData name="Ying Yang" userId="f1527f9b-a873-4aa2-b225-cf8fd3466e0d" providerId="ADAL" clId="{A30A5C05-46CF-4F03-AB5B-503FD66274CE}" dt="2022-06-09T02:39:34.073" v="3380" actId="571"/>
          <ac:spMkLst>
            <pc:docMk/>
            <pc:sldMk cId="696217983" sldId="2145705749"/>
            <ac:spMk id="175" creationId="{729992AC-8748-449D-9390-A16552D13AC7}"/>
          </ac:spMkLst>
        </pc:spChg>
        <pc:spChg chg="add mod">
          <ac:chgData name="Ying Yang" userId="f1527f9b-a873-4aa2-b225-cf8fd3466e0d" providerId="ADAL" clId="{A30A5C05-46CF-4F03-AB5B-503FD66274CE}" dt="2022-06-09T02:39:34.073" v="3380" actId="571"/>
          <ac:spMkLst>
            <pc:docMk/>
            <pc:sldMk cId="696217983" sldId="2145705749"/>
            <ac:spMk id="176" creationId="{7F5A2643-64B7-495E-8E5D-3E2A849B1A67}"/>
          </ac:spMkLst>
        </pc:spChg>
        <pc:spChg chg="add del mod">
          <ac:chgData name="Ying Yang" userId="f1527f9b-a873-4aa2-b225-cf8fd3466e0d" providerId="ADAL" clId="{A30A5C05-46CF-4F03-AB5B-503FD66274CE}" dt="2022-06-09T02:41:53.740" v="3407" actId="478"/>
          <ac:spMkLst>
            <pc:docMk/>
            <pc:sldMk cId="696217983" sldId="2145705749"/>
            <ac:spMk id="177" creationId="{639DD31D-ABA6-42E6-91F1-07D64C83CCAC}"/>
          </ac:spMkLst>
        </pc:spChg>
        <pc:spChg chg="add mod">
          <ac:chgData name="Ying Yang" userId="f1527f9b-a873-4aa2-b225-cf8fd3466e0d" providerId="ADAL" clId="{A30A5C05-46CF-4F03-AB5B-503FD66274CE}" dt="2022-06-09T03:01:47.711" v="3697" actId="1038"/>
          <ac:spMkLst>
            <pc:docMk/>
            <pc:sldMk cId="696217983" sldId="2145705749"/>
            <ac:spMk id="178" creationId="{B7092710-E45E-4EEE-AB43-AA030A5EC61A}"/>
          </ac:spMkLst>
        </pc:spChg>
        <pc:spChg chg="mod">
          <ac:chgData name="Ying Yang" userId="f1527f9b-a873-4aa2-b225-cf8fd3466e0d" providerId="ADAL" clId="{A30A5C05-46CF-4F03-AB5B-503FD66274CE}" dt="2022-06-09T02:43:57.482" v="3427"/>
          <ac:spMkLst>
            <pc:docMk/>
            <pc:sldMk cId="696217983" sldId="2145705749"/>
            <ac:spMk id="180" creationId="{9E6542F2-8ABB-4262-95A8-E0863D985711}"/>
          </ac:spMkLst>
        </pc:spChg>
        <pc:spChg chg="mod">
          <ac:chgData name="Ying Yang" userId="f1527f9b-a873-4aa2-b225-cf8fd3466e0d" providerId="ADAL" clId="{A30A5C05-46CF-4F03-AB5B-503FD66274CE}" dt="2022-06-09T02:43:57.482" v="3427"/>
          <ac:spMkLst>
            <pc:docMk/>
            <pc:sldMk cId="696217983" sldId="2145705749"/>
            <ac:spMk id="181" creationId="{BDEAE436-B4C4-4F0B-A824-C0907EDEC315}"/>
          </ac:spMkLst>
        </pc:spChg>
        <pc:spChg chg="mod">
          <ac:chgData name="Ying Yang" userId="f1527f9b-a873-4aa2-b225-cf8fd3466e0d" providerId="ADAL" clId="{A30A5C05-46CF-4F03-AB5B-503FD66274CE}" dt="2022-06-09T02:43:57.482" v="3427"/>
          <ac:spMkLst>
            <pc:docMk/>
            <pc:sldMk cId="696217983" sldId="2145705749"/>
            <ac:spMk id="182" creationId="{9CF975EA-78AF-492E-8213-6C7E7A99495E}"/>
          </ac:spMkLst>
        </pc:spChg>
        <pc:spChg chg="mod">
          <ac:chgData name="Ying Yang" userId="f1527f9b-a873-4aa2-b225-cf8fd3466e0d" providerId="ADAL" clId="{A30A5C05-46CF-4F03-AB5B-503FD66274CE}" dt="2022-06-09T02:48:55.593" v="3494" actId="403"/>
          <ac:spMkLst>
            <pc:docMk/>
            <pc:sldMk cId="696217983" sldId="2145705749"/>
            <ac:spMk id="185" creationId="{665FC1A7-DA51-4E72-8E6B-63B81E7B79DD}"/>
          </ac:spMkLst>
        </pc:spChg>
        <pc:spChg chg="del mod">
          <ac:chgData name="Ying Yang" userId="f1527f9b-a873-4aa2-b225-cf8fd3466e0d" providerId="ADAL" clId="{A30A5C05-46CF-4F03-AB5B-503FD66274CE}" dt="2022-06-09T02:58:27.680" v="3662" actId="478"/>
          <ac:spMkLst>
            <pc:docMk/>
            <pc:sldMk cId="696217983" sldId="2145705749"/>
            <ac:spMk id="186" creationId="{A7BCC107-E322-4AE4-AD11-9AF9985FE98C}"/>
          </ac:spMkLst>
        </pc:spChg>
        <pc:spChg chg="mod">
          <ac:chgData name="Ying Yang" userId="f1527f9b-a873-4aa2-b225-cf8fd3466e0d" providerId="ADAL" clId="{A30A5C05-46CF-4F03-AB5B-503FD66274CE}" dt="2022-06-09T02:48:55.593" v="3494" actId="403"/>
          <ac:spMkLst>
            <pc:docMk/>
            <pc:sldMk cId="696217983" sldId="2145705749"/>
            <ac:spMk id="188" creationId="{4B71911B-FEED-4862-9B6B-6D316E8F899C}"/>
          </ac:spMkLst>
        </pc:spChg>
        <pc:spChg chg="mod">
          <ac:chgData name="Ying Yang" userId="f1527f9b-a873-4aa2-b225-cf8fd3466e0d" providerId="ADAL" clId="{A30A5C05-46CF-4F03-AB5B-503FD66274CE}" dt="2022-06-09T02:48:55.593" v="3494" actId="403"/>
          <ac:spMkLst>
            <pc:docMk/>
            <pc:sldMk cId="696217983" sldId="2145705749"/>
            <ac:spMk id="189" creationId="{961A9155-7F71-4800-8B84-F4FBD7EF5C61}"/>
          </ac:spMkLst>
        </pc:spChg>
        <pc:spChg chg="mod">
          <ac:chgData name="Ying Yang" userId="f1527f9b-a873-4aa2-b225-cf8fd3466e0d" providerId="ADAL" clId="{A30A5C05-46CF-4F03-AB5B-503FD66274CE}" dt="2022-06-09T02:48:55.593" v="3494" actId="403"/>
          <ac:spMkLst>
            <pc:docMk/>
            <pc:sldMk cId="696217983" sldId="2145705749"/>
            <ac:spMk id="192" creationId="{096CED03-34AD-4CD2-AD11-B6D0A14293DD}"/>
          </ac:spMkLst>
        </pc:spChg>
        <pc:spChg chg="mod">
          <ac:chgData name="Ying Yang" userId="f1527f9b-a873-4aa2-b225-cf8fd3466e0d" providerId="ADAL" clId="{A30A5C05-46CF-4F03-AB5B-503FD66274CE}" dt="2022-06-09T02:48:55.593" v="3494" actId="403"/>
          <ac:spMkLst>
            <pc:docMk/>
            <pc:sldMk cId="696217983" sldId="2145705749"/>
            <ac:spMk id="194" creationId="{7E881E6A-1F73-4DFF-9D9B-B95506456C52}"/>
          </ac:spMkLst>
        </pc:spChg>
        <pc:spChg chg="mod">
          <ac:chgData name="Ying Yang" userId="f1527f9b-a873-4aa2-b225-cf8fd3466e0d" providerId="ADAL" clId="{A30A5C05-46CF-4F03-AB5B-503FD66274CE}" dt="2022-06-09T02:48:55.593" v="3494" actId="403"/>
          <ac:spMkLst>
            <pc:docMk/>
            <pc:sldMk cId="696217983" sldId="2145705749"/>
            <ac:spMk id="198" creationId="{6EDF0988-1F77-4766-A71F-7382A90517D0}"/>
          </ac:spMkLst>
        </pc:spChg>
        <pc:spChg chg="mod">
          <ac:chgData name="Ying Yang" userId="f1527f9b-a873-4aa2-b225-cf8fd3466e0d" providerId="ADAL" clId="{A30A5C05-46CF-4F03-AB5B-503FD66274CE}" dt="2022-06-09T02:48:55.593" v="3494" actId="403"/>
          <ac:spMkLst>
            <pc:docMk/>
            <pc:sldMk cId="696217983" sldId="2145705749"/>
            <ac:spMk id="199" creationId="{039AE8FF-6364-43E5-92EA-79B4BC0FFB3E}"/>
          </ac:spMkLst>
        </pc:spChg>
        <pc:spChg chg="mod">
          <ac:chgData name="Ying Yang" userId="f1527f9b-a873-4aa2-b225-cf8fd3466e0d" providerId="ADAL" clId="{A30A5C05-46CF-4F03-AB5B-503FD66274CE}" dt="2022-06-09T02:48:55.593" v="3494" actId="403"/>
          <ac:spMkLst>
            <pc:docMk/>
            <pc:sldMk cId="696217983" sldId="2145705749"/>
            <ac:spMk id="202" creationId="{6DE2541E-7C9E-48DE-8563-A96DBFD384EF}"/>
          </ac:spMkLst>
        </pc:spChg>
        <pc:spChg chg="mod">
          <ac:chgData name="Ying Yang" userId="f1527f9b-a873-4aa2-b225-cf8fd3466e0d" providerId="ADAL" clId="{A30A5C05-46CF-4F03-AB5B-503FD66274CE}" dt="2022-06-09T02:48:55.593" v="3494" actId="403"/>
          <ac:spMkLst>
            <pc:docMk/>
            <pc:sldMk cId="696217983" sldId="2145705749"/>
            <ac:spMk id="205" creationId="{3A96D31F-CE2F-4F46-9878-262A2962A451}"/>
          </ac:spMkLst>
        </pc:spChg>
        <pc:spChg chg="mod">
          <ac:chgData name="Ying Yang" userId="f1527f9b-a873-4aa2-b225-cf8fd3466e0d" providerId="ADAL" clId="{A30A5C05-46CF-4F03-AB5B-503FD66274CE}" dt="2022-06-09T02:48:55.593" v="3494" actId="403"/>
          <ac:spMkLst>
            <pc:docMk/>
            <pc:sldMk cId="696217983" sldId="2145705749"/>
            <ac:spMk id="207" creationId="{3D34069F-1BAF-40AC-9FB9-184BC97464FC}"/>
          </ac:spMkLst>
        </pc:spChg>
        <pc:spChg chg="mod">
          <ac:chgData name="Ying Yang" userId="f1527f9b-a873-4aa2-b225-cf8fd3466e0d" providerId="ADAL" clId="{A30A5C05-46CF-4F03-AB5B-503FD66274CE}" dt="2022-06-09T02:48:55.593" v="3494" actId="403"/>
          <ac:spMkLst>
            <pc:docMk/>
            <pc:sldMk cId="696217983" sldId="2145705749"/>
            <ac:spMk id="209" creationId="{192C33AB-CBDD-4E7C-8ADB-888F3672EC8D}"/>
          </ac:spMkLst>
        </pc:spChg>
        <pc:spChg chg="mod">
          <ac:chgData name="Ying Yang" userId="f1527f9b-a873-4aa2-b225-cf8fd3466e0d" providerId="ADAL" clId="{A30A5C05-46CF-4F03-AB5B-503FD66274CE}" dt="2022-06-09T02:48:55.593" v="3494" actId="403"/>
          <ac:spMkLst>
            <pc:docMk/>
            <pc:sldMk cId="696217983" sldId="2145705749"/>
            <ac:spMk id="212" creationId="{07584759-6D2D-4AB9-AE64-8EE14A4DBBCA}"/>
          </ac:spMkLst>
        </pc:spChg>
        <pc:spChg chg="mod">
          <ac:chgData name="Ying Yang" userId="f1527f9b-a873-4aa2-b225-cf8fd3466e0d" providerId="ADAL" clId="{A30A5C05-46CF-4F03-AB5B-503FD66274CE}" dt="2022-06-09T02:48:55.593" v="3494" actId="403"/>
          <ac:spMkLst>
            <pc:docMk/>
            <pc:sldMk cId="696217983" sldId="2145705749"/>
            <ac:spMk id="213" creationId="{6B9891A6-CC8F-4AD3-B480-F76C1E14256D}"/>
          </ac:spMkLst>
        </pc:spChg>
        <pc:spChg chg="mod">
          <ac:chgData name="Ying Yang" userId="f1527f9b-a873-4aa2-b225-cf8fd3466e0d" providerId="ADAL" clId="{A30A5C05-46CF-4F03-AB5B-503FD66274CE}" dt="2022-06-09T02:48:55.593" v="3494" actId="403"/>
          <ac:spMkLst>
            <pc:docMk/>
            <pc:sldMk cId="696217983" sldId="2145705749"/>
            <ac:spMk id="214" creationId="{0F8BB60D-BB6E-41B1-B01F-2BC6E883D08E}"/>
          </ac:spMkLst>
        </pc:spChg>
        <pc:spChg chg="mod">
          <ac:chgData name="Ying Yang" userId="f1527f9b-a873-4aa2-b225-cf8fd3466e0d" providerId="ADAL" clId="{A30A5C05-46CF-4F03-AB5B-503FD66274CE}" dt="2022-06-09T02:48:55.593" v="3494" actId="403"/>
          <ac:spMkLst>
            <pc:docMk/>
            <pc:sldMk cId="696217983" sldId="2145705749"/>
            <ac:spMk id="215" creationId="{1989B1D1-6BAF-4437-944D-823A16F41130}"/>
          </ac:spMkLst>
        </pc:spChg>
        <pc:spChg chg="mod">
          <ac:chgData name="Ying Yang" userId="f1527f9b-a873-4aa2-b225-cf8fd3466e0d" providerId="ADAL" clId="{A30A5C05-46CF-4F03-AB5B-503FD66274CE}" dt="2022-06-09T02:48:55.593" v="3494" actId="403"/>
          <ac:spMkLst>
            <pc:docMk/>
            <pc:sldMk cId="696217983" sldId="2145705749"/>
            <ac:spMk id="216" creationId="{DEEE3C7A-1428-4746-A9F9-F3E1F4535CE2}"/>
          </ac:spMkLst>
        </pc:spChg>
        <pc:spChg chg="mod">
          <ac:chgData name="Ying Yang" userId="f1527f9b-a873-4aa2-b225-cf8fd3466e0d" providerId="ADAL" clId="{A30A5C05-46CF-4F03-AB5B-503FD66274CE}" dt="2022-06-09T02:48:55.593" v="3494" actId="403"/>
          <ac:spMkLst>
            <pc:docMk/>
            <pc:sldMk cId="696217983" sldId="2145705749"/>
            <ac:spMk id="217" creationId="{8B4806D4-A295-4440-81ED-E21695B5E9D8}"/>
          </ac:spMkLst>
        </pc:spChg>
        <pc:spChg chg="mod">
          <ac:chgData name="Ying Yang" userId="f1527f9b-a873-4aa2-b225-cf8fd3466e0d" providerId="ADAL" clId="{A30A5C05-46CF-4F03-AB5B-503FD66274CE}" dt="2022-06-09T02:48:55.593" v="3494" actId="403"/>
          <ac:spMkLst>
            <pc:docMk/>
            <pc:sldMk cId="696217983" sldId="2145705749"/>
            <ac:spMk id="218" creationId="{567DF87C-269D-4ED3-B8FE-2A5C74BDAB8A}"/>
          </ac:spMkLst>
        </pc:spChg>
        <pc:spChg chg="mod">
          <ac:chgData name="Ying Yang" userId="f1527f9b-a873-4aa2-b225-cf8fd3466e0d" providerId="ADAL" clId="{A30A5C05-46CF-4F03-AB5B-503FD66274CE}" dt="2022-06-09T02:48:55.593" v="3494" actId="403"/>
          <ac:spMkLst>
            <pc:docMk/>
            <pc:sldMk cId="696217983" sldId="2145705749"/>
            <ac:spMk id="219" creationId="{5C85E0C8-1B2C-42FD-A37F-045EF82A469E}"/>
          </ac:spMkLst>
        </pc:spChg>
        <pc:spChg chg="mod">
          <ac:chgData name="Ying Yang" userId="f1527f9b-a873-4aa2-b225-cf8fd3466e0d" providerId="ADAL" clId="{A30A5C05-46CF-4F03-AB5B-503FD66274CE}" dt="2022-06-09T02:48:55.593" v="3494" actId="403"/>
          <ac:spMkLst>
            <pc:docMk/>
            <pc:sldMk cId="696217983" sldId="2145705749"/>
            <ac:spMk id="220" creationId="{E2784A49-2F59-4F19-A7CC-DF3E68114A80}"/>
          </ac:spMkLst>
        </pc:spChg>
        <pc:spChg chg="mod">
          <ac:chgData name="Ying Yang" userId="f1527f9b-a873-4aa2-b225-cf8fd3466e0d" providerId="ADAL" clId="{A30A5C05-46CF-4F03-AB5B-503FD66274CE}" dt="2022-06-09T02:48:55.593" v="3494" actId="403"/>
          <ac:spMkLst>
            <pc:docMk/>
            <pc:sldMk cId="696217983" sldId="2145705749"/>
            <ac:spMk id="221" creationId="{2ABBD819-28CC-4D13-A8A3-184F5B12209A}"/>
          </ac:spMkLst>
        </pc:spChg>
        <pc:spChg chg="mod">
          <ac:chgData name="Ying Yang" userId="f1527f9b-a873-4aa2-b225-cf8fd3466e0d" providerId="ADAL" clId="{A30A5C05-46CF-4F03-AB5B-503FD66274CE}" dt="2022-06-09T02:48:55.593" v="3494" actId="403"/>
          <ac:spMkLst>
            <pc:docMk/>
            <pc:sldMk cId="696217983" sldId="2145705749"/>
            <ac:spMk id="222" creationId="{9D3045D8-1D16-43BD-9346-1E431F723137}"/>
          </ac:spMkLst>
        </pc:spChg>
        <pc:spChg chg="mod">
          <ac:chgData name="Ying Yang" userId="f1527f9b-a873-4aa2-b225-cf8fd3466e0d" providerId="ADAL" clId="{A30A5C05-46CF-4F03-AB5B-503FD66274CE}" dt="2022-06-09T02:48:55.593" v="3494" actId="403"/>
          <ac:spMkLst>
            <pc:docMk/>
            <pc:sldMk cId="696217983" sldId="2145705749"/>
            <ac:spMk id="223" creationId="{5B2163F0-0F33-43D1-9E2F-E95A02413C58}"/>
          </ac:spMkLst>
        </pc:spChg>
        <pc:spChg chg="mod">
          <ac:chgData name="Ying Yang" userId="f1527f9b-a873-4aa2-b225-cf8fd3466e0d" providerId="ADAL" clId="{A30A5C05-46CF-4F03-AB5B-503FD66274CE}" dt="2022-06-09T02:48:55.593" v="3494" actId="403"/>
          <ac:spMkLst>
            <pc:docMk/>
            <pc:sldMk cId="696217983" sldId="2145705749"/>
            <ac:spMk id="224" creationId="{52DF20F0-EE58-4CBE-855D-424EE74C0CA5}"/>
          </ac:spMkLst>
        </pc:spChg>
        <pc:spChg chg="mod">
          <ac:chgData name="Ying Yang" userId="f1527f9b-a873-4aa2-b225-cf8fd3466e0d" providerId="ADAL" clId="{A30A5C05-46CF-4F03-AB5B-503FD66274CE}" dt="2022-06-09T02:48:55.593" v="3494" actId="403"/>
          <ac:spMkLst>
            <pc:docMk/>
            <pc:sldMk cId="696217983" sldId="2145705749"/>
            <ac:spMk id="225" creationId="{9DDED68F-F599-48ED-9AC5-D5502B87CF29}"/>
          </ac:spMkLst>
        </pc:spChg>
        <pc:spChg chg="mod">
          <ac:chgData name="Ying Yang" userId="f1527f9b-a873-4aa2-b225-cf8fd3466e0d" providerId="ADAL" clId="{A30A5C05-46CF-4F03-AB5B-503FD66274CE}" dt="2022-06-09T02:48:55.593" v="3494" actId="403"/>
          <ac:spMkLst>
            <pc:docMk/>
            <pc:sldMk cId="696217983" sldId="2145705749"/>
            <ac:spMk id="226" creationId="{FC3DC173-13DF-4661-A110-229658D68E9D}"/>
          </ac:spMkLst>
        </pc:spChg>
        <pc:spChg chg="mod">
          <ac:chgData name="Ying Yang" userId="f1527f9b-a873-4aa2-b225-cf8fd3466e0d" providerId="ADAL" clId="{A30A5C05-46CF-4F03-AB5B-503FD66274CE}" dt="2022-06-09T02:48:55.593" v="3494" actId="403"/>
          <ac:spMkLst>
            <pc:docMk/>
            <pc:sldMk cId="696217983" sldId="2145705749"/>
            <ac:spMk id="227" creationId="{92288FF4-1A1A-4376-883E-48C58ECDBF60}"/>
          </ac:spMkLst>
        </pc:spChg>
        <pc:spChg chg="mod">
          <ac:chgData name="Ying Yang" userId="f1527f9b-a873-4aa2-b225-cf8fd3466e0d" providerId="ADAL" clId="{A30A5C05-46CF-4F03-AB5B-503FD66274CE}" dt="2022-06-09T02:48:55.593" v="3494" actId="403"/>
          <ac:spMkLst>
            <pc:docMk/>
            <pc:sldMk cId="696217983" sldId="2145705749"/>
            <ac:spMk id="228" creationId="{7C111E68-435F-470A-B1D9-802CF0DB4969}"/>
          </ac:spMkLst>
        </pc:spChg>
        <pc:spChg chg="mod">
          <ac:chgData name="Ying Yang" userId="f1527f9b-a873-4aa2-b225-cf8fd3466e0d" providerId="ADAL" clId="{A30A5C05-46CF-4F03-AB5B-503FD66274CE}" dt="2022-06-09T02:48:55.593" v="3494" actId="403"/>
          <ac:spMkLst>
            <pc:docMk/>
            <pc:sldMk cId="696217983" sldId="2145705749"/>
            <ac:spMk id="229" creationId="{70EC9226-43E2-45DB-8928-01DFA5B2B362}"/>
          </ac:spMkLst>
        </pc:spChg>
        <pc:spChg chg="mod">
          <ac:chgData name="Ying Yang" userId="f1527f9b-a873-4aa2-b225-cf8fd3466e0d" providerId="ADAL" clId="{A30A5C05-46CF-4F03-AB5B-503FD66274CE}" dt="2022-06-09T02:48:55.593" v="3494" actId="403"/>
          <ac:spMkLst>
            <pc:docMk/>
            <pc:sldMk cId="696217983" sldId="2145705749"/>
            <ac:spMk id="230" creationId="{E7564475-BF97-460D-8096-E1B5457CD23E}"/>
          </ac:spMkLst>
        </pc:spChg>
        <pc:spChg chg="mod">
          <ac:chgData name="Ying Yang" userId="f1527f9b-a873-4aa2-b225-cf8fd3466e0d" providerId="ADAL" clId="{A30A5C05-46CF-4F03-AB5B-503FD66274CE}" dt="2022-06-09T02:48:55.593" v="3494" actId="403"/>
          <ac:spMkLst>
            <pc:docMk/>
            <pc:sldMk cId="696217983" sldId="2145705749"/>
            <ac:spMk id="231" creationId="{1B0E7D82-0EED-42E9-8C31-E6A086CD33A4}"/>
          </ac:spMkLst>
        </pc:spChg>
        <pc:spChg chg="mod">
          <ac:chgData name="Ying Yang" userId="f1527f9b-a873-4aa2-b225-cf8fd3466e0d" providerId="ADAL" clId="{A30A5C05-46CF-4F03-AB5B-503FD66274CE}" dt="2022-06-09T02:48:55.593" v="3494" actId="403"/>
          <ac:spMkLst>
            <pc:docMk/>
            <pc:sldMk cId="696217983" sldId="2145705749"/>
            <ac:spMk id="232" creationId="{4B06951A-93BF-4D51-80D1-EE4D8D449D16}"/>
          </ac:spMkLst>
        </pc:spChg>
        <pc:spChg chg="mod">
          <ac:chgData name="Ying Yang" userId="f1527f9b-a873-4aa2-b225-cf8fd3466e0d" providerId="ADAL" clId="{A30A5C05-46CF-4F03-AB5B-503FD66274CE}" dt="2022-06-09T02:48:55.593" v="3494" actId="403"/>
          <ac:spMkLst>
            <pc:docMk/>
            <pc:sldMk cId="696217983" sldId="2145705749"/>
            <ac:spMk id="233" creationId="{E68AFE95-64DA-4E93-929B-65B6EFB33EA6}"/>
          </ac:spMkLst>
        </pc:spChg>
        <pc:spChg chg="mod">
          <ac:chgData name="Ying Yang" userId="f1527f9b-a873-4aa2-b225-cf8fd3466e0d" providerId="ADAL" clId="{A30A5C05-46CF-4F03-AB5B-503FD66274CE}" dt="2022-06-09T02:48:55.593" v="3494" actId="403"/>
          <ac:spMkLst>
            <pc:docMk/>
            <pc:sldMk cId="696217983" sldId="2145705749"/>
            <ac:spMk id="234" creationId="{318423D7-D3C6-4688-B6F3-AD138BD41386}"/>
          </ac:spMkLst>
        </pc:spChg>
        <pc:spChg chg="mod">
          <ac:chgData name="Ying Yang" userId="f1527f9b-a873-4aa2-b225-cf8fd3466e0d" providerId="ADAL" clId="{A30A5C05-46CF-4F03-AB5B-503FD66274CE}" dt="2022-06-09T02:48:55.593" v="3494" actId="403"/>
          <ac:spMkLst>
            <pc:docMk/>
            <pc:sldMk cId="696217983" sldId="2145705749"/>
            <ac:spMk id="235" creationId="{AD1F3503-C35A-4D5D-AEB5-4EE4C1E41864}"/>
          </ac:spMkLst>
        </pc:spChg>
        <pc:spChg chg="mod">
          <ac:chgData name="Ying Yang" userId="f1527f9b-a873-4aa2-b225-cf8fd3466e0d" providerId="ADAL" clId="{A30A5C05-46CF-4F03-AB5B-503FD66274CE}" dt="2022-06-09T02:48:55.593" v="3494" actId="403"/>
          <ac:spMkLst>
            <pc:docMk/>
            <pc:sldMk cId="696217983" sldId="2145705749"/>
            <ac:spMk id="236" creationId="{B51B402E-0B0C-40FD-A464-E682EA0C4B3A}"/>
          </ac:spMkLst>
        </pc:spChg>
        <pc:spChg chg="mod">
          <ac:chgData name="Ying Yang" userId="f1527f9b-a873-4aa2-b225-cf8fd3466e0d" providerId="ADAL" clId="{A30A5C05-46CF-4F03-AB5B-503FD66274CE}" dt="2022-06-09T02:48:55.593" v="3494" actId="403"/>
          <ac:spMkLst>
            <pc:docMk/>
            <pc:sldMk cId="696217983" sldId="2145705749"/>
            <ac:spMk id="237" creationId="{7ABA31EA-0198-4F0C-A168-73DCC99CC80A}"/>
          </ac:spMkLst>
        </pc:spChg>
        <pc:spChg chg="mod">
          <ac:chgData name="Ying Yang" userId="f1527f9b-a873-4aa2-b225-cf8fd3466e0d" providerId="ADAL" clId="{A30A5C05-46CF-4F03-AB5B-503FD66274CE}" dt="2022-06-09T02:48:55.593" v="3494" actId="403"/>
          <ac:spMkLst>
            <pc:docMk/>
            <pc:sldMk cId="696217983" sldId="2145705749"/>
            <ac:spMk id="238" creationId="{9756ADA2-95E3-417E-B5F3-0AD5A0B5E37A}"/>
          </ac:spMkLst>
        </pc:spChg>
        <pc:spChg chg="mod">
          <ac:chgData name="Ying Yang" userId="f1527f9b-a873-4aa2-b225-cf8fd3466e0d" providerId="ADAL" clId="{A30A5C05-46CF-4F03-AB5B-503FD66274CE}" dt="2022-06-09T02:48:55.593" v="3494" actId="403"/>
          <ac:spMkLst>
            <pc:docMk/>
            <pc:sldMk cId="696217983" sldId="2145705749"/>
            <ac:spMk id="239" creationId="{A6159D19-4391-4784-BA74-B421435256EB}"/>
          </ac:spMkLst>
        </pc:spChg>
        <pc:spChg chg="mod">
          <ac:chgData name="Ying Yang" userId="f1527f9b-a873-4aa2-b225-cf8fd3466e0d" providerId="ADAL" clId="{A30A5C05-46CF-4F03-AB5B-503FD66274CE}" dt="2022-06-09T02:48:55.593" v="3494" actId="403"/>
          <ac:spMkLst>
            <pc:docMk/>
            <pc:sldMk cId="696217983" sldId="2145705749"/>
            <ac:spMk id="240" creationId="{E41A37DD-652A-472C-A29B-DB05968AF433}"/>
          </ac:spMkLst>
        </pc:spChg>
        <pc:spChg chg="mod">
          <ac:chgData name="Ying Yang" userId="f1527f9b-a873-4aa2-b225-cf8fd3466e0d" providerId="ADAL" clId="{A30A5C05-46CF-4F03-AB5B-503FD66274CE}" dt="2022-06-09T02:48:55.593" v="3494" actId="403"/>
          <ac:spMkLst>
            <pc:docMk/>
            <pc:sldMk cId="696217983" sldId="2145705749"/>
            <ac:spMk id="241" creationId="{568DBEB9-BB28-4677-AEF1-C30F22EE71E8}"/>
          </ac:spMkLst>
        </pc:spChg>
        <pc:spChg chg="mod">
          <ac:chgData name="Ying Yang" userId="f1527f9b-a873-4aa2-b225-cf8fd3466e0d" providerId="ADAL" clId="{A30A5C05-46CF-4F03-AB5B-503FD66274CE}" dt="2022-06-09T02:48:55.593" v="3494" actId="403"/>
          <ac:spMkLst>
            <pc:docMk/>
            <pc:sldMk cId="696217983" sldId="2145705749"/>
            <ac:spMk id="242" creationId="{C04D0E1F-D477-4D26-A6C7-299D200B7E96}"/>
          </ac:spMkLst>
        </pc:spChg>
        <pc:spChg chg="mod">
          <ac:chgData name="Ying Yang" userId="f1527f9b-a873-4aa2-b225-cf8fd3466e0d" providerId="ADAL" clId="{A30A5C05-46CF-4F03-AB5B-503FD66274CE}" dt="2022-06-09T02:48:55.593" v="3494" actId="403"/>
          <ac:spMkLst>
            <pc:docMk/>
            <pc:sldMk cId="696217983" sldId="2145705749"/>
            <ac:spMk id="243" creationId="{D0923ADE-F7EA-439D-AF96-49AB9FFB5CF0}"/>
          </ac:spMkLst>
        </pc:spChg>
        <pc:spChg chg="mod">
          <ac:chgData name="Ying Yang" userId="f1527f9b-a873-4aa2-b225-cf8fd3466e0d" providerId="ADAL" clId="{A30A5C05-46CF-4F03-AB5B-503FD66274CE}" dt="2022-06-09T02:48:55.593" v="3494" actId="403"/>
          <ac:spMkLst>
            <pc:docMk/>
            <pc:sldMk cId="696217983" sldId="2145705749"/>
            <ac:spMk id="244" creationId="{A265D9BB-E150-462C-A845-7F722D958713}"/>
          </ac:spMkLst>
        </pc:spChg>
        <pc:spChg chg="mod">
          <ac:chgData name="Ying Yang" userId="f1527f9b-a873-4aa2-b225-cf8fd3466e0d" providerId="ADAL" clId="{A30A5C05-46CF-4F03-AB5B-503FD66274CE}" dt="2022-06-09T02:48:55.593" v="3494" actId="403"/>
          <ac:spMkLst>
            <pc:docMk/>
            <pc:sldMk cId="696217983" sldId="2145705749"/>
            <ac:spMk id="245" creationId="{F5B6C7CE-95E9-45E4-A310-076CA9C30D94}"/>
          </ac:spMkLst>
        </pc:spChg>
        <pc:spChg chg="mod">
          <ac:chgData name="Ying Yang" userId="f1527f9b-a873-4aa2-b225-cf8fd3466e0d" providerId="ADAL" clId="{A30A5C05-46CF-4F03-AB5B-503FD66274CE}" dt="2022-06-09T02:48:55.593" v="3494" actId="403"/>
          <ac:spMkLst>
            <pc:docMk/>
            <pc:sldMk cId="696217983" sldId="2145705749"/>
            <ac:spMk id="246" creationId="{C1165002-8211-4A74-993B-44EEF49447B9}"/>
          </ac:spMkLst>
        </pc:spChg>
        <pc:spChg chg="mod">
          <ac:chgData name="Ying Yang" userId="f1527f9b-a873-4aa2-b225-cf8fd3466e0d" providerId="ADAL" clId="{A30A5C05-46CF-4F03-AB5B-503FD66274CE}" dt="2022-06-09T02:48:55.593" v="3494" actId="403"/>
          <ac:spMkLst>
            <pc:docMk/>
            <pc:sldMk cId="696217983" sldId="2145705749"/>
            <ac:spMk id="247" creationId="{4B0946E2-9F12-4F31-A80F-05645FD82D22}"/>
          </ac:spMkLst>
        </pc:spChg>
        <pc:spChg chg="mod">
          <ac:chgData name="Ying Yang" userId="f1527f9b-a873-4aa2-b225-cf8fd3466e0d" providerId="ADAL" clId="{A30A5C05-46CF-4F03-AB5B-503FD66274CE}" dt="2022-06-09T02:48:55.593" v="3494" actId="403"/>
          <ac:spMkLst>
            <pc:docMk/>
            <pc:sldMk cId="696217983" sldId="2145705749"/>
            <ac:spMk id="248" creationId="{070FDB3A-770F-4257-B6C7-393C180F9FDD}"/>
          </ac:spMkLst>
        </pc:spChg>
        <pc:spChg chg="mod">
          <ac:chgData name="Ying Yang" userId="f1527f9b-a873-4aa2-b225-cf8fd3466e0d" providerId="ADAL" clId="{A30A5C05-46CF-4F03-AB5B-503FD66274CE}" dt="2022-06-09T02:48:55.593" v="3494" actId="403"/>
          <ac:spMkLst>
            <pc:docMk/>
            <pc:sldMk cId="696217983" sldId="2145705749"/>
            <ac:spMk id="249" creationId="{E5C96ABE-389F-4EFE-A3DE-0A3348D7C573}"/>
          </ac:spMkLst>
        </pc:spChg>
        <pc:spChg chg="mod">
          <ac:chgData name="Ying Yang" userId="f1527f9b-a873-4aa2-b225-cf8fd3466e0d" providerId="ADAL" clId="{A30A5C05-46CF-4F03-AB5B-503FD66274CE}" dt="2022-06-09T02:48:55.593" v="3494" actId="403"/>
          <ac:spMkLst>
            <pc:docMk/>
            <pc:sldMk cId="696217983" sldId="2145705749"/>
            <ac:spMk id="250" creationId="{EC1C12EA-845F-4A68-B59B-36E158CE5A4D}"/>
          </ac:spMkLst>
        </pc:spChg>
        <pc:spChg chg="mod">
          <ac:chgData name="Ying Yang" userId="f1527f9b-a873-4aa2-b225-cf8fd3466e0d" providerId="ADAL" clId="{A30A5C05-46CF-4F03-AB5B-503FD66274CE}" dt="2022-06-09T02:48:55.593" v="3494" actId="403"/>
          <ac:spMkLst>
            <pc:docMk/>
            <pc:sldMk cId="696217983" sldId="2145705749"/>
            <ac:spMk id="251" creationId="{516AF893-373C-4340-AC8E-9E4E539A109F}"/>
          </ac:spMkLst>
        </pc:spChg>
        <pc:spChg chg="mod">
          <ac:chgData name="Ying Yang" userId="f1527f9b-a873-4aa2-b225-cf8fd3466e0d" providerId="ADAL" clId="{A30A5C05-46CF-4F03-AB5B-503FD66274CE}" dt="2022-06-09T02:48:55.593" v="3494" actId="403"/>
          <ac:spMkLst>
            <pc:docMk/>
            <pc:sldMk cId="696217983" sldId="2145705749"/>
            <ac:spMk id="252" creationId="{C79FEA95-F078-4C5F-BD68-85B082D6171A}"/>
          </ac:spMkLst>
        </pc:spChg>
        <pc:spChg chg="mod">
          <ac:chgData name="Ying Yang" userId="f1527f9b-a873-4aa2-b225-cf8fd3466e0d" providerId="ADAL" clId="{A30A5C05-46CF-4F03-AB5B-503FD66274CE}" dt="2022-06-09T02:48:55.593" v="3494" actId="403"/>
          <ac:spMkLst>
            <pc:docMk/>
            <pc:sldMk cId="696217983" sldId="2145705749"/>
            <ac:spMk id="253" creationId="{A3B877CB-F889-414B-AA12-175CD89DEDDA}"/>
          </ac:spMkLst>
        </pc:spChg>
        <pc:spChg chg="mod">
          <ac:chgData name="Ying Yang" userId="f1527f9b-a873-4aa2-b225-cf8fd3466e0d" providerId="ADAL" clId="{A30A5C05-46CF-4F03-AB5B-503FD66274CE}" dt="2022-06-09T02:48:55.593" v="3494" actId="403"/>
          <ac:spMkLst>
            <pc:docMk/>
            <pc:sldMk cId="696217983" sldId="2145705749"/>
            <ac:spMk id="254" creationId="{EA062A24-08FA-43FB-B45C-668E3E939E09}"/>
          </ac:spMkLst>
        </pc:spChg>
        <pc:spChg chg="mod">
          <ac:chgData name="Ying Yang" userId="f1527f9b-a873-4aa2-b225-cf8fd3466e0d" providerId="ADAL" clId="{A30A5C05-46CF-4F03-AB5B-503FD66274CE}" dt="2022-06-09T02:48:55.593" v="3494" actId="403"/>
          <ac:spMkLst>
            <pc:docMk/>
            <pc:sldMk cId="696217983" sldId="2145705749"/>
            <ac:spMk id="255" creationId="{07CD65D9-0C68-4030-9769-91BEDF463260}"/>
          </ac:spMkLst>
        </pc:spChg>
        <pc:spChg chg="mod">
          <ac:chgData name="Ying Yang" userId="f1527f9b-a873-4aa2-b225-cf8fd3466e0d" providerId="ADAL" clId="{A30A5C05-46CF-4F03-AB5B-503FD66274CE}" dt="2022-06-09T02:48:55.593" v="3494" actId="403"/>
          <ac:spMkLst>
            <pc:docMk/>
            <pc:sldMk cId="696217983" sldId="2145705749"/>
            <ac:spMk id="256" creationId="{451C347E-AF2B-4A37-8C09-6F2CD00357C0}"/>
          </ac:spMkLst>
        </pc:spChg>
        <pc:spChg chg="mod">
          <ac:chgData name="Ying Yang" userId="f1527f9b-a873-4aa2-b225-cf8fd3466e0d" providerId="ADAL" clId="{A30A5C05-46CF-4F03-AB5B-503FD66274CE}" dt="2022-06-09T02:48:55.593" v="3494" actId="403"/>
          <ac:spMkLst>
            <pc:docMk/>
            <pc:sldMk cId="696217983" sldId="2145705749"/>
            <ac:spMk id="257" creationId="{53BBE87B-5CC0-4E81-88FD-FE08BA487331}"/>
          </ac:spMkLst>
        </pc:spChg>
        <pc:spChg chg="mod">
          <ac:chgData name="Ying Yang" userId="f1527f9b-a873-4aa2-b225-cf8fd3466e0d" providerId="ADAL" clId="{A30A5C05-46CF-4F03-AB5B-503FD66274CE}" dt="2022-06-09T02:48:55.593" v="3494" actId="403"/>
          <ac:spMkLst>
            <pc:docMk/>
            <pc:sldMk cId="696217983" sldId="2145705749"/>
            <ac:spMk id="258" creationId="{47CC7E27-D04D-44F3-9D39-246522ABD4DA}"/>
          </ac:spMkLst>
        </pc:spChg>
        <pc:spChg chg="mod">
          <ac:chgData name="Ying Yang" userId="f1527f9b-a873-4aa2-b225-cf8fd3466e0d" providerId="ADAL" clId="{A30A5C05-46CF-4F03-AB5B-503FD66274CE}" dt="2022-06-09T02:48:55.593" v="3494" actId="403"/>
          <ac:spMkLst>
            <pc:docMk/>
            <pc:sldMk cId="696217983" sldId="2145705749"/>
            <ac:spMk id="259" creationId="{B0101824-DFD6-4F63-A229-8F6419ED49F3}"/>
          </ac:spMkLst>
        </pc:spChg>
        <pc:spChg chg="mod">
          <ac:chgData name="Ying Yang" userId="f1527f9b-a873-4aa2-b225-cf8fd3466e0d" providerId="ADAL" clId="{A30A5C05-46CF-4F03-AB5B-503FD66274CE}" dt="2022-06-09T02:48:55.593" v="3494" actId="403"/>
          <ac:spMkLst>
            <pc:docMk/>
            <pc:sldMk cId="696217983" sldId="2145705749"/>
            <ac:spMk id="260" creationId="{E52ECC8B-CDA8-4311-BC55-9E60CFC64DC3}"/>
          </ac:spMkLst>
        </pc:spChg>
        <pc:spChg chg="mod">
          <ac:chgData name="Ying Yang" userId="f1527f9b-a873-4aa2-b225-cf8fd3466e0d" providerId="ADAL" clId="{A30A5C05-46CF-4F03-AB5B-503FD66274CE}" dt="2022-06-09T02:48:55.593" v="3494" actId="403"/>
          <ac:spMkLst>
            <pc:docMk/>
            <pc:sldMk cId="696217983" sldId="2145705749"/>
            <ac:spMk id="261" creationId="{EA01BA36-8CE3-4D66-84FD-6E92C5B22B46}"/>
          </ac:spMkLst>
        </pc:spChg>
        <pc:spChg chg="mod">
          <ac:chgData name="Ying Yang" userId="f1527f9b-a873-4aa2-b225-cf8fd3466e0d" providerId="ADAL" clId="{A30A5C05-46CF-4F03-AB5B-503FD66274CE}" dt="2022-06-09T02:48:55.593" v="3494" actId="403"/>
          <ac:spMkLst>
            <pc:docMk/>
            <pc:sldMk cId="696217983" sldId="2145705749"/>
            <ac:spMk id="262" creationId="{325B3620-BAAA-4FB6-94AE-64317D14247C}"/>
          </ac:spMkLst>
        </pc:spChg>
        <pc:spChg chg="mod">
          <ac:chgData name="Ying Yang" userId="f1527f9b-a873-4aa2-b225-cf8fd3466e0d" providerId="ADAL" clId="{A30A5C05-46CF-4F03-AB5B-503FD66274CE}" dt="2022-06-09T02:48:55.593" v="3494" actId="403"/>
          <ac:spMkLst>
            <pc:docMk/>
            <pc:sldMk cId="696217983" sldId="2145705749"/>
            <ac:spMk id="263" creationId="{9EF70D45-7AA8-4D41-B946-7D4C37206A42}"/>
          </ac:spMkLst>
        </pc:spChg>
        <pc:spChg chg="mod">
          <ac:chgData name="Ying Yang" userId="f1527f9b-a873-4aa2-b225-cf8fd3466e0d" providerId="ADAL" clId="{A30A5C05-46CF-4F03-AB5B-503FD66274CE}" dt="2022-06-09T02:48:55.593" v="3494" actId="403"/>
          <ac:spMkLst>
            <pc:docMk/>
            <pc:sldMk cId="696217983" sldId="2145705749"/>
            <ac:spMk id="264" creationId="{0D314EA6-6777-41D6-A20E-3D69E9B6BAB9}"/>
          </ac:spMkLst>
        </pc:spChg>
        <pc:spChg chg="mod">
          <ac:chgData name="Ying Yang" userId="f1527f9b-a873-4aa2-b225-cf8fd3466e0d" providerId="ADAL" clId="{A30A5C05-46CF-4F03-AB5B-503FD66274CE}" dt="2022-06-09T02:48:55.593" v="3494" actId="403"/>
          <ac:spMkLst>
            <pc:docMk/>
            <pc:sldMk cId="696217983" sldId="2145705749"/>
            <ac:spMk id="265" creationId="{6CD125EE-C9CF-4E24-B3D1-42E3EC3C4DE9}"/>
          </ac:spMkLst>
        </pc:spChg>
        <pc:spChg chg="mod">
          <ac:chgData name="Ying Yang" userId="f1527f9b-a873-4aa2-b225-cf8fd3466e0d" providerId="ADAL" clId="{A30A5C05-46CF-4F03-AB5B-503FD66274CE}" dt="2022-06-09T02:48:55.593" v="3494" actId="403"/>
          <ac:spMkLst>
            <pc:docMk/>
            <pc:sldMk cId="696217983" sldId="2145705749"/>
            <ac:spMk id="266" creationId="{003A7555-3E32-4578-BF8E-EEE244336E46}"/>
          </ac:spMkLst>
        </pc:spChg>
        <pc:spChg chg="mod">
          <ac:chgData name="Ying Yang" userId="f1527f9b-a873-4aa2-b225-cf8fd3466e0d" providerId="ADAL" clId="{A30A5C05-46CF-4F03-AB5B-503FD66274CE}" dt="2022-06-09T02:48:55.593" v="3494" actId="403"/>
          <ac:spMkLst>
            <pc:docMk/>
            <pc:sldMk cId="696217983" sldId="2145705749"/>
            <ac:spMk id="267" creationId="{E0E77DAD-9F97-492F-AAD0-F1BE31D0303E}"/>
          </ac:spMkLst>
        </pc:spChg>
        <pc:spChg chg="mod">
          <ac:chgData name="Ying Yang" userId="f1527f9b-a873-4aa2-b225-cf8fd3466e0d" providerId="ADAL" clId="{A30A5C05-46CF-4F03-AB5B-503FD66274CE}" dt="2022-06-09T02:48:55.593" v="3494" actId="403"/>
          <ac:spMkLst>
            <pc:docMk/>
            <pc:sldMk cId="696217983" sldId="2145705749"/>
            <ac:spMk id="268" creationId="{BC42EF07-08DB-4D6D-A3B2-FB0845DDE03D}"/>
          </ac:spMkLst>
        </pc:spChg>
        <pc:spChg chg="mod">
          <ac:chgData name="Ying Yang" userId="f1527f9b-a873-4aa2-b225-cf8fd3466e0d" providerId="ADAL" clId="{A30A5C05-46CF-4F03-AB5B-503FD66274CE}" dt="2022-06-09T02:48:55.593" v="3494" actId="403"/>
          <ac:spMkLst>
            <pc:docMk/>
            <pc:sldMk cId="696217983" sldId="2145705749"/>
            <ac:spMk id="269" creationId="{2607D4E3-CE73-4D22-8BBB-DF84A5A66A5D}"/>
          </ac:spMkLst>
        </pc:spChg>
        <pc:spChg chg="mod">
          <ac:chgData name="Ying Yang" userId="f1527f9b-a873-4aa2-b225-cf8fd3466e0d" providerId="ADAL" clId="{A30A5C05-46CF-4F03-AB5B-503FD66274CE}" dt="2022-06-09T02:48:55.593" v="3494" actId="403"/>
          <ac:spMkLst>
            <pc:docMk/>
            <pc:sldMk cId="696217983" sldId="2145705749"/>
            <ac:spMk id="270" creationId="{CDAB8AFB-37A3-4E50-9633-43382CBA9702}"/>
          </ac:spMkLst>
        </pc:spChg>
        <pc:spChg chg="mod">
          <ac:chgData name="Ying Yang" userId="f1527f9b-a873-4aa2-b225-cf8fd3466e0d" providerId="ADAL" clId="{A30A5C05-46CF-4F03-AB5B-503FD66274CE}" dt="2022-06-09T02:48:55.593" v="3494" actId="403"/>
          <ac:spMkLst>
            <pc:docMk/>
            <pc:sldMk cId="696217983" sldId="2145705749"/>
            <ac:spMk id="271" creationId="{0F45A3C2-BB43-400A-B1D8-948E97EA12B2}"/>
          </ac:spMkLst>
        </pc:spChg>
        <pc:spChg chg="mod">
          <ac:chgData name="Ying Yang" userId="f1527f9b-a873-4aa2-b225-cf8fd3466e0d" providerId="ADAL" clId="{A30A5C05-46CF-4F03-AB5B-503FD66274CE}" dt="2022-06-09T02:48:55.593" v="3494" actId="403"/>
          <ac:spMkLst>
            <pc:docMk/>
            <pc:sldMk cId="696217983" sldId="2145705749"/>
            <ac:spMk id="272" creationId="{6E37A8E9-A05B-4303-92CB-B3343B87F6A7}"/>
          </ac:spMkLst>
        </pc:spChg>
        <pc:spChg chg="mod">
          <ac:chgData name="Ying Yang" userId="f1527f9b-a873-4aa2-b225-cf8fd3466e0d" providerId="ADAL" clId="{A30A5C05-46CF-4F03-AB5B-503FD66274CE}" dt="2022-06-09T02:48:55.593" v="3494" actId="403"/>
          <ac:spMkLst>
            <pc:docMk/>
            <pc:sldMk cId="696217983" sldId="2145705749"/>
            <ac:spMk id="273" creationId="{735C5F26-9BC1-49B7-82C1-6769671FDCE2}"/>
          </ac:spMkLst>
        </pc:spChg>
        <pc:spChg chg="mod">
          <ac:chgData name="Ying Yang" userId="f1527f9b-a873-4aa2-b225-cf8fd3466e0d" providerId="ADAL" clId="{A30A5C05-46CF-4F03-AB5B-503FD66274CE}" dt="2022-06-09T02:48:55.593" v="3494" actId="403"/>
          <ac:spMkLst>
            <pc:docMk/>
            <pc:sldMk cId="696217983" sldId="2145705749"/>
            <ac:spMk id="274" creationId="{69759B9C-C48D-4F46-93B6-17808A34268D}"/>
          </ac:spMkLst>
        </pc:spChg>
        <pc:spChg chg="mod">
          <ac:chgData name="Ying Yang" userId="f1527f9b-a873-4aa2-b225-cf8fd3466e0d" providerId="ADAL" clId="{A30A5C05-46CF-4F03-AB5B-503FD66274CE}" dt="2022-06-09T02:48:55.593" v="3494" actId="403"/>
          <ac:spMkLst>
            <pc:docMk/>
            <pc:sldMk cId="696217983" sldId="2145705749"/>
            <ac:spMk id="275" creationId="{B8D9187A-2B77-45F8-88BC-8ED5FB419425}"/>
          </ac:spMkLst>
        </pc:spChg>
        <pc:spChg chg="mod">
          <ac:chgData name="Ying Yang" userId="f1527f9b-a873-4aa2-b225-cf8fd3466e0d" providerId="ADAL" clId="{A30A5C05-46CF-4F03-AB5B-503FD66274CE}" dt="2022-06-09T02:48:55.593" v="3494" actId="403"/>
          <ac:spMkLst>
            <pc:docMk/>
            <pc:sldMk cId="696217983" sldId="2145705749"/>
            <ac:spMk id="276" creationId="{2B8BECAE-0A76-4B57-806E-7043E749EC53}"/>
          </ac:spMkLst>
        </pc:spChg>
        <pc:spChg chg="mod">
          <ac:chgData name="Ying Yang" userId="f1527f9b-a873-4aa2-b225-cf8fd3466e0d" providerId="ADAL" clId="{A30A5C05-46CF-4F03-AB5B-503FD66274CE}" dt="2022-06-09T02:48:55.593" v="3494" actId="403"/>
          <ac:spMkLst>
            <pc:docMk/>
            <pc:sldMk cId="696217983" sldId="2145705749"/>
            <ac:spMk id="277" creationId="{B4329742-14BB-4856-866D-768ADF1763A9}"/>
          </ac:spMkLst>
        </pc:spChg>
        <pc:spChg chg="mod">
          <ac:chgData name="Ying Yang" userId="f1527f9b-a873-4aa2-b225-cf8fd3466e0d" providerId="ADAL" clId="{A30A5C05-46CF-4F03-AB5B-503FD66274CE}" dt="2022-06-09T02:48:55.593" v="3494" actId="403"/>
          <ac:spMkLst>
            <pc:docMk/>
            <pc:sldMk cId="696217983" sldId="2145705749"/>
            <ac:spMk id="278" creationId="{3CBC437D-1336-4A15-BB45-EC08FABC2A14}"/>
          </ac:spMkLst>
        </pc:spChg>
        <pc:spChg chg="mod">
          <ac:chgData name="Ying Yang" userId="f1527f9b-a873-4aa2-b225-cf8fd3466e0d" providerId="ADAL" clId="{A30A5C05-46CF-4F03-AB5B-503FD66274CE}" dt="2022-06-09T02:48:55.593" v="3494" actId="403"/>
          <ac:spMkLst>
            <pc:docMk/>
            <pc:sldMk cId="696217983" sldId="2145705749"/>
            <ac:spMk id="279" creationId="{6644BB15-5209-45F1-B425-4825C4AE0CD0}"/>
          </ac:spMkLst>
        </pc:spChg>
        <pc:spChg chg="mod">
          <ac:chgData name="Ying Yang" userId="f1527f9b-a873-4aa2-b225-cf8fd3466e0d" providerId="ADAL" clId="{A30A5C05-46CF-4F03-AB5B-503FD66274CE}" dt="2022-06-09T02:48:55.593" v="3494" actId="403"/>
          <ac:spMkLst>
            <pc:docMk/>
            <pc:sldMk cId="696217983" sldId="2145705749"/>
            <ac:spMk id="280" creationId="{C14B90B3-AA0E-4A04-B7BF-61307A8E8070}"/>
          </ac:spMkLst>
        </pc:spChg>
        <pc:spChg chg="mod">
          <ac:chgData name="Ying Yang" userId="f1527f9b-a873-4aa2-b225-cf8fd3466e0d" providerId="ADAL" clId="{A30A5C05-46CF-4F03-AB5B-503FD66274CE}" dt="2022-06-09T02:48:55.593" v="3494" actId="403"/>
          <ac:spMkLst>
            <pc:docMk/>
            <pc:sldMk cId="696217983" sldId="2145705749"/>
            <ac:spMk id="281" creationId="{E225168B-A850-4229-8289-8A3B20BF1452}"/>
          </ac:spMkLst>
        </pc:spChg>
        <pc:spChg chg="mod">
          <ac:chgData name="Ying Yang" userId="f1527f9b-a873-4aa2-b225-cf8fd3466e0d" providerId="ADAL" clId="{A30A5C05-46CF-4F03-AB5B-503FD66274CE}" dt="2022-06-09T02:48:55.593" v="3494" actId="403"/>
          <ac:spMkLst>
            <pc:docMk/>
            <pc:sldMk cId="696217983" sldId="2145705749"/>
            <ac:spMk id="282" creationId="{2C7EE5A9-9E6E-4FE2-99A8-7C5D7945220B}"/>
          </ac:spMkLst>
        </pc:spChg>
        <pc:spChg chg="mod">
          <ac:chgData name="Ying Yang" userId="f1527f9b-a873-4aa2-b225-cf8fd3466e0d" providerId="ADAL" clId="{A30A5C05-46CF-4F03-AB5B-503FD66274CE}" dt="2022-06-09T02:48:55.593" v="3494" actId="403"/>
          <ac:spMkLst>
            <pc:docMk/>
            <pc:sldMk cId="696217983" sldId="2145705749"/>
            <ac:spMk id="283" creationId="{8B025AB2-79B5-4639-9D58-478247BBE860}"/>
          </ac:spMkLst>
        </pc:spChg>
        <pc:spChg chg="mod">
          <ac:chgData name="Ying Yang" userId="f1527f9b-a873-4aa2-b225-cf8fd3466e0d" providerId="ADAL" clId="{A30A5C05-46CF-4F03-AB5B-503FD66274CE}" dt="2022-06-09T02:48:55.593" v="3494" actId="403"/>
          <ac:spMkLst>
            <pc:docMk/>
            <pc:sldMk cId="696217983" sldId="2145705749"/>
            <ac:spMk id="284" creationId="{C1B8C856-E26E-4CFD-A339-1867E8D1D990}"/>
          </ac:spMkLst>
        </pc:spChg>
        <pc:spChg chg="mod">
          <ac:chgData name="Ying Yang" userId="f1527f9b-a873-4aa2-b225-cf8fd3466e0d" providerId="ADAL" clId="{A30A5C05-46CF-4F03-AB5B-503FD66274CE}" dt="2022-06-09T02:48:55.593" v="3494" actId="403"/>
          <ac:spMkLst>
            <pc:docMk/>
            <pc:sldMk cId="696217983" sldId="2145705749"/>
            <ac:spMk id="285" creationId="{010F82D9-901F-4A33-907C-4E08DA92A4D3}"/>
          </ac:spMkLst>
        </pc:spChg>
        <pc:spChg chg="mod">
          <ac:chgData name="Ying Yang" userId="f1527f9b-a873-4aa2-b225-cf8fd3466e0d" providerId="ADAL" clId="{A30A5C05-46CF-4F03-AB5B-503FD66274CE}" dt="2022-06-09T02:48:55.593" v="3494" actId="403"/>
          <ac:spMkLst>
            <pc:docMk/>
            <pc:sldMk cId="696217983" sldId="2145705749"/>
            <ac:spMk id="286" creationId="{E4B562AA-D7D9-48E7-AADB-835510E37315}"/>
          </ac:spMkLst>
        </pc:spChg>
        <pc:spChg chg="mod">
          <ac:chgData name="Ying Yang" userId="f1527f9b-a873-4aa2-b225-cf8fd3466e0d" providerId="ADAL" clId="{A30A5C05-46CF-4F03-AB5B-503FD66274CE}" dt="2022-06-09T02:48:55.593" v="3494" actId="403"/>
          <ac:spMkLst>
            <pc:docMk/>
            <pc:sldMk cId="696217983" sldId="2145705749"/>
            <ac:spMk id="287" creationId="{F42FC6F9-6D5C-4D1A-9B59-F22537CF0DB4}"/>
          </ac:spMkLst>
        </pc:spChg>
        <pc:spChg chg="mod">
          <ac:chgData name="Ying Yang" userId="f1527f9b-a873-4aa2-b225-cf8fd3466e0d" providerId="ADAL" clId="{A30A5C05-46CF-4F03-AB5B-503FD66274CE}" dt="2022-06-09T02:48:55.593" v="3494" actId="403"/>
          <ac:spMkLst>
            <pc:docMk/>
            <pc:sldMk cId="696217983" sldId="2145705749"/>
            <ac:spMk id="288" creationId="{3CA3D5F2-67FF-4515-9024-12CCE51181CE}"/>
          </ac:spMkLst>
        </pc:spChg>
        <pc:spChg chg="mod">
          <ac:chgData name="Ying Yang" userId="f1527f9b-a873-4aa2-b225-cf8fd3466e0d" providerId="ADAL" clId="{A30A5C05-46CF-4F03-AB5B-503FD66274CE}" dt="2022-06-09T02:48:55.593" v="3494" actId="403"/>
          <ac:spMkLst>
            <pc:docMk/>
            <pc:sldMk cId="696217983" sldId="2145705749"/>
            <ac:spMk id="289" creationId="{6A003388-647E-4233-B3E1-9864DEEDCF8D}"/>
          </ac:spMkLst>
        </pc:spChg>
        <pc:spChg chg="mod">
          <ac:chgData name="Ying Yang" userId="f1527f9b-a873-4aa2-b225-cf8fd3466e0d" providerId="ADAL" clId="{A30A5C05-46CF-4F03-AB5B-503FD66274CE}" dt="2022-06-09T02:48:55.593" v="3494" actId="403"/>
          <ac:spMkLst>
            <pc:docMk/>
            <pc:sldMk cId="696217983" sldId="2145705749"/>
            <ac:spMk id="290" creationId="{14DFB7AD-C92D-46F9-8E66-BB0EAC77D6D2}"/>
          </ac:spMkLst>
        </pc:spChg>
        <pc:spChg chg="mod">
          <ac:chgData name="Ying Yang" userId="f1527f9b-a873-4aa2-b225-cf8fd3466e0d" providerId="ADAL" clId="{A30A5C05-46CF-4F03-AB5B-503FD66274CE}" dt="2022-06-09T02:48:55.593" v="3494" actId="403"/>
          <ac:spMkLst>
            <pc:docMk/>
            <pc:sldMk cId="696217983" sldId="2145705749"/>
            <ac:spMk id="291" creationId="{123D8737-5017-4312-AB32-78F16468C500}"/>
          </ac:spMkLst>
        </pc:spChg>
        <pc:spChg chg="mod">
          <ac:chgData name="Ying Yang" userId="f1527f9b-a873-4aa2-b225-cf8fd3466e0d" providerId="ADAL" clId="{A30A5C05-46CF-4F03-AB5B-503FD66274CE}" dt="2022-06-09T02:48:55.593" v="3494" actId="403"/>
          <ac:spMkLst>
            <pc:docMk/>
            <pc:sldMk cId="696217983" sldId="2145705749"/>
            <ac:spMk id="292" creationId="{CEE24A28-6C44-4532-A4C5-55CF733CA967}"/>
          </ac:spMkLst>
        </pc:spChg>
        <pc:spChg chg="del mod">
          <ac:chgData name="Ying Yang" userId="f1527f9b-a873-4aa2-b225-cf8fd3466e0d" providerId="ADAL" clId="{A30A5C05-46CF-4F03-AB5B-503FD66274CE}" dt="2022-06-09T02:58:26.202" v="3661" actId="478"/>
          <ac:spMkLst>
            <pc:docMk/>
            <pc:sldMk cId="696217983" sldId="2145705749"/>
            <ac:spMk id="293" creationId="{347269EA-08E9-4F09-A233-B89D12140295}"/>
          </ac:spMkLst>
        </pc:spChg>
        <pc:spChg chg="mod">
          <ac:chgData name="Ying Yang" userId="f1527f9b-a873-4aa2-b225-cf8fd3466e0d" providerId="ADAL" clId="{A30A5C05-46CF-4F03-AB5B-503FD66274CE}" dt="2022-06-09T02:48:55.593" v="3494" actId="403"/>
          <ac:spMkLst>
            <pc:docMk/>
            <pc:sldMk cId="696217983" sldId="2145705749"/>
            <ac:spMk id="294" creationId="{98D7B206-3450-46F5-8FB2-A3D43753CD48}"/>
          </ac:spMkLst>
        </pc:spChg>
        <pc:spChg chg="add mod topLvl">
          <ac:chgData name="Ying Yang" userId="f1527f9b-a873-4aa2-b225-cf8fd3466e0d" providerId="ADAL" clId="{A30A5C05-46CF-4F03-AB5B-503FD66274CE}" dt="2022-06-09T03:26:33.336" v="4091" actId="1035"/>
          <ac:spMkLst>
            <pc:docMk/>
            <pc:sldMk cId="696217983" sldId="2145705749"/>
            <ac:spMk id="295" creationId="{3E1E3054-6DF4-498B-8121-1AD3544FDC62}"/>
          </ac:spMkLst>
        </pc:spChg>
        <pc:spChg chg="del mod">
          <ac:chgData name="Ying Yang" userId="f1527f9b-a873-4aa2-b225-cf8fd3466e0d" providerId="ADAL" clId="{A30A5C05-46CF-4F03-AB5B-503FD66274CE}" dt="2022-06-09T02:54:18.472" v="3603" actId="478"/>
          <ac:spMkLst>
            <pc:docMk/>
            <pc:sldMk cId="696217983" sldId="2145705749"/>
            <ac:spMk id="297" creationId="{03FBBBB5-B166-4572-A10F-E2CF1294FB53}"/>
          </ac:spMkLst>
        </pc:spChg>
        <pc:spChg chg="del mod topLvl">
          <ac:chgData name="Ying Yang" userId="f1527f9b-a873-4aa2-b225-cf8fd3466e0d" providerId="ADAL" clId="{A30A5C05-46CF-4F03-AB5B-503FD66274CE}" dt="2022-06-09T02:54:18.472" v="3603" actId="478"/>
          <ac:spMkLst>
            <pc:docMk/>
            <pc:sldMk cId="696217983" sldId="2145705749"/>
            <ac:spMk id="298" creationId="{DFFA48FB-592D-49C6-A91D-7B6E8735BCB3}"/>
          </ac:spMkLst>
        </pc:spChg>
        <pc:spChg chg="add del mod">
          <ac:chgData name="Ying Yang" userId="f1527f9b-a873-4aa2-b225-cf8fd3466e0d" providerId="ADAL" clId="{A30A5C05-46CF-4F03-AB5B-503FD66274CE}" dt="2022-06-09T02:57:29.672" v="3651" actId="478"/>
          <ac:spMkLst>
            <pc:docMk/>
            <pc:sldMk cId="696217983" sldId="2145705749"/>
            <ac:spMk id="299" creationId="{C048CC89-F649-4797-81FF-BB17F73589EB}"/>
          </ac:spMkLst>
        </pc:spChg>
        <pc:spChg chg="mod">
          <ac:chgData name="Ying Yang" userId="f1527f9b-a873-4aa2-b225-cf8fd3466e0d" providerId="ADAL" clId="{A30A5C05-46CF-4F03-AB5B-503FD66274CE}" dt="2022-06-09T02:48:30.884" v="3486"/>
          <ac:spMkLst>
            <pc:docMk/>
            <pc:sldMk cId="696217983" sldId="2145705749"/>
            <ac:spMk id="301" creationId="{FE5EEB09-B2EB-43D2-9E35-6C0AB6CAD2AB}"/>
          </ac:spMkLst>
        </pc:spChg>
        <pc:spChg chg="mod">
          <ac:chgData name="Ying Yang" userId="f1527f9b-a873-4aa2-b225-cf8fd3466e0d" providerId="ADAL" clId="{A30A5C05-46CF-4F03-AB5B-503FD66274CE}" dt="2022-06-09T02:48:30.884" v="3486"/>
          <ac:spMkLst>
            <pc:docMk/>
            <pc:sldMk cId="696217983" sldId="2145705749"/>
            <ac:spMk id="302" creationId="{20BDFBD2-8849-4431-A26B-F5F312380E7D}"/>
          </ac:spMkLst>
        </pc:spChg>
        <pc:spChg chg="add mod">
          <ac:chgData name="Ying Yang" userId="f1527f9b-a873-4aa2-b225-cf8fd3466e0d" providerId="ADAL" clId="{A30A5C05-46CF-4F03-AB5B-503FD66274CE}" dt="2022-06-09T03:05:45.904" v="3712" actId="1076"/>
          <ac:spMkLst>
            <pc:docMk/>
            <pc:sldMk cId="696217983" sldId="2145705749"/>
            <ac:spMk id="303" creationId="{38E6928D-33C0-490B-8DF2-7AD2CA94D4E8}"/>
          </ac:spMkLst>
        </pc:spChg>
        <pc:spChg chg="add del mod ord">
          <ac:chgData name="Ying Yang" userId="f1527f9b-a873-4aa2-b225-cf8fd3466e0d" providerId="ADAL" clId="{A30A5C05-46CF-4F03-AB5B-503FD66274CE}" dt="2022-06-09T02:55:09.036" v="3619"/>
          <ac:spMkLst>
            <pc:docMk/>
            <pc:sldMk cId="696217983" sldId="2145705749"/>
            <ac:spMk id="304" creationId="{A5738D75-DFAD-4862-9976-908D5DF92A6D}"/>
          </ac:spMkLst>
        </pc:spChg>
        <pc:spChg chg="add mod">
          <ac:chgData name="Ying Yang" userId="f1527f9b-a873-4aa2-b225-cf8fd3466e0d" providerId="ADAL" clId="{A30A5C05-46CF-4F03-AB5B-503FD66274CE}" dt="2022-06-09T03:26:11.691" v="4083" actId="207"/>
          <ac:spMkLst>
            <pc:docMk/>
            <pc:sldMk cId="696217983" sldId="2145705749"/>
            <ac:spMk id="305" creationId="{3E6E4449-E8C0-4D87-A045-F1EF72BA4AAA}"/>
          </ac:spMkLst>
        </pc:spChg>
        <pc:grpChg chg="add mod">
          <ac:chgData name="Ying Yang" userId="f1527f9b-a873-4aa2-b225-cf8fd3466e0d" providerId="ADAL" clId="{A30A5C05-46CF-4F03-AB5B-503FD66274CE}" dt="2022-06-09T02:58:51.008" v="3663" actId="164"/>
          <ac:grpSpMkLst>
            <pc:docMk/>
            <pc:sldMk cId="696217983" sldId="2145705749"/>
            <ac:grpSpMk id="3" creationId="{A108F468-CBC7-4C5D-933E-1BC1149C183D}"/>
          </ac:grpSpMkLst>
        </pc:grpChg>
        <pc:grpChg chg="del mod">
          <ac:chgData name="Ying Yang" userId="f1527f9b-a873-4aa2-b225-cf8fd3466e0d" providerId="ADAL" clId="{A30A5C05-46CF-4F03-AB5B-503FD66274CE}" dt="2022-06-09T02:34:54.789" v="3296" actId="478"/>
          <ac:grpSpMkLst>
            <pc:docMk/>
            <pc:sldMk cId="696217983" sldId="2145705749"/>
            <ac:grpSpMk id="5" creationId="{00000000-0000-0000-0000-000000000000}"/>
          </ac:grpSpMkLst>
        </pc:grpChg>
        <pc:grpChg chg="add mod">
          <ac:chgData name="Ying Yang" userId="f1527f9b-a873-4aa2-b225-cf8fd3466e0d" providerId="ADAL" clId="{A30A5C05-46CF-4F03-AB5B-503FD66274CE}" dt="2022-06-09T02:59:09.343" v="3669" actId="164"/>
          <ac:grpSpMkLst>
            <pc:docMk/>
            <pc:sldMk cId="696217983" sldId="2145705749"/>
            <ac:grpSpMk id="10" creationId="{D2B129A7-259E-4D8D-A3CF-D9814703F38D}"/>
          </ac:grpSpMkLst>
        </pc:grpChg>
        <pc:grpChg chg="add mod">
          <ac:chgData name="Ying Yang" userId="f1527f9b-a873-4aa2-b225-cf8fd3466e0d" providerId="ADAL" clId="{A30A5C05-46CF-4F03-AB5B-503FD66274CE}" dt="2022-06-09T02:58:55.522" v="3664" actId="164"/>
          <ac:grpSpMkLst>
            <pc:docMk/>
            <pc:sldMk cId="696217983" sldId="2145705749"/>
            <ac:grpSpMk id="11" creationId="{2E74109C-5D6F-49F3-BD02-7AB6E3E8F71E}"/>
          </ac:grpSpMkLst>
        </pc:grpChg>
        <pc:grpChg chg="del">
          <ac:chgData name="Ying Yang" userId="f1527f9b-a873-4aa2-b225-cf8fd3466e0d" providerId="ADAL" clId="{A30A5C05-46CF-4F03-AB5B-503FD66274CE}" dt="2022-06-09T02:14:43.060" v="2945" actId="478"/>
          <ac:grpSpMkLst>
            <pc:docMk/>
            <pc:sldMk cId="696217983" sldId="2145705749"/>
            <ac:grpSpMk id="12" creationId="{9DD93AB4-E486-4C7A-BD5D-1893AE30B25D}"/>
          </ac:grpSpMkLst>
        </pc:grpChg>
        <pc:grpChg chg="del">
          <ac:chgData name="Ying Yang" userId="f1527f9b-a873-4aa2-b225-cf8fd3466e0d" providerId="ADAL" clId="{A30A5C05-46CF-4F03-AB5B-503FD66274CE}" dt="2022-06-09T02:14:49.006" v="2949" actId="478"/>
          <ac:grpSpMkLst>
            <pc:docMk/>
            <pc:sldMk cId="696217983" sldId="2145705749"/>
            <ac:grpSpMk id="13" creationId="{FE63133C-8281-4EC8-86A8-F0B8EB1C22E9}"/>
          </ac:grpSpMkLst>
        </pc:grpChg>
        <pc:grpChg chg="add del mod">
          <ac:chgData name="Ying Yang" userId="f1527f9b-a873-4aa2-b225-cf8fd3466e0d" providerId="ADAL" clId="{A30A5C05-46CF-4F03-AB5B-503FD66274CE}" dt="2022-06-09T02:54:18.472" v="3603" actId="478"/>
          <ac:grpSpMkLst>
            <pc:docMk/>
            <pc:sldMk cId="696217983" sldId="2145705749"/>
            <ac:grpSpMk id="17" creationId="{180A4C1E-7739-4C78-8567-D63D99EF0020}"/>
          </ac:grpSpMkLst>
        </pc:grpChg>
        <pc:grpChg chg="add mod">
          <ac:chgData name="Ying Yang" userId="f1527f9b-a873-4aa2-b225-cf8fd3466e0d" providerId="ADAL" clId="{A30A5C05-46CF-4F03-AB5B-503FD66274CE}" dt="2022-06-09T03:25:43.837" v="4081" actId="14100"/>
          <ac:grpSpMkLst>
            <pc:docMk/>
            <pc:sldMk cId="696217983" sldId="2145705749"/>
            <ac:grpSpMk id="23" creationId="{A313C583-C90E-4B1A-B823-910C799E6A75}"/>
          </ac:grpSpMkLst>
        </pc:grpChg>
        <pc:grpChg chg="add mod">
          <ac:chgData name="Ying Yang" userId="f1527f9b-a873-4aa2-b225-cf8fd3466e0d" providerId="ADAL" clId="{A30A5C05-46CF-4F03-AB5B-503FD66274CE}" dt="2022-06-09T02:59:09.343" v="3669" actId="164"/>
          <ac:grpSpMkLst>
            <pc:docMk/>
            <pc:sldMk cId="696217983" sldId="2145705749"/>
            <ac:grpSpMk id="24" creationId="{B4888987-F82B-4E11-BB4B-218C5C759C07}"/>
          </ac:grpSpMkLst>
        </pc:grpChg>
        <pc:grpChg chg="add mod">
          <ac:chgData name="Ying Yang" userId="f1527f9b-a873-4aa2-b225-cf8fd3466e0d" providerId="ADAL" clId="{A30A5C05-46CF-4F03-AB5B-503FD66274CE}" dt="2022-06-09T03:06:50.539" v="3718" actId="1076"/>
          <ac:grpSpMkLst>
            <pc:docMk/>
            <pc:sldMk cId="696217983" sldId="2145705749"/>
            <ac:grpSpMk id="25" creationId="{2C91CDF9-26E4-4C9E-8DF7-4FA443A6C50C}"/>
          </ac:grpSpMkLst>
        </pc:grpChg>
        <pc:grpChg chg="add mod">
          <ac:chgData name="Ying Yang" userId="f1527f9b-a873-4aa2-b225-cf8fd3466e0d" providerId="ADAL" clId="{A30A5C05-46CF-4F03-AB5B-503FD66274CE}" dt="2022-06-09T03:25:39.749" v="4080" actId="14100"/>
          <ac:grpSpMkLst>
            <pc:docMk/>
            <pc:sldMk cId="696217983" sldId="2145705749"/>
            <ac:grpSpMk id="26" creationId="{84721D1F-7DA5-467E-AD27-4C76B71B14D4}"/>
          </ac:grpSpMkLst>
        </pc:grpChg>
        <pc:grpChg chg="del">
          <ac:chgData name="Ying Yang" userId="f1527f9b-a873-4aa2-b225-cf8fd3466e0d" providerId="ADAL" clId="{A30A5C05-46CF-4F03-AB5B-503FD66274CE}" dt="2022-06-09T02:14:49.006" v="2949" actId="478"/>
          <ac:grpSpMkLst>
            <pc:docMk/>
            <pc:sldMk cId="696217983" sldId="2145705749"/>
            <ac:grpSpMk id="28" creationId="{DC125B44-753B-4FC4-825A-6B140B3A958B}"/>
          </ac:grpSpMkLst>
        </pc:grpChg>
        <pc:grpChg chg="del">
          <ac:chgData name="Ying Yang" userId="f1527f9b-a873-4aa2-b225-cf8fd3466e0d" providerId="ADAL" clId="{A30A5C05-46CF-4F03-AB5B-503FD66274CE}" dt="2022-06-09T02:14:49.006" v="2949" actId="478"/>
          <ac:grpSpMkLst>
            <pc:docMk/>
            <pc:sldMk cId="696217983" sldId="2145705749"/>
            <ac:grpSpMk id="29" creationId="{EFDA74A9-1318-4C32-81AD-1EEEBBB8F4EC}"/>
          </ac:grpSpMkLst>
        </pc:grpChg>
        <pc:grpChg chg="add del mod">
          <ac:chgData name="Ying Yang" userId="f1527f9b-a873-4aa2-b225-cf8fd3466e0d" providerId="ADAL" clId="{A30A5C05-46CF-4F03-AB5B-503FD66274CE}" dt="2022-06-09T02:16:15.422" v="2964" actId="478"/>
          <ac:grpSpMkLst>
            <pc:docMk/>
            <pc:sldMk cId="696217983" sldId="2145705749"/>
            <ac:grpSpMk id="65" creationId="{3EFA5188-AACA-439C-A1A8-F4453FCA6831}"/>
          </ac:grpSpMkLst>
        </pc:grpChg>
        <pc:grpChg chg="add mod">
          <ac:chgData name="Ying Yang" userId="f1527f9b-a873-4aa2-b225-cf8fd3466e0d" providerId="ADAL" clId="{A30A5C05-46CF-4F03-AB5B-503FD66274CE}" dt="2022-06-09T02:58:51.008" v="3663" actId="164"/>
          <ac:grpSpMkLst>
            <pc:docMk/>
            <pc:sldMk cId="696217983" sldId="2145705749"/>
            <ac:grpSpMk id="68" creationId="{617B7465-D63C-40FE-B733-1A181EC04203}"/>
          </ac:grpSpMkLst>
        </pc:grpChg>
        <pc:grpChg chg="add mod">
          <ac:chgData name="Ying Yang" userId="f1527f9b-a873-4aa2-b225-cf8fd3466e0d" providerId="ADAL" clId="{A30A5C05-46CF-4F03-AB5B-503FD66274CE}" dt="2022-06-09T02:58:51.008" v="3663" actId="164"/>
          <ac:grpSpMkLst>
            <pc:docMk/>
            <pc:sldMk cId="696217983" sldId="2145705749"/>
            <ac:grpSpMk id="71" creationId="{A3ECC082-ED52-4E1E-9011-EA760D60DC7C}"/>
          </ac:grpSpMkLst>
        </pc:grpChg>
        <pc:grpChg chg="add mod">
          <ac:chgData name="Ying Yang" userId="f1527f9b-a873-4aa2-b225-cf8fd3466e0d" providerId="ADAL" clId="{A30A5C05-46CF-4F03-AB5B-503FD66274CE}" dt="2022-06-09T02:58:51.008" v="3663" actId="164"/>
          <ac:grpSpMkLst>
            <pc:docMk/>
            <pc:sldMk cId="696217983" sldId="2145705749"/>
            <ac:grpSpMk id="74" creationId="{867F087C-45A8-45D9-82DB-32EEF5C5889F}"/>
          </ac:grpSpMkLst>
        </pc:grpChg>
        <pc:grpChg chg="add mod">
          <ac:chgData name="Ying Yang" userId="f1527f9b-a873-4aa2-b225-cf8fd3466e0d" providerId="ADAL" clId="{A30A5C05-46CF-4F03-AB5B-503FD66274CE}" dt="2022-06-09T02:58:51.008" v="3663" actId="164"/>
          <ac:grpSpMkLst>
            <pc:docMk/>
            <pc:sldMk cId="696217983" sldId="2145705749"/>
            <ac:grpSpMk id="77" creationId="{DDB51F69-FD4F-49E8-B0FA-7C255E44C904}"/>
          </ac:grpSpMkLst>
        </pc:grpChg>
        <pc:grpChg chg="add mod">
          <ac:chgData name="Ying Yang" userId="f1527f9b-a873-4aa2-b225-cf8fd3466e0d" providerId="ADAL" clId="{A30A5C05-46CF-4F03-AB5B-503FD66274CE}" dt="2022-06-09T02:58:55.522" v="3664" actId="164"/>
          <ac:grpSpMkLst>
            <pc:docMk/>
            <pc:sldMk cId="696217983" sldId="2145705749"/>
            <ac:grpSpMk id="84" creationId="{85C60558-B3F1-465C-9E58-A287B1196E6C}"/>
          </ac:grpSpMkLst>
        </pc:grpChg>
        <pc:grpChg chg="add mod">
          <ac:chgData name="Ying Yang" userId="f1527f9b-a873-4aa2-b225-cf8fd3466e0d" providerId="ADAL" clId="{A30A5C05-46CF-4F03-AB5B-503FD66274CE}" dt="2022-06-13T08:39:23.568" v="5017" actId="1076"/>
          <ac:grpSpMkLst>
            <pc:docMk/>
            <pc:sldMk cId="696217983" sldId="2145705749"/>
            <ac:grpSpMk id="88" creationId="{1D45B197-05A6-49E0-A248-F388DEC85F07}"/>
          </ac:grpSpMkLst>
        </pc:grpChg>
        <pc:grpChg chg="add mod">
          <ac:chgData name="Ying Yang" userId="f1527f9b-a873-4aa2-b225-cf8fd3466e0d" providerId="ADAL" clId="{A30A5C05-46CF-4F03-AB5B-503FD66274CE}" dt="2022-06-09T02:35:28.962" v="3302"/>
          <ac:grpSpMkLst>
            <pc:docMk/>
            <pc:sldMk cId="696217983" sldId="2145705749"/>
            <ac:grpSpMk id="94" creationId="{EB4D82F1-9D98-4225-82C8-30C18610D65F}"/>
          </ac:grpSpMkLst>
        </pc:grpChg>
        <pc:grpChg chg="mod">
          <ac:chgData name="Ying Yang" userId="f1527f9b-a873-4aa2-b225-cf8fd3466e0d" providerId="ADAL" clId="{A30A5C05-46CF-4F03-AB5B-503FD66274CE}" dt="2022-06-09T02:35:28.962" v="3302"/>
          <ac:grpSpMkLst>
            <pc:docMk/>
            <pc:sldMk cId="696217983" sldId="2145705749"/>
            <ac:grpSpMk id="96" creationId="{F4F2F47D-B2F8-492B-BB26-CD5EB90D611F}"/>
          </ac:grpSpMkLst>
        </pc:grpChg>
        <pc:grpChg chg="mod">
          <ac:chgData name="Ying Yang" userId="f1527f9b-a873-4aa2-b225-cf8fd3466e0d" providerId="ADAL" clId="{A30A5C05-46CF-4F03-AB5B-503FD66274CE}" dt="2022-06-09T02:35:28.962" v="3302"/>
          <ac:grpSpMkLst>
            <pc:docMk/>
            <pc:sldMk cId="696217983" sldId="2145705749"/>
            <ac:grpSpMk id="97" creationId="{C3807C19-BE92-46DA-8363-218D630B4A27}"/>
          </ac:grpSpMkLst>
        </pc:grpChg>
        <pc:grpChg chg="add del mod">
          <ac:chgData name="Ying Yang" userId="f1527f9b-a873-4aa2-b225-cf8fd3466e0d" providerId="ADAL" clId="{A30A5C05-46CF-4F03-AB5B-503FD66274CE}" dt="2022-06-09T02:36:45.061" v="3340"/>
          <ac:grpSpMkLst>
            <pc:docMk/>
            <pc:sldMk cId="696217983" sldId="2145705749"/>
            <ac:grpSpMk id="119" creationId="{05553231-1D17-47DD-998F-91807BADB44F}"/>
          </ac:grpSpMkLst>
        </pc:grpChg>
        <pc:grpChg chg="mod">
          <ac:chgData name="Ying Yang" userId="f1527f9b-a873-4aa2-b225-cf8fd3466e0d" providerId="ADAL" clId="{A30A5C05-46CF-4F03-AB5B-503FD66274CE}" dt="2022-06-09T02:36:42.949" v="3339"/>
          <ac:grpSpMkLst>
            <pc:docMk/>
            <pc:sldMk cId="696217983" sldId="2145705749"/>
            <ac:grpSpMk id="120" creationId="{BB4BB557-5FA8-4C04-B185-589A2D005FF6}"/>
          </ac:grpSpMkLst>
        </pc:grpChg>
        <pc:grpChg chg="mod">
          <ac:chgData name="Ying Yang" userId="f1527f9b-a873-4aa2-b225-cf8fd3466e0d" providerId="ADAL" clId="{A30A5C05-46CF-4F03-AB5B-503FD66274CE}" dt="2022-06-09T02:36:42.949" v="3339"/>
          <ac:grpSpMkLst>
            <pc:docMk/>
            <pc:sldMk cId="696217983" sldId="2145705749"/>
            <ac:grpSpMk id="121" creationId="{A4AF3D89-7A4B-4773-B05F-CAB9EF5A5757}"/>
          </ac:grpSpMkLst>
        </pc:grpChg>
        <pc:grpChg chg="add del mod">
          <ac:chgData name="Ying Yang" userId="f1527f9b-a873-4aa2-b225-cf8fd3466e0d" providerId="ADAL" clId="{A30A5C05-46CF-4F03-AB5B-503FD66274CE}" dt="2022-06-09T02:36:52.796" v="3342" actId="165"/>
          <ac:grpSpMkLst>
            <pc:docMk/>
            <pc:sldMk cId="696217983" sldId="2145705749"/>
            <ac:grpSpMk id="130" creationId="{DC1EE7D6-4E81-4184-885D-E6062F9E18EC}"/>
          </ac:grpSpMkLst>
        </pc:grpChg>
        <pc:grpChg chg="del mod topLvl">
          <ac:chgData name="Ying Yang" userId="f1527f9b-a873-4aa2-b225-cf8fd3466e0d" providerId="ADAL" clId="{A30A5C05-46CF-4F03-AB5B-503FD66274CE}" dt="2022-06-09T02:43:16.677" v="3421" actId="478"/>
          <ac:grpSpMkLst>
            <pc:docMk/>
            <pc:sldMk cId="696217983" sldId="2145705749"/>
            <ac:grpSpMk id="133" creationId="{82F6B4FF-9BF7-4DFC-AB7E-6EDFBEB31CD6}"/>
          </ac:grpSpMkLst>
        </pc:grpChg>
        <pc:grpChg chg="mod topLvl">
          <ac:chgData name="Ying Yang" userId="f1527f9b-a873-4aa2-b225-cf8fd3466e0d" providerId="ADAL" clId="{A30A5C05-46CF-4F03-AB5B-503FD66274CE}" dt="2022-06-09T02:45:36.770" v="3449" actId="11530"/>
          <ac:grpSpMkLst>
            <pc:docMk/>
            <pc:sldMk cId="696217983" sldId="2145705749"/>
            <ac:grpSpMk id="135" creationId="{F73FECE0-222A-487E-94E8-7C79AAAF7B6C}"/>
          </ac:grpSpMkLst>
        </pc:grpChg>
        <pc:grpChg chg="del">
          <ac:chgData name="Ying Yang" userId="f1527f9b-a873-4aa2-b225-cf8fd3466e0d" providerId="ADAL" clId="{A30A5C05-46CF-4F03-AB5B-503FD66274CE}" dt="2022-06-09T02:14:49.006" v="2949" actId="478"/>
          <ac:grpSpMkLst>
            <pc:docMk/>
            <pc:sldMk cId="696217983" sldId="2145705749"/>
            <ac:grpSpMk id="154" creationId="{985A2235-3BB9-48B1-8C26-A8017DAA7936}"/>
          </ac:grpSpMkLst>
        </pc:grpChg>
        <pc:grpChg chg="del">
          <ac:chgData name="Ying Yang" userId="f1527f9b-a873-4aa2-b225-cf8fd3466e0d" providerId="ADAL" clId="{A30A5C05-46CF-4F03-AB5B-503FD66274CE}" dt="2022-06-09T02:14:45.318" v="2947" actId="478"/>
          <ac:grpSpMkLst>
            <pc:docMk/>
            <pc:sldMk cId="696217983" sldId="2145705749"/>
            <ac:grpSpMk id="160" creationId="{B36E5F67-1A63-4293-A248-CF18E3662E16}"/>
          </ac:grpSpMkLst>
        </pc:grpChg>
        <pc:grpChg chg="del">
          <ac:chgData name="Ying Yang" userId="f1527f9b-a873-4aa2-b225-cf8fd3466e0d" providerId="ADAL" clId="{A30A5C05-46CF-4F03-AB5B-503FD66274CE}" dt="2022-06-09T02:14:46.223" v="2948" actId="478"/>
          <ac:grpSpMkLst>
            <pc:docMk/>
            <pc:sldMk cId="696217983" sldId="2145705749"/>
            <ac:grpSpMk id="163" creationId="{AC878337-DDE9-491A-BE57-F1F2896E9E4D}"/>
          </ac:grpSpMkLst>
        </pc:grpChg>
        <pc:grpChg chg="add mod">
          <ac:chgData name="Ying Yang" userId="f1527f9b-a873-4aa2-b225-cf8fd3466e0d" providerId="ADAL" clId="{A30A5C05-46CF-4F03-AB5B-503FD66274CE}" dt="2022-06-09T02:37:02.199" v="3346"/>
          <ac:grpSpMkLst>
            <pc:docMk/>
            <pc:sldMk cId="696217983" sldId="2145705749"/>
            <ac:grpSpMk id="168" creationId="{60652139-5C96-4BA6-90BB-D4710632653E}"/>
          </ac:grpSpMkLst>
        </pc:grpChg>
        <pc:grpChg chg="add mod">
          <ac:chgData name="Ying Yang" userId="f1527f9b-a873-4aa2-b225-cf8fd3466e0d" providerId="ADAL" clId="{A30A5C05-46CF-4F03-AB5B-503FD66274CE}" dt="2022-06-09T02:39:34.073" v="3380" actId="571"/>
          <ac:grpSpMkLst>
            <pc:docMk/>
            <pc:sldMk cId="696217983" sldId="2145705749"/>
            <ac:grpSpMk id="173" creationId="{F5A03D73-F01E-44EC-BCE3-5443185A335B}"/>
          </ac:grpSpMkLst>
        </pc:grpChg>
        <pc:grpChg chg="add del mod">
          <ac:chgData name="Ying Yang" userId="f1527f9b-a873-4aa2-b225-cf8fd3466e0d" providerId="ADAL" clId="{A30A5C05-46CF-4F03-AB5B-503FD66274CE}" dt="2022-06-09T03:25:03.637" v="4078" actId="21"/>
          <ac:grpSpMkLst>
            <pc:docMk/>
            <pc:sldMk cId="696217983" sldId="2145705749"/>
            <ac:grpSpMk id="179" creationId="{BBA0D445-C18D-4825-8C37-65F28D64046F}"/>
          </ac:grpSpMkLst>
        </pc:grpChg>
        <pc:grpChg chg="add mod">
          <ac:chgData name="Ying Yang" userId="f1527f9b-a873-4aa2-b225-cf8fd3466e0d" providerId="ADAL" clId="{A30A5C05-46CF-4F03-AB5B-503FD66274CE}" dt="2022-06-09T02:58:59.363" v="3665" actId="164"/>
          <ac:grpSpMkLst>
            <pc:docMk/>
            <pc:sldMk cId="696217983" sldId="2145705749"/>
            <ac:grpSpMk id="183" creationId="{EA0BDA3A-F4C5-40A9-AC66-30BA554F94A0}"/>
          </ac:grpSpMkLst>
        </pc:grpChg>
        <pc:grpChg chg="mod">
          <ac:chgData name="Ying Yang" userId="f1527f9b-a873-4aa2-b225-cf8fd3466e0d" providerId="ADAL" clId="{A30A5C05-46CF-4F03-AB5B-503FD66274CE}" dt="2022-06-09T02:47:57.875" v="3480"/>
          <ac:grpSpMkLst>
            <pc:docMk/>
            <pc:sldMk cId="696217983" sldId="2145705749"/>
            <ac:grpSpMk id="187" creationId="{48509539-BB22-42C7-9DA1-A981C554909A}"/>
          </ac:grpSpMkLst>
        </pc:grpChg>
        <pc:grpChg chg="add del mod">
          <ac:chgData name="Ying Yang" userId="f1527f9b-a873-4aa2-b225-cf8fd3466e0d" providerId="ADAL" clId="{A30A5C05-46CF-4F03-AB5B-503FD66274CE}" dt="2022-06-09T02:54:18.472" v="3603" actId="478"/>
          <ac:grpSpMkLst>
            <pc:docMk/>
            <pc:sldMk cId="696217983" sldId="2145705749"/>
            <ac:grpSpMk id="296" creationId="{9E1BD9B2-8A0D-4B76-BEF5-2F935EE5AB09}"/>
          </ac:grpSpMkLst>
        </pc:grpChg>
        <pc:grpChg chg="add del mod">
          <ac:chgData name="Ying Yang" userId="f1527f9b-a873-4aa2-b225-cf8fd3466e0d" providerId="ADAL" clId="{A30A5C05-46CF-4F03-AB5B-503FD66274CE}" dt="2022-06-09T02:56:07.173" v="3629" actId="478"/>
          <ac:grpSpMkLst>
            <pc:docMk/>
            <pc:sldMk cId="696217983" sldId="2145705749"/>
            <ac:grpSpMk id="300" creationId="{FCADD71D-6C7D-483C-945E-60D3096564CE}"/>
          </ac:grpSpMkLst>
        </pc:grpChg>
        <pc:picChg chg="mod">
          <ac:chgData name="Ying Yang" userId="f1527f9b-a873-4aa2-b225-cf8fd3466e0d" providerId="ADAL" clId="{A30A5C05-46CF-4F03-AB5B-503FD66274CE}" dt="2022-06-09T02:34:50.893" v="3295"/>
          <ac:picMkLst>
            <pc:docMk/>
            <pc:sldMk cId="696217983" sldId="2145705749"/>
            <ac:picMk id="93" creationId="{11CE241B-AD81-409B-992F-9357255B0C61}"/>
          </ac:picMkLst>
        </pc:picChg>
        <pc:picChg chg="mod">
          <ac:chgData name="Ying Yang" userId="f1527f9b-a873-4aa2-b225-cf8fd3466e0d" providerId="ADAL" clId="{A30A5C05-46CF-4F03-AB5B-503FD66274CE}" dt="2022-06-09T02:47:57.875" v="3480"/>
          <ac:picMkLst>
            <pc:docMk/>
            <pc:sldMk cId="696217983" sldId="2145705749"/>
            <ac:picMk id="184" creationId="{804B5689-FD5B-493D-AA29-ED5C8D77AD61}"/>
          </ac:picMkLst>
        </pc:picChg>
        <pc:cxnChg chg="add mod ord">
          <ac:chgData name="Ying Yang" userId="f1527f9b-a873-4aa2-b225-cf8fd3466e0d" providerId="ADAL" clId="{A30A5C05-46CF-4F03-AB5B-503FD66274CE}" dt="2022-06-09T02:58:51.008" v="3663" actId="164"/>
          <ac:cxnSpMkLst>
            <pc:docMk/>
            <pc:sldMk cId="696217983" sldId="2145705749"/>
            <ac:cxnSpMk id="6" creationId="{09B19C5F-49C1-413A-8DF2-E5CC37A4A29C}"/>
          </ac:cxnSpMkLst>
        </pc:cxnChg>
        <pc:cxnChg chg="mod">
          <ac:chgData name="Ying Yang" userId="f1527f9b-a873-4aa2-b225-cf8fd3466e0d" providerId="ADAL" clId="{A30A5C05-46CF-4F03-AB5B-503FD66274CE}" dt="2022-06-09T02:35:28.962" v="3302"/>
          <ac:cxnSpMkLst>
            <pc:docMk/>
            <pc:sldMk cId="696217983" sldId="2145705749"/>
            <ac:cxnSpMk id="98" creationId="{B4975971-6169-4805-9CAD-785B44FFB133}"/>
          </ac:cxnSpMkLst>
        </pc:cxnChg>
        <pc:cxnChg chg="mod">
          <ac:chgData name="Ying Yang" userId="f1527f9b-a873-4aa2-b225-cf8fd3466e0d" providerId="ADAL" clId="{A30A5C05-46CF-4F03-AB5B-503FD66274CE}" dt="2022-06-09T02:35:28.962" v="3302"/>
          <ac:cxnSpMkLst>
            <pc:docMk/>
            <pc:sldMk cId="696217983" sldId="2145705749"/>
            <ac:cxnSpMk id="106" creationId="{4E72A394-5DAA-4C91-90AA-0F1FAA4F0E74}"/>
          </ac:cxnSpMkLst>
        </pc:cxnChg>
        <pc:cxnChg chg="mod">
          <ac:chgData name="Ying Yang" userId="f1527f9b-a873-4aa2-b225-cf8fd3466e0d" providerId="ADAL" clId="{A30A5C05-46CF-4F03-AB5B-503FD66274CE}" dt="2022-06-09T02:47:57.875" v="3480"/>
          <ac:cxnSpMkLst>
            <pc:docMk/>
            <pc:sldMk cId="696217983" sldId="2145705749"/>
            <ac:cxnSpMk id="190" creationId="{0951F269-FB68-4B24-A173-EC4E5156909F}"/>
          </ac:cxnSpMkLst>
        </pc:cxnChg>
        <pc:cxnChg chg="mod">
          <ac:chgData name="Ying Yang" userId="f1527f9b-a873-4aa2-b225-cf8fd3466e0d" providerId="ADAL" clId="{A30A5C05-46CF-4F03-AB5B-503FD66274CE}" dt="2022-06-09T02:47:57.875" v="3480"/>
          <ac:cxnSpMkLst>
            <pc:docMk/>
            <pc:sldMk cId="696217983" sldId="2145705749"/>
            <ac:cxnSpMk id="191" creationId="{FAA28C97-E580-4DD4-8E71-3DB3DB56269E}"/>
          </ac:cxnSpMkLst>
        </pc:cxnChg>
        <pc:cxnChg chg="mod">
          <ac:chgData name="Ying Yang" userId="f1527f9b-a873-4aa2-b225-cf8fd3466e0d" providerId="ADAL" clId="{A30A5C05-46CF-4F03-AB5B-503FD66274CE}" dt="2022-06-09T02:47:57.875" v="3480"/>
          <ac:cxnSpMkLst>
            <pc:docMk/>
            <pc:sldMk cId="696217983" sldId="2145705749"/>
            <ac:cxnSpMk id="193" creationId="{DD6EECDB-E8F9-4D86-B9DB-9983F3967644}"/>
          </ac:cxnSpMkLst>
        </pc:cxnChg>
        <pc:cxnChg chg="mod">
          <ac:chgData name="Ying Yang" userId="f1527f9b-a873-4aa2-b225-cf8fd3466e0d" providerId="ADAL" clId="{A30A5C05-46CF-4F03-AB5B-503FD66274CE}" dt="2022-06-09T02:47:57.875" v="3480"/>
          <ac:cxnSpMkLst>
            <pc:docMk/>
            <pc:sldMk cId="696217983" sldId="2145705749"/>
            <ac:cxnSpMk id="195" creationId="{BAB90C11-0150-4DE9-838D-224C6E6AF0F4}"/>
          </ac:cxnSpMkLst>
        </pc:cxnChg>
        <pc:cxnChg chg="mod">
          <ac:chgData name="Ying Yang" userId="f1527f9b-a873-4aa2-b225-cf8fd3466e0d" providerId="ADAL" clId="{A30A5C05-46CF-4F03-AB5B-503FD66274CE}" dt="2022-06-09T02:47:57.875" v="3480"/>
          <ac:cxnSpMkLst>
            <pc:docMk/>
            <pc:sldMk cId="696217983" sldId="2145705749"/>
            <ac:cxnSpMk id="196" creationId="{61B68868-EB19-4B56-8A6F-92F617C6ED5A}"/>
          </ac:cxnSpMkLst>
        </pc:cxnChg>
        <pc:cxnChg chg="mod">
          <ac:chgData name="Ying Yang" userId="f1527f9b-a873-4aa2-b225-cf8fd3466e0d" providerId="ADAL" clId="{A30A5C05-46CF-4F03-AB5B-503FD66274CE}" dt="2022-06-09T02:47:57.875" v="3480"/>
          <ac:cxnSpMkLst>
            <pc:docMk/>
            <pc:sldMk cId="696217983" sldId="2145705749"/>
            <ac:cxnSpMk id="197" creationId="{1C794F27-23A4-4A5C-BC80-2DA423102FBB}"/>
          </ac:cxnSpMkLst>
        </pc:cxnChg>
        <pc:cxnChg chg="mod">
          <ac:chgData name="Ying Yang" userId="f1527f9b-a873-4aa2-b225-cf8fd3466e0d" providerId="ADAL" clId="{A30A5C05-46CF-4F03-AB5B-503FD66274CE}" dt="2022-06-09T02:47:57.875" v="3480"/>
          <ac:cxnSpMkLst>
            <pc:docMk/>
            <pc:sldMk cId="696217983" sldId="2145705749"/>
            <ac:cxnSpMk id="200" creationId="{F88C4148-76F9-432F-A1BF-D44BFA1ABAFA}"/>
          </ac:cxnSpMkLst>
        </pc:cxnChg>
        <pc:cxnChg chg="mod">
          <ac:chgData name="Ying Yang" userId="f1527f9b-a873-4aa2-b225-cf8fd3466e0d" providerId="ADAL" clId="{A30A5C05-46CF-4F03-AB5B-503FD66274CE}" dt="2022-06-09T02:47:57.875" v="3480"/>
          <ac:cxnSpMkLst>
            <pc:docMk/>
            <pc:sldMk cId="696217983" sldId="2145705749"/>
            <ac:cxnSpMk id="201" creationId="{6DDA3CD9-84D4-42ED-BAF2-310D96F885E2}"/>
          </ac:cxnSpMkLst>
        </pc:cxnChg>
        <pc:cxnChg chg="mod">
          <ac:chgData name="Ying Yang" userId="f1527f9b-a873-4aa2-b225-cf8fd3466e0d" providerId="ADAL" clId="{A30A5C05-46CF-4F03-AB5B-503FD66274CE}" dt="2022-06-09T02:47:57.875" v="3480"/>
          <ac:cxnSpMkLst>
            <pc:docMk/>
            <pc:sldMk cId="696217983" sldId="2145705749"/>
            <ac:cxnSpMk id="203" creationId="{8CC85586-0F9E-4B58-91B7-AAD5B7D547F3}"/>
          </ac:cxnSpMkLst>
        </pc:cxnChg>
        <pc:cxnChg chg="mod">
          <ac:chgData name="Ying Yang" userId="f1527f9b-a873-4aa2-b225-cf8fd3466e0d" providerId="ADAL" clId="{A30A5C05-46CF-4F03-AB5B-503FD66274CE}" dt="2022-06-09T02:47:57.875" v="3480"/>
          <ac:cxnSpMkLst>
            <pc:docMk/>
            <pc:sldMk cId="696217983" sldId="2145705749"/>
            <ac:cxnSpMk id="204" creationId="{464903F4-7CF5-462B-A99D-5C16E5BADCD2}"/>
          </ac:cxnSpMkLst>
        </pc:cxnChg>
        <pc:cxnChg chg="mod">
          <ac:chgData name="Ying Yang" userId="f1527f9b-a873-4aa2-b225-cf8fd3466e0d" providerId="ADAL" clId="{A30A5C05-46CF-4F03-AB5B-503FD66274CE}" dt="2022-06-09T02:47:57.875" v="3480"/>
          <ac:cxnSpMkLst>
            <pc:docMk/>
            <pc:sldMk cId="696217983" sldId="2145705749"/>
            <ac:cxnSpMk id="206" creationId="{DE114F4F-4D33-4FBF-93D3-0F606D7EE536}"/>
          </ac:cxnSpMkLst>
        </pc:cxnChg>
        <pc:cxnChg chg="mod">
          <ac:chgData name="Ying Yang" userId="f1527f9b-a873-4aa2-b225-cf8fd3466e0d" providerId="ADAL" clId="{A30A5C05-46CF-4F03-AB5B-503FD66274CE}" dt="2022-06-09T02:47:57.875" v="3480"/>
          <ac:cxnSpMkLst>
            <pc:docMk/>
            <pc:sldMk cId="696217983" sldId="2145705749"/>
            <ac:cxnSpMk id="208" creationId="{60AB6412-2E27-4AC7-B7E0-50F05D38CD64}"/>
          </ac:cxnSpMkLst>
        </pc:cxnChg>
        <pc:cxnChg chg="mod">
          <ac:chgData name="Ying Yang" userId="f1527f9b-a873-4aa2-b225-cf8fd3466e0d" providerId="ADAL" clId="{A30A5C05-46CF-4F03-AB5B-503FD66274CE}" dt="2022-06-09T02:47:57.875" v="3480"/>
          <ac:cxnSpMkLst>
            <pc:docMk/>
            <pc:sldMk cId="696217983" sldId="2145705749"/>
            <ac:cxnSpMk id="210" creationId="{0B9EA0DD-25F1-48B2-BEF0-C96007261F33}"/>
          </ac:cxnSpMkLst>
        </pc:cxnChg>
        <pc:cxnChg chg="mod">
          <ac:chgData name="Ying Yang" userId="f1527f9b-a873-4aa2-b225-cf8fd3466e0d" providerId="ADAL" clId="{A30A5C05-46CF-4F03-AB5B-503FD66274CE}" dt="2022-06-09T02:47:57.875" v="3480"/>
          <ac:cxnSpMkLst>
            <pc:docMk/>
            <pc:sldMk cId="696217983" sldId="2145705749"/>
            <ac:cxnSpMk id="211" creationId="{51133D16-67FE-4F9C-8A33-FDE73CCBC62B}"/>
          </ac:cxnSpMkLst>
        </pc:cxnChg>
      </pc:sldChg>
      <pc:sldChg chg="add del">
        <pc:chgData name="Ying Yang" userId="f1527f9b-a873-4aa2-b225-cf8fd3466e0d" providerId="ADAL" clId="{A30A5C05-46CF-4F03-AB5B-503FD66274CE}" dt="2022-06-09T03:24:23.532" v="4068" actId="47"/>
        <pc:sldMkLst>
          <pc:docMk/>
          <pc:sldMk cId="3731806874" sldId="2145705750"/>
        </pc:sldMkLst>
      </pc:sldChg>
      <pc:sldChg chg="addSp delSp modSp new mod ord">
        <pc:chgData name="Ying Yang" userId="f1527f9b-a873-4aa2-b225-cf8fd3466e0d" providerId="ADAL" clId="{A30A5C05-46CF-4F03-AB5B-503FD66274CE}" dt="2022-06-13T08:43:00.581" v="5059" actId="1076"/>
        <pc:sldMkLst>
          <pc:docMk/>
          <pc:sldMk cId="3835900212" sldId="2145705751"/>
        </pc:sldMkLst>
        <pc:spChg chg="del">
          <ac:chgData name="Ying Yang" userId="f1527f9b-a873-4aa2-b225-cf8fd3466e0d" providerId="ADAL" clId="{A30A5C05-46CF-4F03-AB5B-503FD66274CE}" dt="2022-06-09T03:06:04.267" v="3714" actId="478"/>
          <ac:spMkLst>
            <pc:docMk/>
            <pc:sldMk cId="3835900212" sldId="2145705751"/>
            <ac:spMk id="2" creationId="{88117066-E753-4E23-AE92-C15A93DFFF28}"/>
          </ac:spMkLst>
        </pc:spChg>
        <pc:spChg chg="mod">
          <ac:chgData name="Ying Yang" userId="f1527f9b-a873-4aa2-b225-cf8fd3466e0d" providerId="ADAL" clId="{A30A5C05-46CF-4F03-AB5B-503FD66274CE}" dt="2022-06-09T03:06:02.047" v="3713"/>
          <ac:spMkLst>
            <pc:docMk/>
            <pc:sldMk cId="3835900212" sldId="2145705751"/>
            <ac:spMk id="4" creationId="{FD714FD3-67AA-4287-94B3-E4B49E95AF47}"/>
          </ac:spMkLst>
        </pc:spChg>
        <pc:spChg chg="mod">
          <ac:chgData name="Ying Yang" userId="f1527f9b-a873-4aa2-b225-cf8fd3466e0d" providerId="ADAL" clId="{A30A5C05-46CF-4F03-AB5B-503FD66274CE}" dt="2022-06-09T03:06:02.047" v="3713"/>
          <ac:spMkLst>
            <pc:docMk/>
            <pc:sldMk cId="3835900212" sldId="2145705751"/>
            <ac:spMk id="9" creationId="{54E531A0-C6AE-481A-9114-E241FD04B6AF}"/>
          </ac:spMkLst>
        </pc:spChg>
        <pc:spChg chg="mod">
          <ac:chgData name="Ying Yang" userId="f1527f9b-a873-4aa2-b225-cf8fd3466e0d" providerId="ADAL" clId="{A30A5C05-46CF-4F03-AB5B-503FD66274CE}" dt="2022-06-09T03:06:02.047" v="3713"/>
          <ac:spMkLst>
            <pc:docMk/>
            <pc:sldMk cId="3835900212" sldId="2145705751"/>
            <ac:spMk id="10" creationId="{93F24931-938B-48E4-809A-D0474428DFEF}"/>
          </ac:spMkLst>
        </pc:spChg>
        <pc:spChg chg="mod">
          <ac:chgData name="Ying Yang" userId="f1527f9b-a873-4aa2-b225-cf8fd3466e0d" providerId="ADAL" clId="{A30A5C05-46CF-4F03-AB5B-503FD66274CE}" dt="2022-06-09T03:08:23.656" v="3822" actId="21"/>
          <ac:spMkLst>
            <pc:docMk/>
            <pc:sldMk cId="3835900212" sldId="2145705751"/>
            <ac:spMk id="12" creationId="{3106908D-39F9-4A1A-89B0-A1CF7006F4AB}"/>
          </ac:spMkLst>
        </pc:spChg>
        <pc:spChg chg="add del mod topLvl">
          <ac:chgData name="Ying Yang" userId="f1527f9b-a873-4aa2-b225-cf8fd3466e0d" providerId="ADAL" clId="{A30A5C05-46CF-4F03-AB5B-503FD66274CE}" dt="2022-06-09T03:24:20.215" v="4067" actId="1076"/>
          <ac:spMkLst>
            <pc:docMk/>
            <pc:sldMk cId="3835900212" sldId="2145705751"/>
            <ac:spMk id="15" creationId="{BB5D381A-22C0-4C8B-970E-41F190C1342D}"/>
          </ac:spMkLst>
        </pc:spChg>
        <pc:spChg chg="del mod topLvl">
          <ac:chgData name="Ying Yang" userId="f1527f9b-a873-4aa2-b225-cf8fd3466e0d" providerId="ADAL" clId="{A30A5C05-46CF-4F03-AB5B-503FD66274CE}" dt="2022-06-09T03:18:06.659" v="4041" actId="478"/>
          <ac:spMkLst>
            <pc:docMk/>
            <pc:sldMk cId="3835900212" sldId="2145705751"/>
            <ac:spMk id="16" creationId="{8B6A7E5C-9071-4833-BD0F-9E11AA83FDB2}"/>
          </ac:spMkLst>
        </pc:spChg>
        <pc:spChg chg="del mod">
          <ac:chgData name="Ying Yang" userId="f1527f9b-a873-4aa2-b225-cf8fd3466e0d" providerId="ADAL" clId="{A30A5C05-46CF-4F03-AB5B-503FD66274CE}" dt="2022-06-09T03:12:02.703" v="3907" actId="478"/>
          <ac:spMkLst>
            <pc:docMk/>
            <pc:sldMk cId="3835900212" sldId="2145705751"/>
            <ac:spMk id="17" creationId="{02706BA5-6DE6-4984-B1E2-551770534205}"/>
          </ac:spMkLst>
        </pc:spChg>
        <pc:spChg chg="mod">
          <ac:chgData name="Ying Yang" userId="f1527f9b-a873-4aa2-b225-cf8fd3466e0d" providerId="ADAL" clId="{A30A5C05-46CF-4F03-AB5B-503FD66274CE}" dt="2022-06-09T03:15:06.959" v="4015" actId="1076"/>
          <ac:spMkLst>
            <pc:docMk/>
            <pc:sldMk cId="3835900212" sldId="2145705751"/>
            <ac:spMk id="19" creationId="{B1B7E9CA-30F4-49B7-B3D4-4A1AF04139EF}"/>
          </ac:spMkLst>
        </pc:spChg>
        <pc:spChg chg="mod">
          <ac:chgData name="Ying Yang" userId="f1527f9b-a873-4aa2-b225-cf8fd3466e0d" providerId="ADAL" clId="{A30A5C05-46CF-4F03-AB5B-503FD66274CE}" dt="2022-06-09T03:08:04.838" v="3816"/>
          <ac:spMkLst>
            <pc:docMk/>
            <pc:sldMk cId="3835900212" sldId="2145705751"/>
            <ac:spMk id="20" creationId="{89B1A7DA-75A0-49D0-A177-C54A6BAC29A0}"/>
          </ac:spMkLst>
        </pc:spChg>
        <pc:spChg chg="mod">
          <ac:chgData name="Ying Yang" userId="f1527f9b-a873-4aa2-b225-cf8fd3466e0d" providerId="ADAL" clId="{A30A5C05-46CF-4F03-AB5B-503FD66274CE}" dt="2022-06-09T03:08:04.838" v="3816"/>
          <ac:spMkLst>
            <pc:docMk/>
            <pc:sldMk cId="3835900212" sldId="2145705751"/>
            <ac:spMk id="21" creationId="{BBC9030D-57E8-468F-A694-E8047E6B0DC6}"/>
          </ac:spMkLst>
        </pc:spChg>
        <pc:spChg chg="mod">
          <ac:chgData name="Ying Yang" userId="f1527f9b-a873-4aa2-b225-cf8fd3466e0d" providerId="ADAL" clId="{A30A5C05-46CF-4F03-AB5B-503FD66274CE}" dt="2022-06-09T03:24:16.408" v="4066" actId="1076"/>
          <ac:spMkLst>
            <pc:docMk/>
            <pc:sldMk cId="3835900212" sldId="2145705751"/>
            <ac:spMk id="27" creationId="{DA8F902A-48F1-4DB1-BF9E-569BF113C4E5}"/>
          </ac:spMkLst>
        </pc:spChg>
        <pc:spChg chg="mod">
          <ac:chgData name="Ying Yang" userId="f1527f9b-a873-4aa2-b225-cf8fd3466e0d" providerId="ADAL" clId="{A30A5C05-46CF-4F03-AB5B-503FD66274CE}" dt="2022-06-09T03:24:16.408" v="4066" actId="1076"/>
          <ac:spMkLst>
            <pc:docMk/>
            <pc:sldMk cId="3835900212" sldId="2145705751"/>
            <ac:spMk id="28" creationId="{ADC46D8F-1EC2-428A-B4E6-969583FC9074}"/>
          </ac:spMkLst>
        </pc:spChg>
        <pc:spChg chg="mod">
          <ac:chgData name="Ying Yang" userId="f1527f9b-a873-4aa2-b225-cf8fd3466e0d" providerId="ADAL" clId="{A30A5C05-46CF-4F03-AB5B-503FD66274CE}" dt="2022-06-09T03:24:16.408" v="4066" actId="1076"/>
          <ac:spMkLst>
            <pc:docMk/>
            <pc:sldMk cId="3835900212" sldId="2145705751"/>
            <ac:spMk id="29" creationId="{68E068B7-74CC-4E6E-ADB1-7A4A71008E9D}"/>
          </ac:spMkLst>
        </pc:spChg>
        <pc:spChg chg="mod">
          <ac:chgData name="Ying Yang" userId="f1527f9b-a873-4aa2-b225-cf8fd3466e0d" providerId="ADAL" clId="{A30A5C05-46CF-4F03-AB5B-503FD66274CE}" dt="2022-06-09T03:24:16.408" v="4066" actId="1076"/>
          <ac:spMkLst>
            <pc:docMk/>
            <pc:sldMk cId="3835900212" sldId="2145705751"/>
            <ac:spMk id="30" creationId="{8ABFE8B6-2FF7-474A-BFA0-B8E9FDDC606C}"/>
          </ac:spMkLst>
        </pc:spChg>
        <pc:spChg chg="mod">
          <ac:chgData name="Ying Yang" userId="f1527f9b-a873-4aa2-b225-cf8fd3466e0d" providerId="ADAL" clId="{A30A5C05-46CF-4F03-AB5B-503FD66274CE}" dt="2022-06-09T03:24:16.408" v="4066" actId="1076"/>
          <ac:spMkLst>
            <pc:docMk/>
            <pc:sldMk cId="3835900212" sldId="2145705751"/>
            <ac:spMk id="31" creationId="{6E6ED375-7F6E-48ED-8F77-190AAAA0B725}"/>
          </ac:spMkLst>
        </pc:spChg>
        <pc:spChg chg="mod">
          <ac:chgData name="Ying Yang" userId="f1527f9b-a873-4aa2-b225-cf8fd3466e0d" providerId="ADAL" clId="{A30A5C05-46CF-4F03-AB5B-503FD66274CE}" dt="2022-06-09T03:24:16.408" v="4066" actId="1076"/>
          <ac:spMkLst>
            <pc:docMk/>
            <pc:sldMk cId="3835900212" sldId="2145705751"/>
            <ac:spMk id="32" creationId="{0749D38A-489E-46D6-B3F8-C452CF9D6F5E}"/>
          </ac:spMkLst>
        </pc:spChg>
        <pc:spChg chg="mod">
          <ac:chgData name="Ying Yang" userId="f1527f9b-a873-4aa2-b225-cf8fd3466e0d" providerId="ADAL" clId="{A30A5C05-46CF-4F03-AB5B-503FD66274CE}" dt="2022-06-09T03:24:16.408" v="4066" actId="1076"/>
          <ac:spMkLst>
            <pc:docMk/>
            <pc:sldMk cId="3835900212" sldId="2145705751"/>
            <ac:spMk id="33" creationId="{9E8B50D3-BA84-4498-AF76-7510C24FC867}"/>
          </ac:spMkLst>
        </pc:spChg>
        <pc:spChg chg="mod">
          <ac:chgData name="Ying Yang" userId="f1527f9b-a873-4aa2-b225-cf8fd3466e0d" providerId="ADAL" clId="{A30A5C05-46CF-4F03-AB5B-503FD66274CE}" dt="2022-06-09T03:24:16.408" v="4066" actId="1076"/>
          <ac:spMkLst>
            <pc:docMk/>
            <pc:sldMk cId="3835900212" sldId="2145705751"/>
            <ac:spMk id="34" creationId="{0E4B6582-F24F-40C5-8F86-D69C6C782F82}"/>
          </ac:spMkLst>
        </pc:spChg>
        <pc:spChg chg="del mod">
          <ac:chgData name="Ying Yang" userId="f1527f9b-a873-4aa2-b225-cf8fd3466e0d" providerId="ADAL" clId="{A30A5C05-46CF-4F03-AB5B-503FD66274CE}" dt="2022-06-09T03:21:12.407" v="4056" actId="478"/>
          <ac:spMkLst>
            <pc:docMk/>
            <pc:sldMk cId="3835900212" sldId="2145705751"/>
            <ac:spMk id="35" creationId="{2C068F9C-A780-4688-9095-A0691C390B18}"/>
          </ac:spMkLst>
        </pc:spChg>
        <pc:spChg chg="del mod">
          <ac:chgData name="Ying Yang" userId="f1527f9b-a873-4aa2-b225-cf8fd3466e0d" providerId="ADAL" clId="{A30A5C05-46CF-4F03-AB5B-503FD66274CE}" dt="2022-06-09T03:20:58.298" v="4050" actId="478"/>
          <ac:spMkLst>
            <pc:docMk/>
            <pc:sldMk cId="3835900212" sldId="2145705751"/>
            <ac:spMk id="36" creationId="{5E5E2900-AE79-4337-81B6-40054912B905}"/>
          </ac:spMkLst>
        </pc:spChg>
        <pc:spChg chg="add mod">
          <ac:chgData name="Ying Yang" userId="f1527f9b-a873-4aa2-b225-cf8fd3466e0d" providerId="ADAL" clId="{A30A5C05-46CF-4F03-AB5B-503FD66274CE}" dt="2022-06-09T03:24:20.215" v="4067" actId="1076"/>
          <ac:spMkLst>
            <pc:docMk/>
            <pc:sldMk cId="3835900212" sldId="2145705751"/>
            <ac:spMk id="37" creationId="{00564B4D-A9E0-424A-A810-E1E31BA54446}"/>
          </ac:spMkLst>
        </pc:spChg>
        <pc:spChg chg="add del mod">
          <ac:chgData name="Ying Yang" userId="f1527f9b-a873-4aa2-b225-cf8fd3466e0d" providerId="ADAL" clId="{A30A5C05-46CF-4F03-AB5B-503FD66274CE}" dt="2022-06-09T03:09:22.539" v="3840"/>
          <ac:spMkLst>
            <pc:docMk/>
            <pc:sldMk cId="3835900212" sldId="2145705751"/>
            <ac:spMk id="39" creationId="{27774FA7-459F-4EA4-A985-25600B3C5513}"/>
          </ac:spMkLst>
        </pc:spChg>
        <pc:spChg chg="mod ord">
          <ac:chgData name="Ying Yang" userId="f1527f9b-a873-4aa2-b225-cf8fd3466e0d" providerId="ADAL" clId="{A30A5C05-46CF-4F03-AB5B-503FD66274CE}" dt="2022-06-09T03:27:15.298" v="4094" actId="14100"/>
          <ac:spMkLst>
            <pc:docMk/>
            <pc:sldMk cId="3835900212" sldId="2145705751"/>
            <ac:spMk id="43" creationId="{EC407620-E519-4A45-A13D-E8C2F5F4F9A3}"/>
          </ac:spMkLst>
        </pc:spChg>
        <pc:spChg chg="mod">
          <ac:chgData name="Ying Yang" userId="f1527f9b-a873-4aa2-b225-cf8fd3466e0d" providerId="ADAL" clId="{A30A5C05-46CF-4F03-AB5B-503FD66274CE}" dt="2022-06-09T03:09:54.641" v="3886" actId="1076"/>
          <ac:spMkLst>
            <pc:docMk/>
            <pc:sldMk cId="3835900212" sldId="2145705751"/>
            <ac:spMk id="44" creationId="{4C55E64D-2B46-4292-8B8D-734A68333F63}"/>
          </ac:spMkLst>
        </pc:spChg>
        <pc:spChg chg="mod">
          <ac:chgData name="Ying Yang" userId="f1527f9b-a873-4aa2-b225-cf8fd3466e0d" providerId="ADAL" clId="{A30A5C05-46CF-4F03-AB5B-503FD66274CE}" dt="2022-06-09T03:09:00.194" v="3829"/>
          <ac:spMkLst>
            <pc:docMk/>
            <pc:sldMk cId="3835900212" sldId="2145705751"/>
            <ac:spMk id="47" creationId="{F4626DE8-8D5A-4EE4-9CAE-D5893DA0108D}"/>
          </ac:spMkLst>
        </pc:spChg>
        <pc:spChg chg="mod">
          <ac:chgData name="Ying Yang" userId="f1527f9b-a873-4aa2-b225-cf8fd3466e0d" providerId="ADAL" clId="{A30A5C05-46CF-4F03-AB5B-503FD66274CE}" dt="2022-06-09T03:09:00.194" v="3829"/>
          <ac:spMkLst>
            <pc:docMk/>
            <pc:sldMk cId="3835900212" sldId="2145705751"/>
            <ac:spMk id="48" creationId="{83BE42AD-E138-4DEC-A071-104F0D9B0E0E}"/>
          </ac:spMkLst>
        </pc:spChg>
        <pc:spChg chg="mod">
          <ac:chgData name="Ying Yang" userId="f1527f9b-a873-4aa2-b225-cf8fd3466e0d" providerId="ADAL" clId="{A30A5C05-46CF-4F03-AB5B-503FD66274CE}" dt="2022-06-09T03:09:00.194" v="3829"/>
          <ac:spMkLst>
            <pc:docMk/>
            <pc:sldMk cId="3835900212" sldId="2145705751"/>
            <ac:spMk id="49" creationId="{DE27A089-51D6-4115-B0E0-FDF7374E41F1}"/>
          </ac:spMkLst>
        </pc:spChg>
        <pc:spChg chg="mod">
          <ac:chgData name="Ying Yang" userId="f1527f9b-a873-4aa2-b225-cf8fd3466e0d" providerId="ADAL" clId="{A30A5C05-46CF-4F03-AB5B-503FD66274CE}" dt="2022-06-09T03:09:00.194" v="3829"/>
          <ac:spMkLst>
            <pc:docMk/>
            <pc:sldMk cId="3835900212" sldId="2145705751"/>
            <ac:spMk id="50" creationId="{3B88A781-0FB4-4C11-AC06-B736B2301BFD}"/>
          </ac:spMkLst>
        </pc:spChg>
        <pc:spChg chg="mod">
          <ac:chgData name="Ying Yang" userId="f1527f9b-a873-4aa2-b225-cf8fd3466e0d" providerId="ADAL" clId="{A30A5C05-46CF-4F03-AB5B-503FD66274CE}" dt="2022-06-09T03:09:00.194" v="3829"/>
          <ac:spMkLst>
            <pc:docMk/>
            <pc:sldMk cId="3835900212" sldId="2145705751"/>
            <ac:spMk id="51" creationId="{97936E8A-65A8-4C73-A0EF-09DDB59333A8}"/>
          </ac:spMkLst>
        </pc:spChg>
        <pc:spChg chg="mod">
          <ac:chgData name="Ying Yang" userId="f1527f9b-a873-4aa2-b225-cf8fd3466e0d" providerId="ADAL" clId="{A30A5C05-46CF-4F03-AB5B-503FD66274CE}" dt="2022-06-09T03:09:00.194" v="3829"/>
          <ac:spMkLst>
            <pc:docMk/>
            <pc:sldMk cId="3835900212" sldId="2145705751"/>
            <ac:spMk id="52" creationId="{E537C079-252E-4DA5-BFB9-D837220E8A3B}"/>
          </ac:spMkLst>
        </pc:spChg>
        <pc:spChg chg="mod">
          <ac:chgData name="Ying Yang" userId="f1527f9b-a873-4aa2-b225-cf8fd3466e0d" providerId="ADAL" clId="{A30A5C05-46CF-4F03-AB5B-503FD66274CE}" dt="2022-06-09T03:09:00.194" v="3829"/>
          <ac:spMkLst>
            <pc:docMk/>
            <pc:sldMk cId="3835900212" sldId="2145705751"/>
            <ac:spMk id="53" creationId="{66C847FA-34E2-4813-A855-C9754BC4ABB0}"/>
          </ac:spMkLst>
        </pc:spChg>
        <pc:spChg chg="mod">
          <ac:chgData name="Ying Yang" userId="f1527f9b-a873-4aa2-b225-cf8fd3466e0d" providerId="ADAL" clId="{A30A5C05-46CF-4F03-AB5B-503FD66274CE}" dt="2022-06-09T03:09:00.194" v="3829"/>
          <ac:spMkLst>
            <pc:docMk/>
            <pc:sldMk cId="3835900212" sldId="2145705751"/>
            <ac:spMk id="54" creationId="{160331CE-34A2-48FA-8AD8-F025D151A262}"/>
          </ac:spMkLst>
        </pc:spChg>
        <pc:spChg chg="mod">
          <ac:chgData name="Ying Yang" userId="f1527f9b-a873-4aa2-b225-cf8fd3466e0d" providerId="ADAL" clId="{A30A5C05-46CF-4F03-AB5B-503FD66274CE}" dt="2022-06-09T03:24:16.408" v="4066" actId="1076"/>
          <ac:spMkLst>
            <pc:docMk/>
            <pc:sldMk cId="3835900212" sldId="2145705751"/>
            <ac:spMk id="58" creationId="{303A324A-8886-41A0-8A05-CD9D1401F022}"/>
          </ac:spMkLst>
        </pc:spChg>
        <pc:spChg chg="mod">
          <ac:chgData name="Ying Yang" userId="f1527f9b-a873-4aa2-b225-cf8fd3466e0d" providerId="ADAL" clId="{A30A5C05-46CF-4F03-AB5B-503FD66274CE}" dt="2022-06-09T03:24:16.408" v="4066" actId="1076"/>
          <ac:spMkLst>
            <pc:docMk/>
            <pc:sldMk cId="3835900212" sldId="2145705751"/>
            <ac:spMk id="59" creationId="{4D2F0728-01D9-4B11-B859-97257CE3125E}"/>
          </ac:spMkLst>
        </pc:spChg>
        <pc:spChg chg="mod">
          <ac:chgData name="Ying Yang" userId="f1527f9b-a873-4aa2-b225-cf8fd3466e0d" providerId="ADAL" clId="{A30A5C05-46CF-4F03-AB5B-503FD66274CE}" dt="2022-06-09T03:24:16.408" v="4066" actId="1076"/>
          <ac:spMkLst>
            <pc:docMk/>
            <pc:sldMk cId="3835900212" sldId="2145705751"/>
            <ac:spMk id="62" creationId="{648E6081-2607-490E-911A-25647B73D0B2}"/>
          </ac:spMkLst>
        </pc:spChg>
        <pc:spChg chg="mod">
          <ac:chgData name="Ying Yang" userId="f1527f9b-a873-4aa2-b225-cf8fd3466e0d" providerId="ADAL" clId="{A30A5C05-46CF-4F03-AB5B-503FD66274CE}" dt="2022-06-09T03:24:16.408" v="4066" actId="1076"/>
          <ac:spMkLst>
            <pc:docMk/>
            <pc:sldMk cId="3835900212" sldId="2145705751"/>
            <ac:spMk id="63" creationId="{91F4468D-5C1F-4885-9EA2-76D27FB59DF9}"/>
          </ac:spMkLst>
        </pc:spChg>
        <pc:spChg chg="mod">
          <ac:chgData name="Ying Yang" userId="f1527f9b-a873-4aa2-b225-cf8fd3466e0d" providerId="ADAL" clId="{A30A5C05-46CF-4F03-AB5B-503FD66274CE}" dt="2022-06-09T03:24:16.408" v="4066" actId="1076"/>
          <ac:spMkLst>
            <pc:docMk/>
            <pc:sldMk cId="3835900212" sldId="2145705751"/>
            <ac:spMk id="64" creationId="{B39E1681-A633-4E25-81A9-9AEE0944BF15}"/>
          </ac:spMkLst>
        </pc:spChg>
        <pc:spChg chg="mod">
          <ac:chgData name="Ying Yang" userId="f1527f9b-a873-4aa2-b225-cf8fd3466e0d" providerId="ADAL" clId="{A30A5C05-46CF-4F03-AB5B-503FD66274CE}" dt="2022-06-09T03:24:16.408" v="4066" actId="1076"/>
          <ac:spMkLst>
            <pc:docMk/>
            <pc:sldMk cId="3835900212" sldId="2145705751"/>
            <ac:spMk id="65" creationId="{3D630DC3-9861-4B9C-B0A0-5BC9CF255A97}"/>
          </ac:spMkLst>
        </pc:spChg>
        <pc:spChg chg="mod">
          <ac:chgData name="Ying Yang" userId="f1527f9b-a873-4aa2-b225-cf8fd3466e0d" providerId="ADAL" clId="{A30A5C05-46CF-4F03-AB5B-503FD66274CE}" dt="2022-06-09T03:24:16.408" v="4066" actId="1076"/>
          <ac:spMkLst>
            <pc:docMk/>
            <pc:sldMk cId="3835900212" sldId="2145705751"/>
            <ac:spMk id="66" creationId="{2CDF53FF-B9EA-4465-9F04-473FF16EDCE6}"/>
          </ac:spMkLst>
        </pc:spChg>
        <pc:spChg chg="mod">
          <ac:chgData name="Ying Yang" userId="f1527f9b-a873-4aa2-b225-cf8fd3466e0d" providerId="ADAL" clId="{A30A5C05-46CF-4F03-AB5B-503FD66274CE}" dt="2022-06-09T03:24:16.408" v="4066" actId="1076"/>
          <ac:spMkLst>
            <pc:docMk/>
            <pc:sldMk cId="3835900212" sldId="2145705751"/>
            <ac:spMk id="67" creationId="{D83F0C22-4B2B-4536-B668-C1EF0EB5221F}"/>
          </ac:spMkLst>
        </pc:spChg>
        <pc:spChg chg="mod">
          <ac:chgData name="Ying Yang" userId="f1527f9b-a873-4aa2-b225-cf8fd3466e0d" providerId="ADAL" clId="{A30A5C05-46CF-4F03-AB5B-503FD66274CE}" dt="2022-06-09T03:24:16.408" v="4066" actId="1076"/>
          <ac:spMkLst>
            <pc:docMk/>
            <pc:sldMk cId="3835900212" sldId="2145705751"/>
            <ac:spMk id="68" creationId="{91CCC3BB-41E3-4A88-88B7-596ACDD24C9B}"/>
          </ac:spMkLst>
        </pc:spChg>
        <pc:spChg chg="mod">
          <ac:chgData name="Ying Yang" userId="f1527f9b-a873-4aa2-b225-cf8fd3466e0d" providerId="ADAL" clId="{A30A5C05-46CF-4F03-AB5B-503FD66274CE}" dt="2022-06-09T03:24:16.408" v="4066" actId="1076"/>
          <ac:spMkLst>
            <pc:docMk/>
            <pc:sldMk cId="3835900212" sldId="2145705751"/>
            <ac:spMk id="69" creationId="{003476A6-8465-432D-859D-9985F66D404D}"/>
          </ac:spMkLst>
        </pc:spChg>
        <pc:spChg chg="add mod ord">
          <ac:chgData name="Ying Yang" userId="f1527f9b-a873-4aa2-b225-cf8fd3466e0d" providerId="ADAL" clId="{A30A5C05-46CF-4F03-AB5B-503FD66274CE}" dt="2022-06-09T03:24:20.215" v="4067" actId="1076"/>
          <ac:spMkLst>
            <pc:docMk/>
            <pc:sldMk cId="3835900212" sldId="2145705751"/>
            <ac:spMk id="70" creationId="{688C1AF8-9E70-4C04-977D-CC0F953A0075}"/>
          </ac:spMkLst>
        </pc:spChg>
        <pc:spChg chg="add mod">
          <ac:chgData name="Ying Yang" userId="f1527f9b-a873-4aa2-b225-cf8fd3466e0d" providerId="ADAL" clId="{A30A5C05-46CF-4F03-AB5B-503FD66274CE}" dt="2022-06-09T03:16:19.173" v="4026" actId="164"/>
          <ac:spMkLst>
            <pc:docMk/>
            <pc:sldMk cId="3835900212" sldId="2145705751"/>
            <ac:spMk id="72" creationId="{6E53C47C-1E5B-44B3-A036-426FF31658D7}"/>
          </ac:spMkLst>
        </pc:spChg>
        <pc:spChg chg="add mod">
          <ac:chgData name="Ying Yang" userId="f1527f9b-a873-4aa2-b225-cf8fd3466e0d" providerId="ADAL" clId="{A30A5C05-46CF-4F03-AB5B-503FD66274CE}" dt="2022-06-09T03:16:19.173" v="4026" actId="164"/>
          <ac:spMkLst>
            <pc:docMk/>
            <pc:sldMk cId="3835900212" sldId="2145705751"/>
            <ac:spMk id="73" creationId="{AED3EC82-2223-47AF-A4C6-3BF4EE7FB58F}"/>
          </ac:spMkLst>
        </pc:spChg>
        <pc:spChg chg="add mod">
          <ac:chgData name="Ying Yang" userId="f1527f9b-a873-4aa2-b225-cf8fd3466e0d" providerId="ADAL" clId="{A30A5C05-46CF-4F03-AB5B-503FD66274CE}" dt="2022-06-13T08:43:00.581" v="5059" actId="1076"/>
          <ac:spMkLst>
            <pc:docMk/>
            <pc:sldMk cId="3835900212" sldId="2145705751"/>
            <ac:spMk id="74" creationId="{D6BAE3DD-C466-4E62-8EF8-96121C82875C}"/>
          </ac:spMkLst>
        </pc:spChg>
        <pc:spChg chg="mod">
          <ac:chgData name="Ying Yang" userId="f1527f9b-a873-4aa2-b225-cf8fd3466e0d" providerId="ADAL" clId="{A30A5C05-46CF-4F03-AB5B-503FD66274CE}" dt="2022-06-09T03:17:57.109" v="4040" actId="20577"/>
          <ac:spMkLst>
            <pc:docMk/>
            <pc:sldMk cId="3835900212" sldId="2145705751"/>
            <ac:spMk id="77" creationId="{B448D6FF-7E71-4347-9CAE-288502B376EA}"/>
          </ac:spMkLst>
        </pc:spChg>
        <pc:spChg chg="mod ord">
          <ac:chgData name="Ying Yang" userId="f1527f9b-a873-4aa2-b225-cf8fd3466e0d" providerId="ADAL" clId="{A30A5C05-46CF-4F03-AB5B-503FD66274CE}" dt="2022-06-09T03:16:56.676" v="4032" actId="167"/>
          <ac:spMkLst>
            <pc:docMk/>
            <pc:sldMk cId="3835900212" sldId="2145705751"/>
            <ac:spMk id="78" creationId="{04D3EE25-F886-4EE9-B11E-828D5F9FD323}"/>
          </ac:spMkLst>
        </pc:spChg>
        <pc:spChg chg="add mod ord">
          <ac:chgData name="Ying Yang" userId="f1527f9b-a873-4aa2-b225-cf8fd3466e0d" providerId="ADAL" clId="{A30A5C05-46CF-4F03-AB5B-503FD66274CE}" dt="2022-06-09T03:24:16.408" v="4066" actId="1076"/>
          <ac:spMkLst>
            <pc:docMk/>
            <pc:sldMk cId="3835900212" sldId="2145705751"/>
            <ac:spMk id="79" creationId="{B6CA28E3-D089-4626-8119-51BB3B43F3DB}"/>
          </ac:spMkLst>
        </pc:spChg>
        <pc:grpChg chg="add mod">
          <ac:chgData name="Ying Yang" userId="f1527f9b-a873-4aa2-b225-cf8fd3466e0d" providerId="ADAL" clId="{A30A5C05-46CF-4F03-AB5B-503FD66274CE}" dt="2022-06-09T03:06:02.047" v="3713"/>
          <ac:grpSpMkLst>
            <pc:docMk/>
            <pc:sldMk cId="3835900212" sldId="2145705751"/>
            <ac:grpSpMk id="3" creationId="{F53D6ACE-8FC1-4D3C-890F-D977E63D97C9}"/>
          </ac:grpSpMkLst>
        </pc:grpChg>
        <pc:grpChg chg="mod">
          <ac:chgData name="Ying Yang" userId="f1527f9b-a873-4aa2-b225-cf8fd3466e0d" providerId="ADAL" clId="{A30A5C05-46CF-4F03-AB5B-503FD66274CE}" dt="2022-06-09T03:06:02.047" v="3713"/>
          <ac:grpSpMkLst>
            <pc:docMk/>
            <pc:sldMk cId="3835900212" sldId="2145705751"/>
            <ac:grpSpMk id="5" creationId="{8D62B4FF-AE1C-4EAE-BCA9-32F6E14CDD56}"/>
          </ac:grpSpMkLst>
        </pc:grpChg>
        <pc:grpChg chg="mod">
          <ac:chgData name="Ying Yang" userId="f1527f9b-a873-4aa2-b225-cf8fd3466e0d" providerId="ADAL" clId="{A30A5C05-46CF-4F03-AB5B-503FD66274CE}" dt="2022-06-09T03:06:02.047" v="3713"/>
          <ac:grpSpMkLst>
            <pc:docMk/>
            <pc:sldMk cId="3835900212" sldId="2145705751"/>
            <ac:grpSpMk id="6" creationId="{6EE7BADE-3A46-4CDD-A47A-2DAAB120CBFC}"/>
          </ac:grpSpMkLst>
        </pc:grpChg>
        <pc:grpChg chg="add mod">
          <ac:chgData name="Ying Yang" userId="f1527f9b-a873-4aa2-b225-cf8fd3466e0d" providerId="ADAL" clId="{A30A5C05-46CF-4F03-AB5B-503FD66274CE}" dt="2022-06-09T03:24:07.434" v="4063" actId="1076"/>
          <ac:grpSpMkLst>
            <pc:docMk/>
            <pc:sldMk cId="3835900212" sldId="2145705751"/>
            <ac:grpSpMk id="11" creationId="{60B0ABB7-2E9D-45C6-8EF9-82FA9EB15102}"/>
          </ac:grpSpMkLst>
        </pc:grpChg>
        <pc:grpChg chg="add del mod">
          <ac:chgData name="Ying Yang" userId="f1527f9b-a873-4aa2-b225-cf8fd3466e0d" providerId="ADAL" clId="{A30A5C05-46CF-4F03-AB5B-503FD66274CE}" dt="2022-06-09T03:18:06.659" v="4041" actId="478"/>
          <ac:grpSpMkLst>
            <pc:docMk/>
            <pc:sldMk cId="3835900212" sldId="2145705751"/>
            <ac:grpSpMk id="14" creationId="{38F30A3D-4C76-4A0D-87DC-785788C1B650}"/>
          </ac:grpSpMkLst>
        </pc:grpChg>
        <pc:grpChg chg="add del mod">
          <ac:chgData name="Ying Yang" userId="f1527f9b-a873-4aa2-b225-cf8fd3466e0d" providerId="ADAL" clId="{A30A5C05-46CF-4F03-AB5B-503FD66274CE}" dt="2022-06-09T03:18:08.842" v="4042" actId="478"/>
          <ac:grpSpMkLst>
            <pc:docMk/>
            <pc:sldMk cId="3835900212" sldId="2145705751"/>
            <ac:grpSpMk id="18" creationId="{93D87951-9C22-47EB-80A2-F946B1D32DE3}"/>
          </ac:grpSpMkLst>
        </pc:grpChg>
        <pc:grpChg chg="add mod">
          <ac:chgData name="Ying Yang" userId="f1527f9b-a873-4aa2-b225-cf8fd3466e0d" providerId="ADAL" clId="{A30A5C05-46CF-4F03-AB5B-503FD66274CE}" dt="2022-06-09T03:24:16.408" v="4066" actId="1076"/>
          <ac:grpSpMkLst>
            <pc:docMk/>
            <pc:sldMk cId="3835900212" sldId="2145705751"/>
            <ac:grpSpMk id="22" creationId="{EA695346-C57F-4EB3-AD0F-3631D00017EA}"/>
          </ac:grpSpMkLst>
        </pc:grpChg>
        <pc:grpChg chg="add mod">
          <ac:chgData name="Ying Yang" userId="f1527f9b-a873-4aa2-b225-cf8fd3466e0d" providerId="ADAL" clId="{A30A5C05-46CF-4F03-AB5B-503FD66274CE}" dt="2022-06-09T03:24:20.215" v="4067" actId="1076"/>
          <ac:grpSpMkLst>
            <pc:docMk/>
            <pc:sldMk cId="3835900212" sldId="2145705751"/>
            <ac:grpSpMk id="40" creationId="{E7291BBC-FDB0-4329-A6D1-C005868F854B}"/>
          </ac:grpSpMkLst>
        </pc:grpChg>
        <pc:grpChg chg="mod">
          <ac:chgData name="Ying Yang" userId="f1527f9b-a873-4aa2-b225-cf8fd3466e0d" providerId="ADAL" clId="{A30A5C05-46CF-4F03-AB5B-503FD66274CE}" dt="2022-06-09T03:09:00.194" v="3829"/>
          <ac:grpSpMkLst>
            <pc:docMk/>
            <pc:sldMk cId="3835900212" sldId="2145705751"/>
            <ac:grpSpMk id="41" creationId="{76C1F7E1-424D-43F8-892D-101471389F9E}"/>
          </ac:grpSpMkLst>
        </pc:grpChg>
        <pc:grpChg chg="mod">
          <ac:chgData name="Ying Yang" userId="f1527f9b-a873-4aa2-b225-cf8fd3466e0d" providerId="ADAL" clId="{A30A5C05-46CF-4F03-AB5B-503FD66274CE}" dt="2022-06-09T03:09:00.194" v="3829"/>
          <ac:grpSpMkLst>
            <pc:docMk/>
            <pc:sldMk cId="3835900212" sldId="2145705751"/>
            <ac:grpSpMk id="42" creationId="{3BE89947-C69C-42BB-9D08-964F80AABD99}"/>
          </ac:grpSpMkLst>
        </pc:grpChg>
        <pc:grpChg chg="mod">
          <ac:chgData name="Ying Yang" userId="f1527f9b-a873-4aa2-b225-cf8fd3466e0d" providerId="ADAL" clId="{A30A5C05-46CF-4F03-AB5B-503FD66274CE}" dt="2022-06-09T03:09:00.194" v="3829"/>
          <ac:grpSpMkLst>
            <pc:docMk/>
            <pc:sldMk cId="3835900212" sldId="2145705751"/>
            <ac:grpSpMk id="45" creationId="{68C338DD-B775-4D4B-B516-225B60D9CDDD}"/>
          </ac:grpSpMkLst>
        </pc:grpChg>
        <pc:grpChg chg="mod">
          <ac:chgData name="Ying Yang" userId="f1527f9b-a873-4aa2-b225-cf8fd3466e0d" providerId="ADAL" clId="{A30A5C05-46CF-4F03-AB5B-503FD66274CE}" dt="2022-06-09T03:09:00.194" v="3829"/>
          <ac:grpSpMkLst>
            <pc:docMk/>
            <pc:sldMk cId="3835900212" sldId="2145705751"/>
            <ac:grpSpMk id="46" creationId="{BDCA5D24-938B-424E-980F-E1A37F133320}"/>
          </ac:grpSpMkLst>
        </pc:grpChg>
        <pc:grpChg chg="add mod ord">
          <ac:chgData name="Ying Yang" userId="f1527f9b-a873-4aa2-b225-cf8fd3466e0d" providerId="ADAL" clId="{A30A5C05-46CF-4F03-AB5B-503FD66274CE}" dt="2022-06-09T03:24:16.408" v="4066" actId="1076"/>
          <ac:grpSpMkLst>
            <pc:docMk/>
            <pc:sldMk cId="3835900212" sldId="2145705751"/>
            <ac:grpSpMk id="55" creationId="{CB0D76A9-CACA-49F4-887E-3A380C681BF3}"/>
          </ac:grpSpMkLst>
        </pc:grpChg>
        <pc:grpChg chg="mod">
          <ac:chgData name="Ying Yang" userId="f1527f9b-a873-4aa2-b225-cf8fd3466e0d" providerId="ADAL" clId="{A30A5C05-46CF-4F03-AB5B-503FD66274CE}" dt="2022-06-09T03:24:16.408" v="4066" actId="1076"/>
          <ac:grpSpMkLst>
            <pc:docMk/>
            <pc:sldMk cId="3835900212" sldId="2145705751"/>
            <ac:grpSpMk id="56" creationId="{2AAA1DC0-9CB9-4A5F-BE5E-7CD590DC3142}"/>
          </ac:grpSpMkLst>
        </pc:grpChg>
        <pc:grpChg chg="mod">
          <ac:chgData name="Ying Yang" userId="f1527f9b-a873-4aa2-b225-cf8fd3466e0d" providerId="ADAL" clId="{A30A5C05-46CF-4F03-AB5B-503FD66274CE}" dt="2022-06-09T03:24:16.408" v="4066" actId="1076"/>
          <ac:grpSpMkLst>
            <pc:docMk/>
            <pc:sldMk cId="3835900212" sldId="2145705751"/>
            <ac:grpSpMk id="57" creationId="{72BB22DC-68A3-4A22-8620-44230CEC8FC3}"/>
          </ac:grpSpMkLst>
        </pc:grpChg>
        <pc:grpChg chg="mod">
          <ac:chgData name="Ying Yang" userId="f1527f9b-a873-4aa2-b225-cf8fd3466e0d" providerId="ADAL" clId="{A30A5C05-46CF-4F03-AB5B-503FD66274CE}" dt="2022-06-09T03:24:16.408" v="4066" actId="1076"/>
          <ac:grpSpMkLst>
            <pc:docMk/>
            <pc:sldMk cId="3835900212" sldId="2145705751"/>
            <ac:grpSpMk id="60" creationId="{9A0C5209-9EE0-409C-A807-D25C424BAD65}"/>
          </ac:grpSpMkLst>
        </pc:grpChg>
        <pc:grpChg chg="mod">
          <ac:chgData name="Ying Yang" userId="f1527f9b-a873-4aa2-b225-cf8fd3466e0d" providerId="ADAL" clId="{A30A5C05-46CF-4F03-AB5B-503FD66274CE}" dt="2022-06-09T03:24:16.408" v="4066" actId="1076"/>
          <ac:grpSpMkLst>
            <pc:docMk/>
            <pc:sldMk cId="3835900212" sldId="2145705751"/>
            <ac:grpSpMk id="61" creationId="{FE6E308B-A4C1-4CC8-B6EE-29AC624A2758}"/>
          </ac:grpSpMkLst>
        </pc:grpChg>
        <pc:grpChg chg="add mod">
          <ac:chgData name="Ying Yang" userId="f1527f9b-a873-4aa2-b225-cf8fd3466e0d" providerId="ADAL" clId="{A30A5C05-46CF-4F03-AB5B-503FD66274CE}" dt="2022-06-09T03:24:20.215" v="4067" actId="1076"/>
          <ac:grpSpMkLst>
            <pc:docMk/>
            <pc:sldMk cId="3835900212" sldId="2145705751"/>
            <ac:grpSpMk id="75" creationId="{AB74A3B1-B8E2-4F21-A1BB-4589B7F3DC51}"/>
          </ac:grpSpMkLst>
        </pc:grpChg>
        <pc:grpChg chg="add mod">
          <ac:chgData name="Ying Yang" userId="f1527f9b-a873-4aa2-b225-cf8fd3466e0d" providerId="ADAL" clId="{A30A5C05-46CF-4F03-AB5B-503FD66274CE}" dt="2022-06-09T03:24:20.215" v="4067" actId="1076"/>
          <ac:grpSpMkLst>
            <pc:docMk/>
            <pc:sldMk cId="3835900212" sldId="2145705751"/>
            <ac:grpSpMk id="76" creationId="{342A2C18-7B03-4CC6-8113-E66EB8604B48}"/>
          </ac:grpSpMkLst>
        </pc:grpChg>
        <pc:picChg chg="mod">
          <ac:chgData name="Ying Yang" userId="f1527f9b-a873-4aa2-b225-cf8fd3466e0d" providerId="ADAL" clId="{A30A5C05-46CF-4F03-AB5B-503FD66274CE}" dt="2022-06-09T03:07:02.549" v="3719"/>
          <ac:picMkLst>
            <pc:docMk/>
            <pc:sldMk cId="3835900212" sldId="2145705751"/>
            <ac:picMk id="13" creationId="{844EA9BC-2C67-40AF-B345-C76DD2D86C77}"/>
          </ac:picMkLst>
        </pc:picChg>
        <pc:picChg chg="mod">
          <ac:chgData name="Ying Yang" userId="f1527f9b-a873-4aa2-b225-cf8fd3466e0d" providerId="ADAL" clId="{A30A5C05-46CF-4F03-AB5B-503FD66274CE}" dt="2022-06-09T03:24:16.408" v="4066" actId="1076"/>
          <ac:picMkLst>
            <pc:docMk/>
            <pc:sldMk cId="3835900212" sldId="2145705751"/>
            <ac:picMk id="23" creationId="{CA35A24A-46A5-4DDC-A2FB-7AE8D60A40BF}"/>
          </ac:picMkLst>
        </pc:picChg>
        <pc:picChg chg="mod">
          <ac:chgData name="Ying Yang" userId="f1527f9b-a873-4aa2-b225-cf8fd3466e0d" providerId="ADAL" clId="{A30A5C05-46CF-4F03-AB5B-503FD66274CE}" dt="2022-06-09T03:24:16.408" v="4066" actId="1076"/>
          <ac:picMkLst>
            <pc:docMk/>
            <pc:sldMk cId="3835900212" sldId="2145705751"/>
            <ac:picMk id="24" creationId="{8DA14260-78AF-4B9F-9279-306037313B02}"/>
          </ac:picMkLst>
        </pc:picChg>
        <pc:picChg chg="mod">
          <ac:chgData name="Ying Yang" userId="f1527f9b-a873-4aa2-b225-cf8fd3466e0d" providerId="ADAL" clId="{A30A5C05-46CF-4F03-AB5B-503FD66274CE}" dt="2022-06-09T03:24:16.408" v="4066" actId="1076"/>
          <ac:picMkLst>
            <pc:docMk/>
            <pc:sldMk cId="3835900212" sldId="2145705751"/>
            <ac:picMk id="25" creationId="{304F7C65-BC79-495E-98CA-8B2DEA4617BF}"/>
          </ac:picMkLst>
        </pc:picChg>
        <pc:picChg chg="mod">
          <ac:chgData name="Ying Yang" userId="f1527f9b-a873-4aa2-b225-cf8fd3466e0d" providerId="ADAL" clId="{A30A5C05-46CF-4F03-AB5B-503FD66274CE}" dt="2022-06-09T03:24:16.408" v="4066" actId="1076"/>
          <ac:picMkLst>
            <pc:docMk/>
            <pc:sldMk cId="3835900212" sldId="2145705751"/>
            <ac:picMk id="26" creationId="{6BCD51EF-2E20-405F-9C18-FB7D06AC50BC}"/>
          </ac:picMkLst>
        </pc:picChg>
        <pc:cxnChg chg="mod">
          <ac:chgData name="Ying Yang" userId="f1527f9b-a873-4aa2-b225-cf8fd3466e0d" providerId="ADAL" clId="{A30A5C05-46CF-4F03-AB5B-503FD66274CE}" dt="2022-06-09T03:06:02.047" v="3713"/>
          <ac:cxnSpMkLst>
            <pc:docMk/>
            <pc:sldMk cId="3835900212" sldId="2145705751"/>
            <ac:cxnSpMk id="7" creationId="{A6DC7A41-144D-46DE-B019-C172E1FDBA3F}"/>
          </ac:cxnSpMkLst>
        </pc:cxnChg>
        <pc:cxnChg chg="mod">
          <ac:chgData name="Ying Yang" userId="f1527f9b-a873-4aa2-b225-cf8fd3466e0d" providerId="ADAL" clId="{A30A5C05-46CF-4F03-AB5B-503FD66274CE}" dt="2022-06-09T03:06:02.047" v="3713"/>
          <ac:cxnSpMkLst>
            <pc:docMk/>
            <pc:sldMk cId="3835900212" sldId="2145705751"/>
            <ac:cxnSpMk id="8" creationId="{5DD8AC34-7533-4DBD-8572-E57793816AF0}"/>
          </ac:cxnSpMkLst>
        </pc:cxnChg>
      </pc:sldChg>
      <pc:sldChg chg="addSp delSp modSp add mod ord">
        <pc:chgData name="Ying Yang" userId="f1527f9b-a873-4aa2-b225-cf8fd3466e0d" providerId="ADAL" clId="{A30A5C05-46CF-4F03-AB5B-503FD66274CE}" dt="2022-06-09T03:32:58.026" v="4210"/>
        <pc:sldMkLst>
          <pc:docMk/>
          <pc:sldMk cId="3197734298" sldId="2145705752"/>
        </pc:sldMkLst>
        <pc:spChg chg="add mod">
          <ac:chgData name="Ying Yang" userId="f1527f9b-a873-4aa2-b225-cf8fd3466e0d" providerId="ADAL" clId="{A30A5C05-46CF-4F03-AB5B-503FD66274CE}" dt="2022-06-09T03:31:57.105" v="4188" actId="1076"/>
          <ac:spMkLst>
            <pc:docMk/>
            <pc:sldMk cId="3197734298" sldId="2145705752"/>
            <ac:spMk id="131" creationId="{D5B96210-7791-468A-8968-C089F536BA85}"/>
          </ac:spMkLst>
        </pc:spChg>
        <pc:spChg chg="add mod">
          <ac:chgData name="Ying Yang" userId="f1527f9b-a873-4aa2-b225-cf8fd3466e0d" providerId="ADAL" clId="{A30A5C05-46CF-4F03-AB5B-503FD66274CE}" dt="2022-06-09T03:32:13.272" v="4204" actId="14100"/>
          <ac:spMkLst>
            <pc:docMk/>
            <pc:sldMk cId="3197734298" sldId="2145705752"/>
            <ac:spMk id="132" creationId="{C7CCB99C-DC9A-4647-AB49-3546AFCD181D}"/>
          </ac:spMkLst>
        </pc:spChg>
        <pc:grpChg chg="del">
          <ac:chgData name="Ying Yang" userId="f1527f9b-a873-4aa2-b225-cf8fd3466e0d" providerId="ADAL" clId="{A30A5C05-46CF-4F03-AB5B-503FD66274CE}" dt="2022-06-09T03:31:59.714" v="4189" actId="478"/>
          <ac:grpSpMkLst>
            <pc:docMk/>
            <pc:sldMk cId="3197734298" sldId="2145705752"/>
            <ac:grpSpMk id="94" creationId="{77D8A3B9-45DE-433D-9328-E08C2CD69A98}"/>
          </ac:grpSpMkLst>
        </pc:grpChg>
        <pc:grpChg chg="del">
          <ac:chgData name="Ying Yang" userId="f1527f9b-a873-4aa2-b225-cf8fd3466e0d" providerId="ADAL" clId="{A30A5C05-46CF-4F03-AB5B-503FD66274CE}" dt="2022-06-09T03:31:54.402" v="4187" actId="478"/>
          <ac:grpSpMkLst>
            <pc:docMk/>
            <pc:sldMk cId="3197734298" sldId="2145705752"/>
            <ac:grpSpMk id="126" creationId="{E26653E1-E8F3-44C0-8E2C-52468C1C65FA}"/>
          </ac:grpSpMkLst>
        </pc:grpChg>
        <pc:grpChg chg="del">
          <ac:chgData name="Ying Yang" userId="f1527f9b-a873-4aa2-b225-cf8fd3466e0d" providerId="ADAL" clId="{A30A5C05-46CF-4F03-AB5B-503FD66274CE}" dt="2022-06-09T03:31:36.482" v="4181" actId="478"/>
          <ac:grpSpMkLst>
            <pc:docMk/>
            <pc:sldMk cId="3197734298" sldId="2145705752"/>
            <ac:grpSpMk id="168" creationId="{50C6B766-4358-4E08-A95A-87C0846C958C}"/>
          </ac:grpSpMkLst>
        </pc:grpChg>
      </pc:sldChg>
      <pc:sldChg chg="modSp new mod ord">
        <pc:chgData name="Ying Yang" userId="f1527f9b-a873-4aa2-b225-cf8fd3466e0d" providerId="ADAL" clId="{A30A5C05-46CF-4F03-AB5B-503FD66274CE}" dt="2022-06-13T02:18:46.048" v="4385"/>
        <pc:sldMkLst>
          <pc:docMk/>
          <pc:sldMk cId="699979197" sldId="2145705753"/>
        </pc:sldMkLst>
        <pc:spChg chg="mod">
          <ac:chgData name="Ying Yang" userId="f1527f9b-a873-4aa2-b225-cf8fd3466e0d" providerId="ADAL" clId="{A30A5C05-46CF-4F03-AB5B-503FD66274CE}" dt="2022-06-13T02:18:38.663" v="4383" actId="20577"/>
          <ac:spMkLst>
            <pc:docMk/>
            <pc:sldMk cId="699979197" sldId="2145705753"/>
            <ac:spMk id="4" creationId="{1ECFDA52-8A30-47E9-9A6E-E98F93EE50A5}"/>
          </ac:spMkLst>
        </pc:spChg>
      </pc:sldChg>
      <pc:sldChg chg="new del">
        <pc:chgData name="Ying Yang" userId="f1527f9b-a873-4aa2-b225-cf8fd3466e0d" providerId="ADAL" clId="{A30A5C05-46CF-4F03-AB5B-503FD66274CE}" dt="2022-06-13T07:47:04.205" v="4410" actId="47"/>
        <pc:sldMkLst>
          <pc:docMk/>
          <pc:sldMk cId="1603544103" sldId="2145705754"/>
        </pc:sldMkLst>
      </pc:sldChg>
      <pc:sldChg chg="addSp delSp modSp add mod">
        <pc:chgData name="Ying Yang" userId="f1527f9b-a873-4aa2-b225-cf8fd3466e0d" providerId="ADAL" clId="{A30A5C05-46CF-4F03-AB5B-503FD66274CE}" dt="2022-06-13T08:42:46.677" v="5056" actId="14100"/>
        <pc:sldMkLst>
          <pc:docMk/>
          <pc:sldMk cId="2833274913" sldId="2145705755"/>
        </pc:sldMkLst>
        <pc:spChg chg="add mod">
          <ac:chgData name="Ying Yang" userId="f1527f9b-a873-4aa2-b225-cf8fd3466e0d" providerId="ADAL" clId="{A30A5C05-46CF-4F03-AB5B-503FD66274CE}" dt="2022-06-13T08:04:06.250" v="4747" actId="207"/>
          <ac:spMkLst>
            <pc:docMk/>
            <pc:sldMk cId="2833274913" sldId="2145705755"/>
            <ac:spMk id="5" creationId="{9E1D3554-C170-4848-BE4B-1047629288BB}"/>
          </ac:spMkLst>
        </pc:spChg>
        <pc:spChg chg="mod">
          <ac:chgData name="Ying Yang" userId="f1527f9b-a873-4aa2-b225-cf8fd3466e0d" providerId="ADAL" clId="{A30A5C05-46CF-4F03-AB5B-503FD66274CE}" dt="2022-06-13T08:39:12.852" v="5015" actId="14100"/>
          <ac:spMkLst>
            <pc:docMk/>
            <pc:sldMk cId="2833274913" sldId="2145705755"/>
            <ac:spMk id="92" creationId="{DA1A959C-52D7-4FFB-95F8-F007237FB13E}"/>
          </ac:spMkLst>
        </pc:spChg>
        <pc:spChg chg="mod">
          <ac:chgData name="Ying Yang" userId="f1527f9b-a873-4aa2-b225-cf8fd3466e0d" providerId="ADAL" clId="{A30A5C05-46CF-4F03-AB5B-503FD66274CE}" dt="2022-06-13T07:46:46.436" v="4407" actId="20577"/>
          <ac:spMkLst>
            <pc:docMk/>
            <pc:sldMk cId="2833274913" sldId="2145705755"/>
            <ac:spMk id="95" creationId="{37670C23-DE49-4A65-AA7D-B176C885C738}"/>
          </ac:spMkLst>
        </pc:spChg>
        <pc:spChg chg="mod">
          <ac:chgData name="Ying Yang" userId="f1527f9b-a873-4aa2-b225-cf8fd3466e0d" providerId="ADAL" clId="{A30A5C05-46CF-4F03-AB5B-503FD66274CE}" dt="2022-06-13T07:46:39.769" v="4404"/>
          <ac:spMkLst>
            <pc:docMk/>
            <pc:sldMk cId="2833274913" sldId="2145705755"/>
            <ac:spMk id="114" creationId="{14C16477-A421-4A3D-B212-3CB46A6D7017}"/>
          </ac:spMkLst>
        </pc:spChg>
        <pc:spChg chg="mod">
          <ac:chgData name="Ying Yang" userId="f1527f9b-a873-4aa2-b225-cf8fd3466e0d" providerId="ADAL" clId="{A30A5C05-46CF-4F03-AB5B-503FD66274CE}" dt="2022-06-13T07:46:43.638" v="4405" actId="1076"/>
          <ac:spMkLst>
            <pc:docMk/>
            <pc:sldMk cId="2833274913" sldId="2145705755"/>
            <ac:spMk id="118" creationId="{DEE9E9F5-9DDB-48A7-95BF-1E36EADFA10E}"/>
          </ac:spMkLst>
        </pc:spChg>
        <pc:spChg chg="mod">
          <ac:chgData name="Ying Yang" userId="f1527f9b-a873-4aa2-b225-cf8fd3466e0d" providerId="ADAL" clId="{A30A5C05-46CF-4F03-AB5B-503FD66274CE}" dt="2022-06-13T07:47:22.799" v="4411"/>
          <ac:spMkLst>
            <pc:docMk/>
            <pc:sldMk cId="2833274913" sldId="2145705755"/>
            <ac:spMk id="162" creationId="{61DF2641-7D26-4587-8594-D2D7FCDBCAB5}"/>
          </ac:spMkLst>
        </pc:spChg>
        <pc:spChg chg="mod">
          <ac:chgData name="Ying Yang" userId="f1527f9b-a873-4aa2-b225-cf8fd3466e0d" providerId="ADAL" clId="{A30A5C05-46CF-4F03-AB5B-503FD66274CE}" dt="2022-06-13T07:47:22.799" v="4411"/>
          <ac:spMkLst>
            <pc:docMk/>
            <pc:sldMk cId="2833274913" sldId="2145705755"/>
            <ac:spMk id="163" creationId="{D4FF2243-8F36-4F3A-834F-73657DF4020F}"/>
          </ac:spMkLst>
        </pc:spChg>
        <pc:spChg chg="mod">
          <ac:chgData name="Ying Yang" userId="f1527f9b-a873-4aa2-b225-cf8fd3466e0d" providerId="ADAL" clId="{A30A5C05-46CF-4F03-AB5B-503FD66274CE}" dt="2022-06-13T07:47:22.799" v="4411"/>
          <ac:spMkLst>
            <pc:docMk/>
            <pc:sldMk cId="2833274913" sldId="2145705755"/>
            <ac:spMk id="165" creationId="{5D7E5E05-C8E7-4A3E-9781-A1716525EBF0}"/>
          </ac:spMkLst>
        </pc:spChg>
        <pc:spChg chg="mod">
          <ac:chgData name="Ying Yang" userId="f1527f9b-a873-4aa2-b225-cf8fd3466e0d" providerId="ADAL" clId="{A30A5C05-46CF-4F03-AB5B-503FD66274CE}" dt="2022-06-13T07:47:22.799" v="4411"/>
          <ac:spMkLst>
            <pc:docMk/>
            <pc:sldMk cId="2833274913" sldId="2145705755"/>
            <ac:spMk id="167" creationId="{E9E287BA-D192-4B6C-9644-C106383491A0}"/>
          </ac:spMkLst>
        </pc:spChg>
        <pc:spChg chg="mod">
          <ac:chgData name="Ying Yang" userId="f1527f9b-a873-4aa2-b225-cf8fd3466e0d" providerId="ADAL" clId="{A30A5C05-46CF-4F03-AB5B-503FD66274CE}" dt="2022-06-13T08:36:34.906" v="4978" actId="242"/>
          <ac:spMkLst>
            <pc:docMk/>
            <pc:sldMk cId="2833274913" sldId="2145705755"/>
            <ac:spMk id="169" creationId="{11724CF7-E1AF-474E-8E5D-2F8A1F5D2443}"/>
          </ac:spMkLst>
        </pc:spChg>
        <pc:spChg chg="mod">
          <ac:chgData name="Ying Yang" userId="f1527f9b-a873-4aa2-b225-cf8fd3466e0d" providerId="ADAL" clId="{A30A5C05-46CF-4F03-AB5B-503FD66274CE}" dt="2022-06-13T08:36:34.906" v="4978" actId="242"/>
          <ac:spMkLst>
            <pc:docMk/>
            <pc:sldMk cId="2833274913" sldId="2145705755"/>
            <ac:spMk id="171" creationId="{D3F52950-F23A-4A07-AE5B-02C3501C7C61}"/>
          </ac:spMkLst>
        </pc:spChg>
        <pc:spChg chg="mod">
          <ac:chgData name="Ying Yang" userId="f1527f9b-a873-4aa2-b225-cf8fd3466e0d" providerId="ADAL" clId="{A30A5C05-46CF-4F03-AB5B-503FD66274CE}" dt="2022-06-13T08:36:34.906" v="4978" actId="242"/>
          <ac:spMkLst>
            <pc:docMk/>
            <pc:sldMk cId="2833274913" sldId="2145705755"/>
            <ac:spMk id="172" creationId="{74A12F8E-B42B-4EDD-8CFF-3116B3EBBFD1}"/>
          </ac:spMkLst>
        </pc:spChg>
        <pc:spChg chg="mod">
          <ac:chgData name="Ying Yang" userId="f1527f9b-a873-4aa2-b225-cf8fd3466e0d" providerId="ADAL" clId="{A30A5C05-46CF-4F03-AB5B-503FD66274CE}" dt="2022-06-13T08:36:38.023" v="4980" actId="20577"/>
          <ac:spMkLst>
            <pc:docMk/>
            <pc:sldMk cId="2833274913" sldId="2145705755"/>
            <ac:spMk id="174" creationId="{26141EB3-5E5D-4A15-967B-9579685227DD}"/>
          </ac:spMkLst>
        </pc:spChg>
        <pc:spChg chg="mod">
          <ac:chgData name="Ying Yang" userId="f1527f9b-a873-4aa2-b225-cf8fd3466e0d" providerId="ADAL" clId="{A30A5C05-46CF-4F03-AB5B-503FD66274CE}" dt="2022-06-13T08:36:34.906" v="4978" actId="242"/>
          <ac:spMkLst>
            <pc:docMk/>
            <pc:sldMk cId="2833274913" sldId="2145705755"/>
            <ac:spMk id="175" creationId="{1EAD640C-3519-4068-9355-BE86D559C356}"/>
          </ac:spMkLst>
        </pc:spChg>
        <pc:spChg chg="mod topLvl">
          <ac:chgData name="Ying Yang" userId="f1527f9b-a873-4aa2-b225-cf8fd3466e0d" providerId="ADAL" clId="{A30A5C05-46CF-4F03-AB5B-503FD66274CE}" dt="2022-06-13T08:01:50.404" v="4691" actId="14100"/>
          <ac:spMkLst>
            <pc:docMk/>
            <pc:sldMk cId="2833274913" sldId="2145705755"/>
            <ac:spMk id="177" creationId="{7F93530A-6C34-4B53-908D-D1B44BFA1013}"/>
          </ac:spMkLst>
        </pc:spChg>
        <pc:spChg chg="mod topLvl">
          <ac:chgData name="Ying Yang" userId="f1527f9b-a873-4aa2-b225-cf8fd3466e0d" providerId="ADAL" clId="{A30A5C05-46CF-4F03-AB5B-503FD66274CE}" dt="2022-06-13T07:58:46.818" v="4655" actId="165"/>
          <ac:spMkLst>
            <pc:docMk/>
            <pc:sldMk cId="2833274913" sldId="2145705755"/>
            <ac:spMk id="179" creationId="{2E625E02-06BC-47A1-8C05-6F7282290596}"/>
          </ac:spMkLst>
        </pc:spChg>
        <pc:spChg chg="mod">
          <ac:chgData name="Ying Yang" userId="f1527f9b-a873-4aa2-b225-cf8fd3466e0d" providerId="ADAL" clId="{A30A5C05-46CF-4F03-AB5B-503FD66274CE}" dt="2022-06-13T07:59:54.481" v="4668" actId="165"/>
          <ac:spMkLst>
            <pc:docMk/>
            <pc:sldMk cId="2833274913" sldId="2145705755"/>
            <ac:spMk id="186" creationId="{93ACB9BC-DAAC-465D-AA81-C039DD5D8D21}"/>
          </ac:spMkLst>
        </pc:spChg>
        <pc:spChg chg="mod">
          <ac:chgData name="Ying Yang" userId="f1527f9b-a873-4aa2-b225-cf8fd3466e0d" providerId="ADAL" clId="{A30A5C05-46CF-4F03-AB5B-503FD66274CE}" dt="2022-06-13T07:59:54.481" v="4668" actId="165"/>
          <ac:spMkLst>
            <pc:docMk/>
            <pc:sldMk cId="2833274913" sldId="2145705755"/>
            <ac:spMk id="293" creationId="{F0B8EA4C-8F4E-4448-BC74-9447CB742945}"/>
          </ac:spMkLst>
        </pc:spChg>
        <pc:spChg chg="mod">
          <ac:chgData name="Ying Yang" userId="f1527f9b-a873-4aa2-b225-cf8fd3466e0d" providerId="ADAL" clId="{A30A5C05-46CF-4F03-AB5B-503FD66274CE}" dt="2022-06-13T07:59:54.481" v="4668" actId="165"/>
          <ac:spMkLst>
            <pc:docMk/>
            <pc:sldMk cId="2833274913" sldId="2145705755"/>
            <ac:spMk id="296" creationId="{A17C0EBB-8B9E-45A7-A8AB-D9EDF8437656}"/>
          </ac:spMkLst>
        </pc:spChg>
        <pc:spChg chg="mod">
          <ac:chgData name="Ying Yang" userId="f1527f9b-a873-4aa2-b225-cf8fd3466e0d" providerId="ADAL" clId="{A30A5C05-46CF-4F03-AB5B-503FD66274CE}" dt="2022-06-13T08:01:04.532" v="4683" actId="14100"/>
          <ac:spMkLst>
            <pc:docMk/>
            <pc:sldMk cId="2833274913" sldId="2145705755"/>
            <ac:spMk id="297" creationId="{D03BD199-8D63-4EA7-99D2-D187884FFDA6}"/>
          </ac:spMkLst>
        </pc:spChg>
        <pc:spChg chg="mod">
          <ac:chgData name="Ying Yang" userId="f1527f9b-a873-4aa2-b225-cf8fd3466e0d" providerId="ADAL" clId="{A30A5C05-46CF-4F03-AB5B-503FD66274CE}" dt="2022-06-13T08:42:46.677" v="5056" actId="14100"/>
          <ac:spMkLst>
            <pc:docMk/>
            <pc:sldMk cId="2833274913" sldId="2145705755"/>
            <ac:spMk id="298" creationId="{383AC7E5-6F64-4A94-B21D-A4C356E236EE}"/>
          </ac:spMkLst>
        </pc:spChg>
        <pc:spChg chg="mod">
          <ac:chgData name="Ying Yang" userId="f1527f9b-a873-4aa2-b225-cf8fd3466e0d" providerId="ADAL" clId="{A30A5C05-46CF-4F03-AB5B-503FD66274CE}" dt="2022-06-13T08:00:59.926" v="4681" actId="404"/>
          <ac:spMkLst>
            <pc:docMk/>
            <pc:sldMk cId="2833274913" sldId="2145705755"/>
            <ac:spMk id="301" creationId="{1D860E88-A3A7-42FF-BE9C-8097BD9FBB6F}"/>
          </ac:spMkLst>
        </pc:spChg>
        <pc:spChg chg="mod">
          <ac:chgData name="Ying Yang" userId="f1527f9b-a873-4aa2-b225-cf8fd3466e0d" providerId="ADAL" clId="{A30A5C05-46CF-4F03-AB5B-503FD66274CE}" dt="2022-06-13T08:00:59.926" v="4681" actId="404"/>
          <ac:spMkLst>
            <pc:docMk/>
            <pc:sldMk cId="2833274913" sldId="2145705755"/>
            <ac:spMk id="302" creationId="{A5856819-B8ED-4EDD-A659-4C08EF9C0BE3}"/>
          </ac:spMkLst>
        </pc:spChg>
        <pc:spChg chg="mod">
          <ac:chgData name="Ying Yang" userId="f1527f9b-a873-4aa2-b225-cf8fd3466e0d" providerId="ADAL" clId="{A30A5C05-46CF-4F03-AB5B-503FD66274CE}" dt="2022-06-13T08:00:59.926" v="4681" actId="404"/>
          <ac:spMkLst>
            <pc:docMk/>
            <pc:sldMk cId="2833274913" sldId="2145705755"/>
            <ac:spMk id="304" creationId="{751FD81C-63D7-4A90-BF42-FD314FC89036}"/>
          </ac:spMkLst>
        </pc:spChg>
        <pc:spChg chg="mod">
          <ac:chgData name="Ying Yang" userId="f1527f9b-a873-4aa2-b225-cf8fd3466e0d" providerId="ADAL" clId="{A30A5C05-46CF-4F03-AB5B-503FD66274CE}" dt="2022-06-13T08:00:59.926" v="4681" actId="404"/>
          <ac:spMkLst>
            <pc:docMk/>
            <pc:sldMk cId="2833274913" sldId="2145705755"/>
            <ac:spMk id="306" creationId="{C1684E1F-C5ED-4B1F-9DB2-59BBEE7AA710}"/>
          </ac:spMkLst>
        </pc:spChg>
        <pc:spChg chg="mod">
          <ac:chgData name="Ying Yang" userId="f1527f9b-a873-4aa2-b225-cf8fd3466e0d" providerId="ADAL" clId="{A30A5C05-46CF-4F03-AB5B-503FD66274CE}" dt="2022-06-13T08:00:59.926" v="4681" actId="404"/>
          <ac:spMkLst>
            <pc:docMk/>
            <pc:sldMk cId="2833274913" sldId="2145705755"/>
            <ac:spMk id="308" creationId="{5A7164A3-1212-4AAF-974B-AB0F772249CA}"/>
          </ac:spMkLst>
        </pc:spChg>
        <pc:spChg chg="mod">
          <ac:chgData name="Ying Yang" userId="f1527f9b-a873-4aa2-b225-cf8fd3466e0d" providerId="ADAL" clId="{A30A5C05-46CF-4F03-AB5B-503FD66274CE}" dt="2022-06-13T08:00:59.926" v="4681" actId="404"/>
          <ac:spMkLst>
            <pc:docMk/>
            <pc:sldMk cId="2833274913" sldId="2145705755"/>
            <ac:spMk id="309" creationId="{D9DF0BB5-A287-4D64-8989-99117C3492A3}"/>
          </ac:spMkLst>
        </pc:spChg>
        <pc:spChg chg="mod">
          <ac:chgData name="Ying Yang" userId="f1527f9b-a873-4aa2-b225-cf8fd3466e0d" providerId="ADAL" clId="{A30A5C05-46CF-4F03-AB5B-503FD66274CE}" dt="2022-06-13T08:00:59.926" v="4681" actId="404"/>
          <ac:spMkLst>
            <pc:docMk/>
            <pc:sldMk cId="2833274913" sldId="2145705755"/>
            <ac:spMk id="310" creationId="{23D3BC56-37CA-4E8D-9313-B0451B8D507C}"/>
          </ac:spMkLst>
        </pc:spChg>
        <pc:spChg chg="mod">
          <ac:chgData name="Ying Yang" userId="f1527f9b-a873-4aa2-b225-cf8fd3466e0d" providerId="ADAL" clId="{A30A5C05-46CF-4F03-AB5B-503FD66274CE}" dt="2022-06-13T08:00:59.926" v="4681" actId="404"/>
          <ac:spMkLst>
            <pc:docMk/>
            <pc:sldMk cId="2833274913" sldId="2145705755"/>
            <ac:spMk id="311" creationId="{39B75C87-2856-4EDC-9062-D159C09B7566}"/>
          </ac:spMkLst>
        </pc:spChg>
        <pc:spChg chg="mod">
          <ac:chgData name="Ying Yang" userId="f1527f9b-a873-4aa2-b225-cf8fd3466e0d" providerId="ADAL" clId="{A30A5C05-46CF-4F03-AB5B-503FD66274CE}" dt="2022-06-13T08:00:59.926" v="4681" actId="404"/>
          <ac:spMkLst>
            <pc:docMk/>
            <pc:sldMk cId="2833274913" sldId="2145705755"/>
            <ac:spMk id="312" creationId="{4D1CC4B4-9A36-4E71-8DF9-0847D7222483}"/>
          </ac:spMkLst>
        </pc:spChg>
        <pc:spChg chg="mod">
          <ac:chgData name="Ying Yang" userId="f1527f9b-a873-4aa2-b225-cf8fd3466e0d" providerId="ADAL" clId="{A30A5C05-46CF-4F03-AB5B-503FD66274CE}" dt="2022-06-13T08:00:59.926" v="4681" actId="404"/>
          <ac:spMkLst>
            <pc:docMk/>
            <pc:sldMk cId="2833274913" sldId="2145705755"/>
            <ac:spMk id="313" creationId="{1A97E800-E975-4A0A-9CCE-C47E70F5625A}"/>
          </ac:spMkLst>
        </pc:spChg>
        <pc:spChg chg="mod">
          <ac:chgData name="Ying Yang" userId="f1527f9b-a873-4aa2-b225-cf8fd3466e0d" providerId="ADAL" clId="{A30A5C05-46CF-4F03-AB5B-503FD66274CE}" dt="2022-06-13T08:00:59.926" v="4681" actId="404"/>
          <ac:spMkLst>
            <pc:docMk/>
            <pc:sldMk cId="2833274913" sldId="2145705755"/>
            <ac:spMk id="316" creationId="{8733AF8E-010E-49ED-B59D-84ED59C974B2}"/>
          </ac:spMkLst>
        </pc:spChg>
        <pc:spChg chg="mod">
          <ac:chgData name="Ying Yang" userId="f1527f9b-a873-4aa2-b225-cf8fd3466e0d" providerId="ADAL" clId="{A30A5C05-46CF-4F03-AB5B-503FD66274CE}" dt="2022-06-13T08:01:06.033" v="4684" actId="14100"/>
          <ac:spMkLst>
            <pc:docMk/>
            <pc:sldMk cId="2833274913" sldId="2145705755"/>
            <ac:spMk id="319" creationId="{F7D6DF4C-2A00-4554-8774-FCC9F57D2835}"/>
          </ac:spMkLst>
        </pc:spChg>
        <pc:spChg chg="mod">
          <ac:chgData name="Ying Yang" userId="f1527f9b-a873-4aa2-b225-cf8fd3466e0d" providerId="ADAL" clId="{A30A5C05-46CF-4F03-AB5B-503FD66274CE}" dt="2022-06-13T08:00:59.926" v="4681" actId="404"/>
          <ac:spMkLst>
            <pc:docMk/>
            <pc:sldMk cId="2833274913" sldId="2145705755"/>
            <ac:spMk id="320" creationId="{DB4B6016-2993-4A53-B816-C198E4BCBC30}"/>
          </ac:spMkLst>
        </pc:spChg>
        <pc:spChg chg="mod">
          <ac:chgData name="Ying Yang" userId="f1527f9b-a873-4aa2-b225-cf8fd3466e0d" providerId="ADAL" clId="{A30A5C05-46CF-4F03-AB5B-503FD66274CE}" dt="2022-06-13T08:00:59.926" v="4681" actId="404"/>
          <ac:spMkLst>
            <pc:docMk/>
            <pc:sldMk cId="2833274913" sldId="2145705755"/>
            <ac:spMk id="321" creationId="{2167B8A1-F5FA-44E0-A33C-4992AA1C2D85}"/>
          </ac:spMkLst>
        </pc:spChg>
        <pc:spChg chg="mod">
          <ac:chgData name="Ying Yang" userId="f1527f9b-a873-4aa2-b225-cf8fd3466e0d" providerId="ADAL" clId="{A30A5C05-46CF-4F03-AB5B-503FD66274CE}" dt="2022-06-13T08:01:14.802" v="4686" actId="14100"/>
          <ac:spMkLst>
            <pc:docMk/>
            <pc:sldMk cId="2833274913" sldId="2145705755"/>
            <ac:spMk id="323" creationId="{9CA27355-D673-4D9F-B375-24AF3717EA81}"/>
          </ac:spMkLst>
        </pc:spChg>
        <pc:spChg chg="mod">
          <ac:chgData name="Ying Yang" userId="f1527f9b-a873-4aa2-b225-cf8fd3466e0d" providerId="ADAL" clId="{A30A5C05-46CF-4F03-AB5B-503FD66274CE}" dt="2022-06-13T08:00:59.926" v="4681" actId="404"/>
          <ac:spMkLst>
            <pc:docMk/>
            <pc:sldMk cId="2833274913" sldId="2145705755"/>
            <ac:spMk id="325" creationId="{BCA643E9-5DFB-41A4-8B8C-0D91167B4482}"/>
          </ac:spMkLst>
        </pc:spChg>
        <pc:spChg chg="mod">
          <ac:chgData name="Ying Yang" userId="f1527f9b-a873-4aa2-b225-cf8fd3466e0d" providerId="ADAL" clId="{A30A5C05-46CF-4F03-AB5B-503FD66274CE}" dt="2022-06-13T08:00:59.926" v="4681" actId="404"/>
          <ac:spMkLst>
            <pc:docMk/>
            <pc:sldMk cId="2833274913" sldId="2145705755"/>
            <ac:spMk id="326" creationId="{B64568D1-A723-4EA6-9EAE-663E2ED8BA54}"/>
          </ac:spMkLst>
        </pc:spChg>
        <pc:spChg chg="mod">
          <ac:chgData name="Ying Yang" userId="f1527f9b-a873-4aa2-b225-cf8fd3466e0d" providerId="ADAL" clId="{A30A5C05-46CF-4F03-AB5B-503FD66274CE}" dt="2022-06-13T08:00:59.926" v="4681" actId="404"/>
          <ac:spMkLst>
            <pc:docMk/>
            <pc:sldMk cId="2833274913" sldId="2145705755"/>
            <ac:spMk id="327" creationId="{59EFD1A8-4AA4-4E5E-B5A6-A913FCE7B24B}"/>
          </ac:spMkLst>
        </pc:spChg>
        <pc:spChg chg="mod">
          <ac:chgData name="Ying Yang" userId="f1527f9b-a873-4aa2-b225-cf8fd3466e0d" providerId="ADAL" clId="{A30A5C05-46CF-4F03-AB5B-503FD66274CE}" dt="2022-06-13T08:00:59.926" v="4681" actId="404"/>
          <ac:spMkLst>
            <pc:docMk/>
            <pc:sldMk cId="2833274913" sldId="2145705755"/>
            <ac:spMk id="328" creationId="{9A1D7FBB-8BA8-47CD-BBC7-20BF0AF2235F}"/>
          </ac:spMkLst>
        </pc:spChg>
        <pc:spChg chg="mod">
          <ac:chgData name="Ying Yang" userId="f1527f9b-a873-4aa2-b225-cf8fd3466e0d" providerId="ADAL" clId="{A30A5C05-46CF-4F03-AB5B-503FD66274CE}" dt="2022-06-13T08:00:59.926" v="4681" actId="404"/>
          <ac:spMkLst>
            <pc:docMk/>
            <pc:sldMk cId="2833274913" sldId="2145705755"/>
            <ac:spMk id="329" creationId="{E174BB81-B7A3-432F-BD41-BE065A8FF5C1}"/>
          </ac:spMkLst>
        </pc:spChg>
        <pc:spChg chg="mod">
          <ac:chgData name="Ying Yang" userId="f1527f9b-a873-4aa2-b225-cf8fd3466e0d" providerId="ADAL" clId="{A30A5C05-46CF-4F03-AB5B-503FD66274CE}" dt="2022-06-13T08:00:59.926" v="4681" actId="404"/>
          <ac:spMkLst>
            <pc:docMk/>
            <pc:sldMk cId="2833274913" sldId="2145705755"/>
            <ac:spMk id="330" creationId="{79D73AA0-0465-4C4D-B22C-A1AD0B0F5F60}"/>
          </ac:spMkLst>
        </pc:spChg>
        <pc:spChg chg="mod">
          <ac:chgData name="Ying Yang" userId="f1527f9b-a873-4aa2-b225-cf8fd3466e0d" providerId="ADAL" clId="{A30A5C05-46CF-4F03-AB5B-503FD66274CE}" dt="2022-06-13T08:03:07.234" v="4723" actId="114"/>
          <ac:spMkLst>
            <pc:docMk/>
            <pc:sldMk cId="2833274913" sldId="2145705755"/>
            <ac:spMk id="332" creationId="{5057614C-2B83-4BE4-A316-00D9FD6398FF}"/>
          </ac:spMkLst>
        </pc:spChg>
        <pc:spChg chg="mod">
          <ac:chgData name="Ying Yang" userId="f1527f9b-a873-4aa2-b225-cf8fd3466e0d" providerId="ADAL" clId="{A30A5C05-46CF-4F03-AB5B-503FD66274CE}" dt="2022-06-13T08:03:05.110" v="4722" actId="114"/>
          <ac:spMkLst>
            <pc:docMk/>
            <pc:sldMk cId="2833274913" sldId="2145705755"/>
            <ac:spMk id="333" creationId="{1533C27B-C763-466C-A657-63F8E0783489}"/>
          </ac:spMkLst>
        </pc:spChg>
        <pc:spChg chg="del mod topLvl">
          <ac:chgData name="Ying Yang" userId="f1527f9b-a873-4aa2-b225-cf8fd3466e0d" providerId="ADAL" clId="{A30A5C05-46CF-4F03-AB5B-503FD66274CE}" dt="2022-06-13T08:17:22.652" v="4820" actId="478"/>
          <ac:spMkLst>
            <pc:docMk/>
            <pc:sldMk cId="2833274913" sldId="2145705755"/>
            <ac:spMk id="337" creationId="{DCE35D0C-FC9A-4A40-9C7F-41AA81AEC4E6}"/>
          </ac:spMkLst>
        </pc:spChg>
        <pc:spChg chg="del mod topLvl">
          <ac:chgData name="Ying Yang" userId="f1527f9b-a873-4aa2-b225-cf8fd3466e0d" providerId="ADAL" clId="{A30A5C05-46CF-4F03-AB5B-503FD66274CE}" dt="2022-06-13T08:17:22.652" v="4820" actId="478"/>
          <ac:spMkLst>
            <pc:docMk/>
            <pc:sldMk cId="2833274913" sldId="2145705755"/>
            <ac:spMk id="340" creationId="{AE53EB41-07B3-476E-A2C4-2BD70A786559}"/>
          </ac:spMkLst>
        </pc:spChg>
        <pc:spChg chg="mod">
          <ac:chgData name="Ying Yang" userId="f1527f9b-a873-4aa2-b225-cf8fd3466e0d" providerId="ADAL" clId="{A30A5C05-46CF-4F03-AB5B-503FD66274CE}" dt="2022-06-13T08:21:12.803" v="4838" actId="1076"/>
          <ac:spMkLst>
            <pc:docMk/>
            <pc:sldMk cId="2833274913" sldId="2145705755"/>
            <ac:spMk id="342" creationId="{5165DB46-540F-4455-BF66-D7E2B12DFE99}"/>
          </ac:spMkLst>
        </pc:spChg>
        <pc:spChg chg="mod">
          <ac:chgData name="Ying Yang" userId="f1527f9b-a873-4aa2-b225-cf8fd3466e0d" providerId="ADAL" clId="{A30A5C05-46CF-4F03-AB5B-503FD66274CE}" dt="2022-06-13T08:21:21.596" v="4840" actId="1076"/>
          <ac:spMkLst>
            <pc:docMk/>
            <pc:sldMk cId="2833274913" sldId="2145705755"/>
            <ac:spMk id="343" creationId="{B6275A49-155B-4E32-A5F8-3C8F088C2E32}"/>
          </ac:spMkLst>
        </pc:spChg>
        <pc:spChg chg="mod">
          <ac:chgData name="Ying Yang" userId="f1527f9b-a873-4aa2-b225-cf8fd3466e0d" providerId="ADAL" clId="{A30A5C05-46CF-4F03-AB5B-503FD66274CE}" dt="2022-06-13T08:22:01.519" v="4848" actId="1076"/>
          <ac:spMkLst>
            <pc:docMk/>
            <pc:sldMk cId="2833274913" sldId="2145705755"/>
            <ac:spMk id="344" creationId="{12607509-8501-4FB4-82E8-FB07EF6DE439}"/>
          </ac:spMkLst>
        </pc:spChg>
        <pc:spChg chg="del mod topLvl">
          <ac:chgData name="Ying Yang" userId="f1527f9b-a873-4aa2-b225-cf8fd3466e0d" providerId="ADAL" clId="{A30A5C05-46CF-4F03-AB5B-503FD66274CE}" dt="2022-06-13T08:17:38.435" v="4827" actId="478"/>
          <ac:spMkLst>
            <pc:docMk/>
            <pc:sldMk cId="2833274913" sldId="2145705755"/>
            <ac:spMk id="345" creationId="{8FE71B77-7D5D-43CC-9558-D70459DAB18D}"/>
          </ac:spMkLst>
        </pc:spChg>
        <pc:spChg chg="mod topLvl">
          <ac:chgData name="Ying Yang" userId="f1527f9b-a873-4aa2-b225-cf8fd3466e0d" providerId="ADAL" clId="{A30A5C05-46CF-4F03-AB5B-503FD66274CE}" dt="2022-06-13T08:27:51.649" v="4944" actId="108"/>
          <ac:spMkLst>
            <pc:docMk/>
            <pc:sldMk cId="2833274913" sldId="2145705755"/>
            <ac:spMk id="351" creationId="{D870B4C1-225B-4F1F-9EFD-77A4B4F834A6}"/>
          </ac:spMkLst>
        </pc:spChg>
        <pc:spChg chg="del mod topLvl">
          <ac:chgData name="Ying Yang" userId="f1527f9b-a873-4aa2-b225-cf8fd3466e0d" providerId="ADAL" clId="{A30A5C05-46CF-4F03-AB5B-503FD66274CE}" dt="2022-06-13T08:27:16.947" v="4935" actId="478"/>
          <ac:spMkLst>
            <pc:docMk/>
            <pc:sldMk cId="2833274913" sldId="2145705755"/>
            <ac:spMk id="353" creationId="{1F64ABFB-CE2C-4193-94BD-11CD4797E12E}"/>
          </ac:spMkLst>
        </pc:spChg>
        <pc:spChg chg="add mod ord">
          <ac:chgData name="Ying Yang" userId="f1527f9b-a873-4aa2-b225-cf8fd3466e0d" providerId="ADAL" clId="{A30A5C05-46CF-4F03-AB5B-503FD66274CE}" dt="2022-06-13T08:05:14.714" v="4756" actId="167"/>
          <ac:spMkLst>
            <pc:docMk/>
            <pc:sldMk cId="2833274913" sldId="2145705755"/>
            <ac:spMk id="354" creationId="{D627FBC7-B5C5-4165-AE6B-3A696523E311}"/>
          </ac:spMkLst>
        </pc:spChg>
        <pc:spChg chg="add mod">
          <ac:chgData name="Ying Yang" userId="f1527f9b-a873-4aa2-b225-cf8fd3466e0d" providerId="ADAL" clId="{A30A5C05-46CF-4F03-AB5B-503FD66274CE}" dt="2022-06-13T08:04:28.966" v="4753" actId="14100"/>
          <ac:spMkLst>
            <pc:docMk/>
            <pc:sldMk cId="2833274913" sldId="2145705755"/>
            <ac:spMk id="355" creationId="{11E7F706-1266-4081-ABCA-BCD5655AA0DF}"/>
          </ac:spMkLst>
        </pc:spChg>
        <pc:spChg chg="add del mod">
          <ac:chgData name="Ying Yang" userId="f1527f9b-a873-4aa2-b225-cf8fd3466e0d" providerId="ADAL" clId="{A30A5C05-46CF-4F03-AB5B-503FD66274CE}" dt="2022-06-13T08:06:06.974" v="4771"/>
          <ac:spMkLst>
            <pc:docMk/>
            <pc:sldMk cId="2833274913" sldId="2145705755"/>
            <ac:spMk id="356" creationId="{93DB3B7E-00A5-4ACF-B609-10EA862ABFBE}"/>
          </ac:spMkLst>
        </pc:spChg>
        <pc:spChg chg="add del mod">
          <ac:chgData name="Ying Yang" userId="f1527f9b-a873-4aa2-b225-cf8fd3466e0d" providerId="ADAL" clId="{A30A5C05-46CF-4F03-AB5B-503FD66274CE}" dt="2022-06-13T08:06:06.974" v="4771"/>
          <ac:spMkLst>
            <pc:docMk/>
            <pc:sldMk cId="2833274913" sldId="2145705755"/>
            <ac:spMk id="357" creationId="{3E027E1D-F7C4-4B9C-B076-16AC986384E9}"/>
          </ac:spMkLst>
        </pc:spChg>
        <pc:spChg chg="add del mod">
          <ac:chgData name="Ying Yang" userId="f1527f9b-a873-4aa2-b225-cf8fd3466e0d" providerId="ADAL" clId="{A30A5C05-46CF-4F03-AB5B-503FD66274CE}" dt="2022-06-13T08:06:06.974" v="4771"/>
          <ac:spMkLst>
            <pc:docMk/>
            <pc:sldMk cId="2833274913" sldId="2145705755"/>
            <ac:spMk id="358" creationId="{AE94970D-F0D9-47A1-9AD9-60B9C28A1CBD}"/>
          </ac:spMkLst>
        </pc:spChg>
        <pc:spChg chg="add del mod">
          <ac:chgData name="Ying Yang" userId="f1527f9b-a873-4aa2-b225-cf8fd3466e0d" providerId="ADAL" clId="{A30A5C05-46CF-4F03-AB5B-503FD66274CE}" dt="2022-06-13T08:06:12.069" v="4775"/>
          <ac:spMkLst>
            <pc:docMk/>
            <pc:sldMk cId="2833274913" sldId="2145705755"/>
            <ac:spMk id="359" creationId="{955EDFF5-1E4F-4F20-A530-9B6651675266}"/>
          </ac:spMkLst>
        </pc:spChg>
        <pc:spChg chg="add del mod">
          <ac:chgData name="Ying Yang" userId="f1527f9b-a873-4aa2-b225-cf8fd3466e0d" providerId="ADAL" clId="{A30A5C05-46CF-4F03-AB5B-503FD66274CE}" dt="2022-06-13T08:06:12.069" v="4775"/>
          <ac:spMkLst>
            <pc:docMk/>
            <pc:sldMk cId="2833274913" sldId="2145705755"/>
            <ac:spMk id="360" creationId="{54792688-FE87-45BE-B0FF-D9D0D0602AD2}"/>
          </ac:spMkLst>
        </pc:spChg>
        <pc:spChg chg="add del mod">
          <ac:chgData name="Ying Yang" userId="f1527f9b-a873-4aa2-b225-cf8fd3466e0d" providerId="ADAL" clId="{A30A5C05-46CF-4F03-AB5B-503FD66274CE}" dt="2022-06-13T08:06:12.069" v="4775"/>
          <ac:spMkLst>
            <pc:docMk/>
            <pc:sldMk cId="2833274913" sldId="2145705755"/>
            <ac:spMk id="361" creationId="{B61713B0-347B-4E85-9E65-1DC9F54B18F5}"/>
          </ac:spMkLst>
        </pc:spChg>
        <pc:spChg chg="add del mod">
          <ac:chgData name="Ying Yang" userId="f1527f9b-a873-4aa2-b225-cf8fd3466e0d" providerId="ADAL" clId="{A30A5C05-46CF-4F03-AB5B-503FD66274CE}" dt="2022-06-13T08:06:57.780" v="4791" actId="478"/>
          <ac:spMkLst>
            <pc:docMk/>
            <pc:sldMk cId="2833274913" sldId="2145705755"/>
            <ac:spMk id="362" creationId="{22119300-E1EB-422E-8F30-F8A764293D34}"/>
          </ac:spMkLst>
        </pc:spChg>
        <pc:spChg chg="add mod">
          <ac:chgData name="Ying Yang" userId="f1527f9b-a873-4aa2-b225-cf8fd3466e0d" providerId="ADAL" clId="{A30A5C05-46CF-4F03-AB5B-503FD66274CE}" dt="2022-06-13T08:27:42.004" v="4942" actId="465"/>
          <ac:spMkLst>
            <pc:docMk/>
            <pc:sldMk cId="2833274913" sldId="2145705755"/>
            <ac:spMk id="363" creationId="{20F0C4FA-2B7B-4CE7-829D-A94E9EEBD3DA}"/>
          </ac:spMkLst>
        </pc:spChg>
        <pc:spChg chg="add del mod">
          <ac:chgData name="Ying Yang" userId="f1527f9b-a873-4aa2-b225-cf8fd3466e0d" providerId="ADAL" clId="{A30A5C05-46CF-4F03-AB5B-503FD66274CE}" dt="2022-06-13T08:27:32.635" v="4941" actId="12788"/>
          <ac:spMkLst>
            <pc:docMk/>
            <pc:sldMk cId="2833274913" sldId="2145705755"/>
            <ac:spMk id="364" creationId="{65AA713E-24B2-495F-80C0-7C4DF4DDB7EE}"/>
          </ac:spMkLst>
        </pc:spChg>
        <pc:grpChg chg="add mod">
          <ac:chgData name="Ying Yang" userId="f1527f9b-a873-4aa2-b225-cf8fd3466e0d" providerId="ADAL" clId="{A30A5C05-46CF-4F03-AB5B-503FD66274CE}" dt="2022-06-13T07:58:28.312" v="4649" actId="164"/>
          <ac:grpSpMkLst>
            <pc:docMk/>
            <pc:sldMk cId="2833274913" sldId="2145705755"/>
            <ac:grpSpMk id="2" creationId="{E7C03C52-FB6F-4082-A17C-BA8080EF4AEA}"/>
          </ac:grpSpMkLst>
        </pc:grpChg>
        <pc:grpChg chg="add del mod">
          <ac:chgData name="Ying Yang" userId="f1527f9b-a873-4aa2-b225-cf8fd3466e0d" providerId="ADAL" clId="{A30A5C05-46CF-4F03-AB5B-503FD66274CE}" dt="2022-06-13T07:59:54.481" v="4668" actId="165"/>
          <ac:grpSpMkLst>
            <pc:docMk/>
            <pc:sldMk cId="2833274913" sldId="2145705755"/>
            <ac:grpSpMk id="4" creationId="{C701E240-B32F-4805-B0D5-24D15CE06D69}"/>
          </ac:grpSpMkLst>
        </pc:grpChg>
        <pc:grpChg chg="add mod">
          <ac:chgData name="Ying Yang" userId="f1527f9b-a873-4aa2-b225-cf8fd3466e0d" providerId="ADAL" clId="{A30A5C05-46CF-4F03-AB5B-503FD66274CE}" dt="2022-06-13T08:23:56.181" v="4855" actId="14100"/>
          <ac:grpSpMkLst>
            <pc:docMk/>
            <pc:sldMk cId="2833274913" sldId="2145705755"/>
            <ac:grpSpMk id="8" creationId="{EC82BA75-5CD4-44E7-BE83-047CE7824A9C}"/>
          </ac:grpSpMkLst>
        </pc:grpChg>
        <pc:grpChg chg="add mod">
          <ac:chgData name="Ying Yang" userId="f1527f9b-a873-4aa2-b225-cf8fd3466e0d" providerId="ADAL" clId="{A30A5C05-46CF-4F03-AB5B-503FD66274CE}" dt="2022-06-13T08:24:31.637" v="4861" actId="164"/>
          <ac:grpSpMkLst>
            <pc:docMk/>
            <pc:sldMk cId="2833274913" sldId="2145705755"/>
            <ac:grpSpMk id="9" creationId="{1CA92551-3150-498C-8402-B6F8F351EEA4}"/>
          </ac:grpSpMkLst>
        </pc:grpChg>
        <pc:grpChg chg="del">
          <ac:chgData name="Ying Yang" userId="f1527f9b-a873-4aa2-b225-cf8fd3466e0d" providerId="ADAL" clId="{A30A5C05-46CF-4F03-AB5B-503FD66274CE}" dt="2022-06-13T07:46:12.065" v="4395" actId="478"/>
          <ac:grpSpMkLst>
            <pc:docMk/>
            <pc:sldMk cId="2833274913" sldId="2145705755"/>
            <ac:grpSpMk id="23" creationId="{A313C583-C90E-4B1A-B823-910C799E6A75}"/>
          </ac:grpSpMkLst>
        </pc:grpChg>
        <pc:grpChg chg="del">
          <ac:chgData name="Ying Yang" userId="f1527f9b-a873-4aa2-b225-cf8fd3466e0d" providerId="ADAL" clId="{A30A5C05-46CF-4F03-AB5B-503FD66274CE}" dt="2022-06-13T07:46:12.065" v="4395" actId="478"/>
          <ac:grpSpMkLst>
            <pc:docMk/>
            <pc:sldMk cId="2833274913" sldId="2145705755"/>
            <ac:grpSpMk id="25" creationId="{2C91CDF9-26E4-4C9E-8DF7-4FA443A6C50C}"/>
          </ac:grpSpMkLst>
        </pc:grpChg>
        <pc:grpChg chg="del">
          <ac:chgData name="Ying Yang" userId="f1527f9b-a873-4aa2-b225-cf8fd3466e0d" providerId="ADAL" clId="{A30A5C05-46CF-4F03-AB5B-503FD66274CE}" dt="2022-06-13T07:46:12.065" v="4395" actId="478"/>
          <ac:grpSpMkLst>
            <pc:docMk/>
            <pc:sldMk cId="2833274913" sldId="2145705755"/>
            <ac:grpSpMk id="26" creationId="{84721D1F-7DA5-467E-AD27-4C76B71B14D4}"/>
          </ac:grpSpMkLst>
        </pc:grpChg>
        <pc:grpChg chg="mod">
          <ac:chgData name="Ying Yang" userId="f1527f9b-a873-4aa2-b225-cf8fd3466e0d" providerId="ADAL" clId="{A30A5C05-46CF-4F03-AB5B-503FD66274CE}" dt="2022-06-13T08:39:16.924" v="5016" actId="1076"/>
          <ac:grpSpMkLst>
            <pc:docMk/>
            <pc:sldMk cId="2833274913" sldId="2145705755"/>
            <ac:grpSpMk id="88" creationId="{1D45B197-05A6-49E0-A248-F388DEC85F07}"/>
          </ac:grpSpMkLst>
        </pc:grpChg>
        <pc:grpChg chg="mod">
          <ac:chgData name="Ying Yang" userId="f1527f9b-a873-4aa2-b225-cf8fd3466e0d" providerId="ADAL" clId="{A30A5C05-46CF-4F03-AB5B-503FD66274CE}" dt="2022-06-13T07:47:29.701" v="4413" actId="1076"/>
          <ac:grpSpMkLst>
            <pc:docMk/>
            <pc:sldMk cId="2833274913" sldId="2145705755"/>
            <ac:grpSpMk id="94" creationId="{EB4D82F1-9D98-4225-82C8-30C18610D65F}"/>
          </ac:grpSpMkLst>
        </pc:grpChg>
        <pc:grpChg chg="add del mod">
          <ac:chgData name="Ying Yang" userId="f1527f9b-a873-4aa2-b225-cf8fd3466e0d" providerId="ADAL" clId="{A30A5C05-46CF-4F03-AB5B-503FD66274CE}" dt="2022-06-13T07:48:13.539" v="4427" actId="478"/>
          <ac:grpSpMkLst>
            <pc:docMk/>
            <pc:sldMk cId="2833274913" sldId="2145705755"/>
            <ac:grpSpMk id="161" creationId="{1443C113-F1DF-4F76-A805-170FC874469B}"/>
          </ac:grpSpMkLst>
        </pc:grpChg>
        <pc:grpChg chg="mod">
          <ac:chgData name="Ying Yang" userId="f1527f9b-a873-4aa2-b225-cf8fd3466e0d" providerId="ADAL" clId="{A30A5C05-46CF-4F03-AB5B-503FD66274CE}" dt="2022-06-13T07:47:22.799" v="4411"/>
          <ac:grpSpMkLst>
            <pc:docMk/>
            <pc:sldMk cId="2833274913" sldId="2145705755"/>
            <ac:grpSpMk id="164" creationId="{50B98624-4933-458D-9E2B-14FDCD20E623}"/>
          </ac:grpSpMkLst>
        </pc:grpChg>
        <pc:grpChg chg="add mod">
          <ac:chgData name="Ying Yang" userId="f1527f9b-a873-4aa2-b225-cf8fd3466e0d" providerId="ADAL" clId="{A30A5C05-46CF-4F03-AB5B-503FD66274CE}" dt="2022-06-13T08:36:41.913" v="4981" actId="14100"/>
          <ac:grpSpMkLst>
            <pc:docMk/>
            <pc:sldMk cId="2833274913" sldId="2145705755"/>
            <ac:grpSpMk id="168" creationId="{39E8B584-9D7C-455B-81AA-1A5745EB29DE}"/>
          </ac:grpSpMkLst>
        </pc:grpChg>
        <pc:grpChg chg="mod">
          <ac:chgData name="Ying Yang" userId="f1527f9b-a873-4aa2-b225-cf8fd3466e0d" providerId="ADAL" clId="{A30A5C05-46CF-4F03-AB5B-503FD66274CE}" dt="2022-06-13T07:48:11.403" v="4426"/>
          <ac:grpSpMkLst>
            <pc:docMk/>
            <pc:sldMk cId="2833274913" sldId="2145705755"/>
            <ac:grpSpMk id="170" creationId="{2A4ED57A-7A52-4EC1-BF7D-C3247BB9933E}"/>
          </ac:grpSpMkLst>
        </pc:grpChg>
        <pc:grpChg chg="mod">
          <ac:chgData name="Ying Yang" userId="f1527f9b-a873-4aa2-b225-cf8fd3466e0d" providerId="ADAL" clId="{A30A5C05-46CF-4F03-AB5B-503FD66274CE}" dt="2022-06-13T07:48:11.403" v="4426"/>
          <ac:grpSpMkLst>
            <pc:docMk/>
            <pc:sldMk cId="2833274913" sldId="2145705755"/>
            <ac:grpSpMk id="173" creationId="{5AFFA429-DE69-4461-B1AF-0F70C86E5367}"/>
          </ac:grpSpMkLst>
        </pc:grpChg>
        <pc:grpChg chg="add del mod">
          <ac:chgData name="Ying Yang" userId="f1527f9b-a873-4aa2-b225-cf8fd3466e0d" providerId="ADAL" clId="{A30A5C05-46CF-4F03-AB5B-503FD66274CE}" dt="2022-06-13T07:58:46.818" v="4655" actId="165"/>
          <ac:grpSpMkLst>
            <pc:docMk/>
            <pc:sldMk cId="2833274913" sldId="2145705755"/>
            <ac:grpSpMk id="176" creationId="{B3DF5660-31A8-4FC0-A02A-BBC6C96AD4FC}"/>
          </ac:grpSpMkLst>
        </pc:grpChg>
        <pc:grpChg chg="mod topLvl">
          <ac:chgData name="Ying Yang" userId="f1527f9b-a873-4aa2-b225-cf8fd3466e0d" providerId="ADAL" clId="{A30A5C05-46CF-4F03-AB5B-503FD66274CE}" dt="2022-06-13T08:25:03.524" v="4864" actId="1076"/>
          <ac:grpSpMkLst>
            <pc:docMk/>
            <pc:sldMk cId="2833274913" sldId="2145705755"/>
            <ac:grpSpMk id="180" creationId="{1DE69BA0-BBB4-4029-847A-4312078D02A8}"/>
          </ac:grpSpMkLst>
        </pc:grpChg>
        <pc:grpChg chg="mod topLvl">
          <ac:chgData name="Ying Yang" userId="f1527f9b-a873-4aa2-b225-cf8fd3466e0d" providerId="ADAL" clId="{A30A5C05-46CF-4F03-AB5B-503FD66274CE}" dt="2022-06-13T08:01:55.750" v="4693" actId="1076"/>
          <ac:grpSpMkLst>
            <pc:docMk/>
            <pc:sldMk cId="2833274913" sldId="2145705755"/>
            <ac:grpSpMk id="181" creationId="{34DBC366-B35E-42C5-AFF0-F48491FF70A2}"/>
          </ac:grpSpMkLst>
        </pc:grpChg>
        <pc:grpChg chg="mod topLvl">
          <ac:chgData name="Ying Yang" userId="f1527f9b-a873-4aa2-b225-cf8fd3466e0d" providerId="ADAL" clId="{A30A5C05-46CF-4F03-AB5B-503FD66274CE}" dt="2022-06-13T08:00:07.057" v="4672" actId="1076"/>
          <ac:grpSpMkLst>
            <pc:docMk/>
            <pc:sldMk cId="2833274913" sldId="2145705755"/>
            <ac:grpSpMk id="182" creationId="{5B29B7BD-115F-47F5-B2DD-0250F5F7B486}"/>
          </ac:grpSpMkLst>
        </pc:grpChg>
        <pc:grpChg chg="mod">
          <ac:chgData name="Ying Yang" userId="f1527f9b-a873-4aa2-b225-cf8fd3466e0d" providerId="ADAL" clId="{A30A5C05-46CF-4F03-AB5B-503FD66274CE}" dt="2022-06-13T07:59:54.481" v="4668" actId="165"/>
          <ac:grpSpMkLst>
            <pc:docMk/>
            <pc:sldMk cId="2833274913" sldId="2145705755"/>
            <ac:grpSpMk id="314" creationId="{DEDA7E0F-654F-4AE4-9CB6-1F9FFB46C877}"/>
          </ac:grpSpMkLst>
        </pc:grpChg>
        <pc:grpChg chg="mod">
          <ac:chgData name="Ying Yang" userId="f1527f9b-a873-4aa2-b225-cf8fd3466e0d" providerId="ADAL" clId="{A30A5C05-46CF-4F03-AB5B-503FD66274CE}" dt="2022-06-13T07:59:54.481" v="4668" actId="165"/>
          <ac:grpSpMkLst>
            <pc:docMk/>
            <pc:sldMk cId="2833274913" sldId="2145705755"/>
            <ac:grpSpMk id="322" creationId="{4AE00B7A-D566-4170-8D88-8F21CF745E99}"/>
          </ac:grpSpMkLst>
        </pc:grpChg>
        <pc:grpChg chg="mod">
          <ac:chgData name="Ying Yang" userId="f1527f9b-a873-4aa2-b225-cf8fd3466e0d" providerId="ADAL" clId="{A30A5C05-46CF-4F03-AB5B-503FD66274CE}" dt="2022-06-13T07:59:54.481" v="4668" actId="165"/>
          <ac:grpSpMkLst>
            <pc:docMk/>
            <pc:sldMk cId="2833274913" sldId="2145705755"/>
            <ac:grpSpMk id="324" creationId="{0221BC19-4BE7-42A6-9074-AA6873C8BCD4}"/>
          </ac:grpSpMkLst>
        </pc:grpChg>
        <pc:grpChg chg="add del mod">
          <ac:chgData name="Ying Yang" userId="f1527f9b-a873-4aa2-b225-cf8fd3466e0d" providerId="ADAL" clId="{A30A5C05-46CF-4F03-AB5B-503FD66274CE}" dt="2022-06-13T08:17:14.838" v="4818" actId="165"/>
          <ac:grpSpMkLst>
            <pc:docMk/>
            <pc:sldMk cId="2833274913" sldId="2145705755"/>
            <ac:grpSpMk id="334" creationId="{308CBCD8-7646-43FF-B548-939AE658DBD8}"/>
          </ac:grpSpMkLst>
        </pc:grpChg>
        <pc:grpChg chg="add del mod topLvl">
          <ac:chgData name="Ying Yang" userId="f1527f9b-a873-4aa2-b225-cf8fd3466e0d" providerId="ADAL" clId="{A30A5C05-46CF-4F03-AB5B-503FD66274CE}" dt="2022-06-13T08:17:29.244" v="4823" actId="165"/>
          <ac:grpSpMkLst>
            <pc:docMk/>
            <pc:sldMk cId="2833274913" sldId="2145705755"/>
            <ac:grpSpMk id="335" creationId="{8B745932-7F7D-4993-A457-F3D6E7102E87}"/>
          </ac:grpSpMkLst>
        </pc:grpChg>
        <pc:grpChg chg="del mod topLvl">
          <ac:chgData name="Ying Yang" userId="f1527f9b-a873-4aa2-b225-cf8fd3466e0d" providerId="ADAL" clId="{A30A5C05-46CF-4F03-AB5B-503FD66274CE}" dt="2022-06-13T08:17:20.161" v="4819" actId="165"/>
          <ac:grpSpMkLst>
            <pc:docMk/>
            <pc:sldMk cId="2833274913" sldId="2145705755"/>
            <ac:grpSpMk id="336" creationId="{AC84231D-1303-4EED-B42A-24EE2FA403F7}"/>
          </ac:grpSpMkLst>
        </pc:grpChg>
        <pc:grpChg chg="mod topLvl">
          <ac:chgData name="Ying Yang" userId="f1527f9b-a873-4aa2-b225-cf8fd3466e0d" providerId="ADAL" clId="{A30A5C05-46CF-4F03-AB5B-503FD66274CE}" dt="2022-06-13T08:22:10.558" v="4849" actId="164"/>
          <ac:grpSpMkLst>
            <pc:docMk/>
            <pc:sldMk cId="2833274913" sldId="2145705755"/>
            <ac:grpSpMk id="338" creationId="{6AE12009-C469-45C1-94FA-C5F0D1A882FD}"/>
          </ac:grpSpMkLst>
        </pc:grpChg>
        <pc:grpChg chg="del mod topLvl">
          <ac:chgData name="Ying Yang" userId="f1527f9b-a873-4aa2-b225-cf8fd3466e0d" providerId="ADAL" clId="{A30A5C05-46CF-4F03-AB5B-503FD66274CE}" dt="2022-06-13T08:27:16.947" v="4935" actId="478"/>
          <ac:grpSpMkLst>
            <pc:docMk/>
            <pc:sldMk cId="2833274913" sldId="2145705755"/>
            <ac:grpSpMk id="346" creationId="{B1AB1DD0-1624-4B6A-8AF0-AB8E51DD853A}"/>
          </ac:grpSpMkLst>
        </pc:grpChg>
        <pc:grpChg chg="del mod topLvl">
          <ac:chgData name="Ying Yang" userId="f1527f9b-a873-4aa2-b225-cf8fd3466e0d" providerId="ADAL" clId="{A30A5C05-46CF-4F03-AB5B-503FD66274CE}" dt="2022-06-13T08:17:37.738" v="4826" actId="478"/>
          <ac:grpSpMkLst>
            <pc:docMk/>
            <pc:sldMk cId="2833274913" sldId="2145705755"/>
            <ac:grpSpMk id="347" creationId="{E7CEE1DB-1972-4D7E-B525-9E251BDA98E1}"/>
          </ac:grpSpMkLst>
        </pc:grpChg>
        <pc:grpChg chg="add mod">
          <ac:chgData name="Ying Yang" userId="f1527f9b-a873-4aa2-b225-cf8fd3466e0d" providerId="ADAL" clId="{A30A5C05-46CF-4F03-AB5B-503FD66274CE}" dt="2022-06-13T08:24:31.637" v="4861" actId="164"/>
          <ac:grpSpMkLst>
            <pc:docMk/>
            <pc:sldMk cId="2833274913" sldId="2145705755"/>
            <ac:grpSpMk id="368" creationId="{DCF4E368-5A99-4727-9AF1-03F7DA1950EB}"/>
          </ac:grpSpMkLst>
        </pc:grpChg>
        <pc:grpChg chg="add mod">
          <ac:chgData name="Ying Yang" userId="f1527f9b-a873-4aa2-b225-cf8fd3466e0d" providerId="ADAL" clId="{A30A5C05-46CF-4F03-AB5B-503FD66274CE}" dt="2022-06-13T08:24:31.637" v="4861" actId="164"/>
          <ac:grpSpMkLst>
            <pc:docMk/>
            <pc:sldMk cId="2833274913" sldId="2145705755"/>
            <ac:grpSpMk id="371" creationId="{2DEFA59B-3B16-46A1-9DCC-216838EC4ED0}"/>
          </ac:grpSpMkLst>
        </pc:grpChg>
        <pc:grpChg chg="add mod">
          <ac:chgData name="Ying Yang" userId="f1527f9b-a873-4aa2-b225-cf8fd3466e0d" providerId="ADAL" clId="{A30A5C05-46CF-4F03-AB5B-503FD66274CE}" dt="2022-06-13T08:24:38.291" v="4863" actId="1076"/>
          <ac:grpSpMkLst>
            <pc:docMk/>
            <pc:sldMk cId="2833274913" sldId="2145705755"/>
            <ac:grpSpMk id="374" creationId="{5A3C83BD-A47C-4BEE-9883-C26E2ACB04E7}"/>
          </ac:grpSpMkLst>
        </pc:grpChg>
        <pc:grpChg chg="mod">
          <ac:chgData name="Ying Yang" userId="f1527f9b-a873-4aa2-b225-cf8fd3466e0d" providerId="ADAL" clId="{A30A5C05-46CF-4F03-AB5B-503FD66274CE}" dt="2022-06-13T08:24:33.702" v="4862"/>
          <ac:grpSpMkLst>
            <pc:docMk/>
            <pc:sldMk cId="2833274913" sldId="2145705755"/>
            <ac:grpSpMk id="375" creationId="{AD86EDAE-982F-423C-92C4-DE9E58716C99}"/>
          </ac:grpSpMkLst>
        </pc:grpChg>
        <pc:grpChg chg="mod">
          <ac:chgData name="Ying Yang" userId="f1527f9b-a873-4aa2-b225-cf8fd3466e0d" providerId="ADAL" clId="{A30A5C05-46CF-4F03-AB5B-503FD66274CE}" dt="2022-06-13T08:24:33.702" v="4862"/>
          <ac:grpSpMkLst>
            <pc:docMk/>
            <pc:sldMk cId="2833274913" sldId="2145705755"/>
            <ac:grpSpMk id="376" creationId="{5F8E3657-3FBC-4B85-89B2-A12436909093}"/>
          </ac:grpSpMkLst>
        </pc:grpChg>
        <pc:picChg chg="add del">
          <ac:chgData name="Ying Yang" userId="f1527f9b-a873-4aa2-b225-cf8fd3466e0d" providerId="ADAL" clId="{A30A5C05-46CF-4F03-AB5B-503FD66274CE}" dt="2022-06-13T08:06:08.749" v="4773"/>
          <ac:picMkLst>
            <pc:docMk/>
            <pc:sldMk cId="2833274913" sldId="2145705755"/>
            <ac:picMk id="7" creationId="{FD08A806-D13D-45F0-AE14-19C5D1A62600}"/>
          </ac:picMkLst>
        </pc:picChg>
        <pc:picChg chg="mod">
          <ac:chgData name="Ying Yang" userId="f1527f9b-a873-4aa2-b225-cf8fd3466e0d" providerId="ADAL" clId="{A30A5C05-46CF-4F03-AB5B-503FD66274CE}" dt="2022-06-13T07:54:16.696" v="4572" actId="1076"/>
          <ac:picMkLst>
            <pc:docMk/>
            <pc:sldMk cId="2833274913" sldId="2145705755"/>
            <ac:picMk id="93" creationId="{11CE241B-AD81-409B-992F-9357255B0C61}"/>
          </ac:picMkLst>
        </pc:picChg>
        <pc:picChg chg="mod">
          <ac:chgData name="Ying Yang" userId="f1527f9b-a873-4aa2-b225-cf8fd3466e0d" providerId="ADAL" clId="{A30A5C05-46CF-4F03-AB5B-503FD66274CE}" dt="2022-06-13T07:59:54.481" v="4668" actId="165"/>
          <ac:picMkLst>
            <pc:docMk/>
            <pc:sldMk cId="2833274913" sldId="2145705755"/>
            <ac:picMk id="299" creationId="{5E5EA473-8C7A-490C-9907-57EBDF9DA3FC}"/>
          </ac:picMkLst>
        </pc:picChg>
        <pc:picChg chg="mod">
          <ac:chgData name="Ying Yang" userId="f1527f9b-a873-4aa2-b225-cf8fd3466e0d" providerId="ADAL" clId="{A30A5C05-46CF-4F03-AB5B-503FD66274CE}" dt="2022-06-13T07:59:54.481" v="4668" actId="165"/>
          <ac:picMkLst>
            <pc:docMk/>
            <pc:sldMk cId="2833274913" sldId="2145705755"/>
            <ac:picMk id="300" creationId="{EFE24653-BC67-40BD-8E26-5D749A89F28B}"/>
          </ac:picMkLst>
        </pc:picChg>
        <pc:picChg chg="mod">
          <ac:chgData name="Ying Yang" userId="f1527f9b-a873-4aa2-b225-cf8fd3466e0d" providerId="ADAL" clId="{A30A5C05-46CF-4F03-AB5B-503FD66274CE}" dt="2022-06-13T07:59:54.481" v="4668" actId="165"/>
          <ac:picMkLst>
            <pc:docMk/>
            <pc:sldMk cId="2833274913" sldId="2145705755"/>
            <ac:picMk id="307" creationId="{18CDF416-1ADE-4ED0-BFE2-265BD6934637}"/>
          </ac:picMkLst>
        </pc:picChg>
        <pc:picChg chg="del mod topLvl">
          <ac:chgData name="Ying Yang" userId="f1527f9b-a873-4aa2-b225-cf8fd3466e0d" providerId="ADAL" clId="{A30A5C05-46CF-4F03-AB5B-503FD66274CE}" dt="2022-06-13T08:17:22.652" v="4820" actId="478"/>
          <ac:picMkLst>
            <pc:docMk/>
            <pc:sldMk cId="2833274913" sldId="2145705755"/>
            <ac:picMk id="339" creationId="{AC8A8A57-A3F3-47C2-9BD0-EE071A6D27D5}"/>
          </ac:picMkLst>
        </pc:picChg>
        <pc:picChg chg="mod">
          <ac:chgData name="Ying Yang" userId="f1527f9b-a873-4aa2-b225-cf8fd3466e0d" providerId="ADAL" clId="{A30A5C05-46CF-4F03-AB5B-503FD66274CE}" dt="2022-06-13T08:17:20.161" v="4819" actId="165"/>
          <ac:picMkLst>
            <pc:docMk/>
            <pc:sldMk cId="2833274913" sldId="2145705755"/>
            <ac:picMk id="341" creationId="{A35D7CFC-5E14-4AB0-B6AB-FC623463AC3B}"/>
          </ac:picMkLst>
        </pc:picChg>
        <pc:picChg chg="del mod">
          <ac:chgData name="Ying Yang" userId="f1527f9b-a873-4aa2-b225-cf8fd3466e0d" providerId="ADAL" clId="{A30A5C05-46CF-4F03-AB5B-503FD66274CE}" dt="2022-06-13T08:17:35.179" v="4824" actId="478"/>
          <ac:picMkLst>
            <pc:docMk/>
            <pc:sldMk cId="2833274913" sldId="2145705755"/>
            <ac:picMk id="348" creationId="{906D6C78-5988-47CE-9424-E1E3C15ABB55}"/>
          </ac:picMkLst>
        </pc:picChg>
        <pc:picChg chg="del mod topLvl">
          <ac:chgData name="Ying Yang" userId="f1527f9b-a873-4aa2-b225-cf8fd3466e0d" providerId="ADAL" clId="{A30A5C05-46CF-4F03-AB5B-503FD66274CE}" dt="2022-06-13T08:17:37.738" v="4826" actId="478"/>
          <ac:picMkLst>
            <pc:docMk/>
            <pc:sldMk cId="2833274913" sldId="2145705755"/>
            <ac:picMk id="349" creationId="{F280A905-265A-4F73-B7C0-071180BBE6F0}"/>
          </ac:picMkLst>
        </pc:picChg>
        <pc:picChg chg="del mod">
          <ac:chgData name="Ying Yang" userId="f1527f9b-a873-4aa2-b225-cf8fd3466e0d" providerId="ADAL" clId="{A30A5C05-46CF-4F03-AB5B-503FD66274CE}" dt="2022-06-13T08:17:36.690" v="4825" actId="478"/>
          <ac:picMkLst>
            <pc:docMk/>
            <pc:sldMk cId="2833274913" sldId="2145705755"/>
            <ac:picMk id="350" creationId="{4322BC0D-C6BF-4DBE-9BE8-18C9FC6B3F7C}"/>
          </ac:picMkLst>
        </pc:picChg>
        <pc:picChg chg="mod topLvl">
          <ac:chgData name="Ying Yang" userId="f1527f9b-a873-4aa2-b225-cf8fd3466e0d" providerId="ADAL" clId="{A30A5C05-46CF-4F03-AB5B-503FD66274CE}" dt="2022-06-13T08:27:16.947" v="4935" actId="478"/>
          <ac:picMkLst>
            <pc:docMk/>
            <pc:sldMk cId="2833274913" sldId="2145705755"/>
            <ac:picMk id="352" creationId="{36AFF7F2-6B05-44BB-9700-A00F07F807F7}"/>
          </ac:picMkLst>
        </pc:picChg>
        <pc:picChg chg="add mod">
          <ac:chgData name="Ying Yang" userId="f1527f9b-a873-4aa2-b225-cf8fd3466e0d" providerId="ADAL" clId="{A30A5C05-46CF-4F03-AB5B-503FD66274CE}" dt="2022-06-13T08:22:10.558" v="4849" actId="164"/>
          <ac:picMkLst>
            <pc:docMk/>
            <pc:sldMk cId="2833274913" sldId="2145705755"/>
            <ac:picMk id="365" creationId="{3F0868E9-1221-4EE6-9A85-1BE08CAC6FFB}"/>
          </ac:picMkLst>
        </pc:picChg>
        <pc:picChg chg="add mod">
          <ac:chgData name="Ying Yang" userId="f1527f9b-a873-4aa2-b225-cf8fd3466e0d" providerId="ADAL" clId="{A30A5C05-46CF-4F03-AB5B-503FD66274CE}" dt="2022-06-13T08:22:10.558" v="4849" actId="164"/>
          <ac:picMkLst>
            <pc:docMk/>
            <pc:sldMk cId="2833274913" sldId="2145705755"/>
            <ac:picMk id="366" creationId="{45891F03-E585-4D20-9BD8-9647C9F4F296}"/>
          </ac:picMkLst>
        </pc:picChg>
        <pc:picChg chg="add mod">
          <ac:chgData name="Ying Yang" userId="f1527f9b-a873-4aa2-b225-cf8fd3466e0d" providerId="ADAL" clId="{A30A5C05-46CF-4F03-AB5B-503FD66274CE}" dt="2022-06-13T08:22:10.558" v="4849" actId="164"/>
          <ac:picMkLst>
            <pc:docMk/>
            <pc:sldMk cId="2833274913" sldId="2145705755"/>
            <ac:picMk id="367" creationId="{12363E5B-AF53-41F4-8147-A9FBE5B34BFD}"/>
          </ac:picMkLst>
        </pc:picChg>
        <pc:cxnChg chg="mod">
          <ac:chgData name="Ying Yang" userId="f1527f9b-a873-4aa2-b225-cf8fd3466e0d" providerId="ADAL" clId="{A30A5C05-46CF-4F03-AB5B-503FD66274CE}" dt="2022-06-13T07:46:12.065" v="4395" actId="478"/>
          <ac:cxnSpMkLst>
            <pc:docMk/>
            <pc:sldMk cId="2833274913" sldId="2145705755"/>
            <ac:cxnSpMk id="6" creationId="{09B19C5F-49C1-413A-8DF2-E5CC37A4A29C}"/>
          </ac:cxnSpMkLst>
        </pc:cxnChg>
        <pc:cxnChg chg="mod">
          <ac:chgData name="Ying Yang" userId="f1527f9b-a873-4aa2-b225-cf8fd3466e0d" providerId="ADAL" clId="{A30A5C05-46CF-4F03-AB5B-503FD66274CE}" dt="2022-06-13T07:59:54.481" v="4668" actId="165"/>
          <ac:cxnSpMkLst>
            <pc:docMk/>
            <pc:sldMk cId="2833274913" sldId="2145705755"/>
            <ac:cxnSpMk id="315" creationId="{35C26B90-818A-44EE-8FC5-50F4125BC89F}"/>
          </ac:cxnSpMkLst>
        </pc:cxnChg>
        <pc:cxnChg chg="mod">
          <ac:chgData name="Ying Yang" userId="f1527f9b-a873-4aa2-b225-cf8fd3466e0d" providerId="ADAL" clId="{A30A5C05-46CF-4F03-AB5B-503FD66274CE}" dt="2022-06-13T07:59:54.481" v="4668" actId="165"/>
          <ac:cxnSpMkLst>
            <pc:docMk/>
            <pc:sldMk cId="2833274913" sldId="2145705755"/>
            <ac:cxnSpMk id="317" creationId="{034D9311-669A-446E-AACF-4B8E27B25990}"/>
          </ac:cxnSpMkLst>
        </pc:cxnChg>
        <pc:cxnChg chg="mod">
          <ac:chgData name="Ying Yang" userId="f1527f9b-a873-4aa2-b225-cf8fd3466e0d" providerId="ADAL" clId="{A30A5C05-46CF-4F03-AB5B-503FD66274CE}" dt="2022-06-13T07:59:54.481" v="4668" actId="165"/>
          <ac:cxnSpMkLst>
            <pc:docMk/>
            <pc:sldMk cId="2833274913" sldId="2145705755"/>
            <ac:cxnSpMk id="318" creationId="{D1F302B1-4A4A-4358-9432-280A5E40A427}"/>
          </ac:cxnSpMkLst>
        </pc:cxnChg>
        <pc:cxnChg chg="mod">
          <ac:chgData name="Ying Yang" userId="f1527f9b-a873-4aa2-b225-cf8fd3466e0d" providerId="ADAL" clId="{A30A5C05-46CF-4F03-AB5B-503FD66274CE}" dt="2022-06-13T07:59:54.481" v="4668" actId="165"/>
          <ac:cxnSpMkLst>
            <pc:docMk/>
            <pc:sldMk cId="2833274913" sldId="2145705755"/>
            <ac:cxnSpMk id="331" creationId="{C97C07CE-3B43-4C5F-A6E8-BAA64A1B2A58}"/>
          </ac:cxnSpMkLst>
        </pc:cxnChg>
        <pc:cxnChg chg="mod">
          <ac:chgData name="Ying Yang" userId="f1527f9b-a873-4aa2-b225-cf8fd3466e0d" providerId="ADAL" clId="{A30A5C05-46CF-4F03-AB5B-503FD66274CE}" dt="2022-06-13T08:24:18.793" v="4857"/>
          <ac:cxnSpMkLst>
            <pc:docMk/>
            <pc:sldMk cId="2833274913" sldId="2145705755"/>
            <ac:cxnSpMk id="369" creationId="{4533F1C4-A940-44AF-8150-414E46A2BECF}"/>
          </ac:cxnSpMkLst>
        </pc:cxnChg>
        <pc:cxnChg chg="mod">
          <ac:chgData name="Ying Yang" userId="f1527f9b-a873-4aa2-b225-cf8fd3466e0d" providerId="ADAL" clId="{A30A5C05-46CF-4F03-AB5B-503FD66274CE}" dt="2022-06-13T08:24:18.793" v="4857"/>
          <ac:cxnSpMkLst>
            <pc:docMk/>
            <pc:sldMk cId="2833274913" sldId="2145705755"/>
            <ac:cxnSpMk id="370" creationId="{19A2F1FC-404E-4E91-853D-BC331E4218E3}"/>
          </ac:cxnSpMkLst>
        </pc:cxnChg>
        <pc:cxnChg chg="mod">
          <ac:chgData name="Ying Yang" userId="f1527f9b-a873-4aa2-b225-cf8fd3466e0d" providerId="ADAL" clId="{A30A5C05-46CF-4F03-AB5B-503FD66274CE}" dt="2022-06-13T08:24:18.793" v="4857"/>
          <ac:cxnSpMkLst>
            <pc:docMk/>
            <pc:sldMk cId="2833274913" sldId="2145705755"/>
            <ac:cxnSpMk id="372" creationId="{B2204D95-0ADC-477F-A46C-6873CD89D3E3}"/>
          </ac:cxnSpMkLst>
        </pc:cxnChg>
        <pc:cxnChg chg="mod">
          <ac:chgData name="Ying Yang" userId="f1527f9b-a873-4aa2-b225-cf8fd3466e0d" providerId="ADAL" clId="{A30A5C05-46CF-4F03-AB5B-503FD66274CE}" dt="2022-06-13T08:24:18.793" v="4857"/>
          <ac:cxnSpMkLst>
            <pc:docMk/>
            <pc:sldMk cId="2833274913" sldId="2145705755"/>
            <ac:cxnSpMk id="373" creationId="{D67F7AE2-85DB-4FCD-AF4C-6FDEB11A7A86}"/>
          </ac:cxnSpMkLst>
        </pc:cxnChg>
        <pc:cxnChg chg="mod">
          <ac:chgData name="Ying Yang" userId="f1527f9b-a873-4aa2-b225-cf8fd3466e0d" providerId="ADAL" clId="{A30A5C05-46CF-4F03-AB5B-503FD66274CE}" dt="2022-06-13T08:24:33.702" v="4862"/>
          <ac:cxnSpMkLst>
            <pc:docMk/>
            <pc:sldMk cId="2833274913" sldId="2145705755"/>
            <ac:cxnSpMk id="377" creationId="{4FA6C318-3560-4F4E-BE84-73AC5C15C3B7}"/>
          </ac:cxnSpMkLst>
        </pc:cxnChg>
        <pc:cxnChg chg="mod">
          <ac:chgData name="Ying Yang" userId="f1527f9b-a873-4aa2-b225-cf8fd3466e0d" providerId="ADAL" clId="{A30A5C05-46CF-4F03-AB5B-503FD66274CE}" dt="2022-06-13T08:24:33.702" v="4862"/>
          <ac:cxnSpMkLst>
            <pc:docMk/>
            <pc:sldMk cId="2833274913" sldId="2145705755"/>
            <ac:cxnSpMk id="378" creationId="{36BE4C5F-9C31-4CEB-A667-34AEF209DE3D}"/>
          </ac:cxnSpMkLst>
        </pc:cxnChg>
        <pc:cxnChg chg="mod">
          <ac:chgData name="Ying Yang" userId="f1527f9b-a873-4aa2-b225-cf8fd3466e0d" providerId="ADAL" clId="{A30A5C05-46CF-4F03-AB5B-503FD66274CE}" dt="2022-06-13T08:24:33.702" v="4862"/>
          <ac:cxnSpMkLst>
            <pc:docMk/>
            <pc:sldMk cId="2833274913" sldId="2145705755"/>
            <ac:cxnSpMk id="379" creationId="{4C0F88E3-C80B-4B5B-861E-F72A64E8683D}"/>
          </ac:cxnSpMkLst>
        </pc:cxnChg>
        <pc:cxnChg chg="mod">
          <ac:chgData name="Ying Yang" userId="f1527f9b-a873-4aa2-b225-cf8fd3466e0d" providerId="ADAL" clId="{A30A5C05-46CF-4F03-AB5B-503FD66274CE}" dt="2022-06-13T08:24:33.702" v="4862"/>
          <ac:cxnSpMkLst>
            <pc:docMk/>
            <pc:sldMk cId="2833274913" sldId="2145705755"/>
            <ac:cxnSpMk id="380" creationId="{5E78A998-37B6-4909-A480-5AEC38F1B928}"/>
          </ac:cxnSpMkLst>
        </pc:cxnChg>
      </pc:sldChg>
      <pc:sldChg chg="addSp delSp modSp add mod">
        <pc:chgData name="Ying Yang" userId="f1527f9b-a873-4aa2-b225-cf8fd3466e0d" providerId="ADAL" clId="{A30A5C05-46CF-4F03-AB5B-503FD66274CE}" dt="2022-06-13T09:04:56.813" v="5527" actId="403"/>
        <pc:sldMkLst>
          <pc:docMk/>
          <pc:sldMk cId="3340802973" sldId="2145705756"/>
        </pc:sldMkLst>
        <pc:spChg chg="del mod">
          <ac:chgData name="Ying Yang" userId="f1527f9b-a873-4aa2-b225-cf8fd3466e0d" providerId="ADAL" clId="{A30A5C05-46CF-4F03-AB5B-503FD66274CE}" dt="2022-06-13T08:37:20.487" v="4991" actId="478"/>
          <ac:spMkLst>
            <pc:docMk/>
            <pc:sldMk cId="3340802973" sldId="2145705756"/>
            <ac:spMk id="5" creationId="{9E1D3554-C170-4848-BE4B-1047629288BB}"/>
          </ac:spMkLst>
        </pc:spChg>
        <pc:spChg chg="mod">
          <ac:chgData name="Ying Yang" userId="f1527f9b-a873-4aa2-b225-cf8fd3466e0d" providerId="ADAL" clId="{A30A5C05-46CF-4F03-AB5B-503FD66274CE}" dt="2022-06-13T08:38:59.894" v="5012" actId="255"/>
          <ac:spMkLst>
            <pc:docMk/>
            <pc:sldMk cId="3340802973" sldId="2145705756"/>
            <ac:spMk id="92" creationId="{DA1A959C-52D7-4FFB-95F8-F007237FB13E}"/>
          </ac:spMkLst>
        </pc:spChg>
        <pc:spChg chg="mod">
          <ac:chgData name="Ying Yang" userId="f1527f9b-a873-4aa2-b225-cf8fd3466e0d" providerId="ADAL" clId="{A30A5C05-46CF-4F03-AB5B-503FD66274CE}" dt="2022-06-13T08:37:28.349" v="4992"/>
          <ac:spMkLst>
            <pc:docMk/>
            <pc:sldMk cId="3340802973" sldId="2145705756"/>
            <ac:spMk id="100" creationId="{31E518D7-9F2F-471B-BF12-3BE8727C49C8}"/>
          </ac:spMkLst>
        </pc:spChg>
        <pc:spChg chg="mod">
          <ac:chgData name="Ying Yang" userId="f1527f9b-a873-4aa2-b225-cf8fd3466e0d" providerId="ADAL" clId="{A30A5C05-46CF-4F03-AB5B-503FD66274CE}" dt="2022-06-13T08:37:28.349" v="4992"/>
          <ac:spMkLst>
            <pc:docMk/>
            <pc:sldMk cId="3340802973" sldId="2145705756"/>
            <ac:spMk id="102" creationId="{D70FF26A-E32C-4253-A436-D72555DFE20F}"/>
          </ac:spMkLst>
        </pc:spChg>
        <pc:spChg chg="mod">
          <ac:chgData name="Ying Yang" userId="f1527f9b-a873-4aa2-b225-cf8fd3466e0d" providerId="ADAL" clId="{A30A5C05-46CF-4F03-AB5B-503FD66274CE}" dt="2022-06-13T08:37:28.349" v="4992"/>
          <ac:spMkLst>
            <pc:docMk/>
            <pc:sldMk cId="3340802973" sldId="2145705756"/>
            <ac:spMk id="103" creationId="{F7208271-D54C-48CB-A57D-05DAFD9B8CE9}"/>
          </ac:spMkLst>
        </pc:spChg>
        <pc:spChg chg="mod">
          <ac:chgData name="Ying Yang" userId="f1527f9b-a873-4aa2-b225-cf8fd3466e0d" providerId="ADAL" clId="{A30A5C05-46CF-4F03-AB5B-503FD66274CE}" dt="2022-06-13T08:38:22.161" v="5003" actId="207"/>
          <ac:spMkLst>
            <pc:docMk/>
            <pc:sldMk cId="3340802973" sldId="2145705756"/>
            <ac:spMk id="105" creationId="{805B0107-B1C7-405C-BBCC-744D618BE433}"/>
          </ac:spMkLst>
        </pc:spChg>
        <pc:spChg chg="mod">
          <ac:chgData name="Ying Yang" userId="f1527f9b-a873-4aa2-b225-cf8fd3466e0d" providerId="ADAL" clId="{A30A5C05-46CF-4F03-AB5B-503FD66274CE}" dt="2022-06-13T08:38:04.472" v="5001" actId="208"/>
          <ac:spMkLst>
            <pc:docMk/>
            <pc:sldMk cId="3340802973" sldId="2145705756"/>
            <ac:spMk id="107" creationId="{A9E6AF46-DCF9-45BF-9515-BDA66570DC2D}"/>
          </ac:spMkLst>
        </pc:spChg>
        <pc:spChg chg="add mod">
          <ac:chgData name="Ying Yang" userId="f1527f9b-a873-4aa2-b225-cf8fd3466e0d" providerId="ADAL" clId="{A30A5C05-46CF-4F03-AB5B-503FD66274CE}" dt="2022-06-13T09:03:58.932" v="5490" actId="1076"/>
          <ac:spMkLst>
            <pc:docMk/>
            <pc:sldMk cId="3340802973" sldId="2145705756"/>
            <ac:spMk id="108" creationId="{8C616635-A8AD-4E95-8235-E47FD9D19B19}"/>
          </ac:spMkLst>
        </pc:spChg>
        <pc:spChg chg="mod">
          <ac:chgData name="Ying Yang" userId="f1527f9b-a873-4aa2-b225-cf8fd3466e0d" providerId="ADAL" clId="{A30A5C05-46CF-4F03-AB5B-503FD66274CE}" dt="2022-06-13T08:40:09.502" v="5019"/>
          <ac:spMkLst>
            <pc:docMk/>
            <pc:sldMk cId="3340802973" sldId="2145705756"/>
            <ac:spMk id="113" creationId="{894A7D0E-9D96-466D-9230-FA6A10C67A53}"/>
          </ac:spMkLst>
        </pc:spChg>
        <pc:spChg chg="mod">
          <ac:chgData name="Ying Yang" userId="f1527f9b-a873-4aa2-b225-cf8fd3466e0d" providerId="ADAL" clId="{A30A5C05-46CF-4F03-AB5B-503FD66274CE}" dt="2022-06-13T08:40:09.502" v="5019"/>
          <ac:spMkLst>
            <pc:docMk/>
            <pc:sldMk cId="3340802973" sldId="2145705756"/>
            <ac:spMk id="115" creationId="{1E4A8180-D400-4659-8A3F-B65830A56AD1}"/>
          </ac:spMkLst>
        </pc:spChg>
        <pc:spChg chg="mod">
          <ac:chgData name="Ying Yang" userId="f1527f9b-a873-4aa2-b225-cf8fd3466e0d" providerId="ADAL" clId="{A30A5C05-46CF-4F03-AB5B-503FD66274CE}" dt="2022-06-13T08:43:30.089" v="5069" actId="403"/>
          <ac:spMkLst>
            <pc:docMk/>
            <pc:sldMk cId="3340802973" sldId="2145705756"/>
            <ac:spMk id="116" creationId="{1D22EACE-3D77-4192-A451-88ABCF8240C5}"/>
          </ac:spMkLst>
        </pc:spChg>
        <pc:spChg chg="mod">
          <ac:chgData name="Ying Yang" userId="f1527f9b-a873-4aa2-b225-cf8fd3466e0d" providerId="ADAL" clId="{A30A5C05-46CF-4F03-AB5B-503FD66274CE}" dt="2022-06-13T08:44:32.228" v="5094" actId="114"/>
          <ac:spMkLst>
            <pc:docMk/>
            <pc:sldMk cId="3340802973" sldId="2145705756"/>
            <ac:spMk id="117" creationId="{2FC7385C-9CC6-4259-8D9B-4E835030D7E4}"/>
          </ac:spMkLst>
        </pc:spChg>
        <pc:spChg chg="mod">
          <ac:chgData name="Ying Yang" userId="f1527f9b-a873-4aa2-b225-cf8fd3466e0d" providerId="ADAL" clId="{A30A5C05-46CF-4F03-AB5B-503FD66274CE}" dt="2022-06-13T08:40:09.502" v="5019"/>
          <ac:spMkLst>
            <pc:docMk/>
            <pc:sldMk cId="3340802973" sldId="2145705756"/>
            <ac:spMk id="119" creationId="{3F322CD8-1E8F-4B0A-A8D1-31CC48A9B879}"/>
          </ac:spMkLst>
        </pc:spChg>
        <pc:spChg chg="mod">
          <ac:chgData name="Ying Yang" userId="f1527f9b-a873-4aa2-b225-cf8fd3466e0d" providerId="ADAL" clId="{A30A5C05-46CF-4F03-AB5B-503FD66274CE}" dt="2022-06-13T09:04:56.813" v="5527" actId="403"/>
          <ac:spMkLst>
            <pc:docMk/>
            <pc:sldMk cId="3340802973" sldId="2145705756"/>
            <ac:spMk id="120" creationId="{73297E3D-45C8-4159-8853-C3124EA6E266}"/>
          </ac:spMkLst>
        </pc:spChg>
        <pc:spChg chg="mod">
          <ac:chgData name="Ying Yang" userId="f1527f9b-a873-4aa2-b225-cf8fd3466e0d" providerId="ADAL" clId="{A30A5C05-46CF-4F03-AB5B-503FD66274CE}" dt="2022-06-13T08:40:09.502" v="5019"/>
          <ac:spMkLst>
            <pc:docMk/>
            <pc:sldMk cId="3340802973" sldId="2145705756"/>
            <ac:spMk id="121" creationId="{18E1C233-03EF-41E6-9311-D2FABF858897}"/>
          </ac:spMkLst>
        </pc:spChg>
        <pc:spChg chg="mod">
          <ac:chgData name="Ying Yang" userId="f1527f9b-a873-4aa2-b225-cf8fd3466e0d" providerId="ADAL" clId="{A30A5C05-46CF-4F03-AB5B-503FD66274CE}" dt="2022-06-13T08:40:09.502" v="5019"/>
          <ac:spMkLst>
            <pc:docMk/>
            <pc:sldMk cId="3340802973" sldId="2145705756"/>
            <ac:spMk id="122" creationId="{24A728A6-3907-40AA-A6C7-E987702870F0}"/>
          </ac:spMkLst>
        </pc:spChg>
        <pc:spChg chg="mod">
          <ac:chgData name="Ying Yang" userId="f1527f9b-a873-4aa2-b225-cf8fd3466e0d" providerId="ADAL" clId="{A30A5C05-46CF-4F03-AB5B-503FD66274CE}" dt="2022-06-13T08:40:09.502" v="5019"/>
          <ac:spMkLst>
            <pc:docMk/>
            <pc:sldMk cId="3340802973" sldId="2145705756"/>
            <ac:spMk id="123" creationId="{D6B799F1-B8C5-4E75-8AB5-C63D2FE8FE6F}"/>
          </ac:spMkLst>
        </pc:spChg>
        <pc:spChg chg="mod">
          <ac:chgData name="Ying Yang" userId="f1527f9b-a873-4aa2-b225-cf8fd3466e0d" providerId="ADAL" clId="{A30A5C05-46CF-4F03-AB5B-503FD66274CE}" dt="2022-06-13T08:40:09.502" v="5019"/>
          <ac:spMkLst>
            <pc:docMk/>
            <pc:sldMk cId="3340802973" sldId="2145705756"/>
            <ac:spMk id="124" creationId="{F8BAB463-4264-42A6-ADBA-C02ABD42D0AD}"/>
          </ac:spMkLst>
        </pc:spChg>
        <pc:spChg chg="mod">
          <ac:chgData name="Ying Yang" userId="f1527f9b-a873-4aa2-b225-cf8fd3466e0d" providerId="ADAL" clId="{A30A5C05-46CF-4F03-AB5B-503FD66274CE}" dt="2022-06-13T08:40:09.502" v="5019"/>
          <ac:spMkLst>
            <pc:docMk/>
            <pc:sldMk cId="3340802973" sldId="2145705756"/>
            <ac:spMk id="125" creationId="{E9409A7E-58E2-4571-BF9B-2FF7148D9873}"/>
          </ac:spMkLst>
        </pc:spChg>
        <pc:spChg chg="mod">
          <ac:chgData name="Ying Yang" userId="f1527f9b-a873-4aa2-b225-cf8fd3466e0d" providerId="ADAL" clId="{A30A5C05-46CF-4F03-AB5B-503FD66274CE}" dt="2022-06-13T08:43:26.823" v="5067" actId="403"/>
          <ac:spMkLst>
            <pc:docMk/>
            <pc:sldMk cId="3340802973" sldId="2145705756"/>
            <ac:spMk id="126" creationId="{ACF8BB60-0056-462B-9790-33FED3D6A024}"/>
          </ac:spMkLst>
        </pc:spChg>
        <pc:spChg chg="mod">
          <ac:chgData name="Ying Yang" userId="f1527f9b-a873-4aa2-b225-cf8fd3466e0d" providerId="ADAL" clId="{A30A5C05-46CF-4F03-AB5B-503FD66274CE}" dt="2022-06-13T08:44:22.162" v="5090" actId="207"/>
          <ac:spMkLst>
            <pc:docMk/>
            <pc:sldMk cId="3340802973" sldId="2145705756"/>
            <ac:spMk id="127" creationId="{9AF613B7-91FC-4ACC-B615-4A5584CF9AAF}"/>
          </ac:spMkLst>
        </pc:spChg>
        <pc:spChg chg="mod">
          <ac:chgData name="Ying Yang" userId="f1527f9b-a873-4aa2-b225-cf8fd3466e0d" providerId="ADAL" clId="{A30A5C05-46CF-4F03-AB5B-503FD66274CE}" dt="2022-06-13T08:44:11.056" v="5088" actId="1076"/>
          <ac:spMkLst>
            <pc:docMk/>
            <pc:sldMk cId="3340802973" sldId="2145705756"/>
            <ac:spMk id="128" creationId="{0276201A-8665-4275-A8EF-993F72B24B2F}"/>
          </ac:spMkLst>
        </pc:spChg>
        <pc:spChg chg="mod">
          <ac:chgData name="Ying Yang" userId="f1527f9b-a873-4aa2-b225-cf8fd3466e0d" providerId="ADAL" clId="{A30A5C05-46CF-4F03-AB5B-503FD66274CE}" dt="2022-06-13T08:40:09.502" v="5019"/>
          <ac:spMkLst>
            <pc:docMk/>
            <pc:sldMk cId="3340802973" sldId="2145705756"/>
            <ac:spMk id="129" creationId="{BCF18C6B-7C99-4765-B51B-E9F7F1152D49}"/>
          </ac:spMkLst>
        </pc:spChg>
        <pc:spChg chg="mod">
          <ac:chgData name="Ying Yang" userId="f1527f9b-a873-4aa2-b225-cf8fd3466e0d" providerId="ADAL" clId="{A30A5C05-46CF-4F03-AB5B-503FD66274CE}" dt="2022-06-13T08:40:09.502" v="5019"/>
          <ac:spMkLst>
            <pc:docMk/>
            <pc:sldMk cId="3340802973" sldId="2145705756"/>
            <ac:spMk id="130" creationId="{8411309D-7D02-4BC1-847B-A28FBB779EC2}"/>
          </ac:spMkLst>
        </pc:spChg>
        <pc:spChg chg="mod">
          <ac:chgData name="Ying Yang" userId="f1527f9b-a873-4aa2-b225-cf8fd3466e0d" providerId="ADAL" clId="{A30A5C05-46CF-4F03-AB5B-503FD66274CE}" dt="2022-06-13T08:40:09.502" v="5019"/>
          <ac:spMkLst>
            <pc:docMk/>
            <pc:sldMk cId="3340802973" sldId="2145705756"/>
            <ac:spMk id="131" creationId="{5815A6F3-105C-4756-A0A5-AC4722497BA2}"/>
          </ac:spMkLst>
        </pc:spChg>
        <pc:spChg chg="mod">
          <ac:chgData name="Ying Yang" userId="f1527f9b-a873-4aa2-b225-cf8fd3466e0d" providerId="ADAL" clId="{A30A5C05-46CF-4F03-AB5B-503FD66274CE}" dt="2022-06-13T08:40:09.502" v="5019"/>
          <ac:spMkLst>
            <pc:docMk/>
            <pc:sldMk cId="3340802973" sldId="2145705756"/>
            <ac:spMk id="132" creationId="{B66AA86C-A15E-4599-AF5B-CFC1B9952DB0}"/>
          </ac:spMkLst>
        </pc:spChg>
        <pc:spChg chg="mod">
          <ac:chgData name="Ying Yang" userId="f1527f9b-a873-4aa2-b225-cf8fd3466e0d" providerId="ADAL" clId="{A30A5C05-46CF-4F03-AB5B-503FD66274CE}" dt="2022-06-13T08:40:09.502" v="5019"/>
          <ac:spMkLst>
            <pc:docMk/>
            <pc:sldMk cId="3340802973" sldId="2145705756"/>
            <ac:spMk id="133" creationId="{7793143B-556A-401F-AAFE-4E91E9E42B82}"/>
          </ac:spMkLst>
        </pc:spChg>
        <pc:spChg chg="mod">
          <ac:chgData name="Ying Yang" userId="f1527f9b-a873-4aa2-b225-cf8fd3466e0d" providerId="ADAL" clId="{A30A5C05-46CF-4F03-AB5B-503FD66274CE}" dt="2022-06-13T08:40:09.502" v="5019"/>
          <ac:spMkLst>
            <pc:docMk/>
            <pc:sldMk cId="3340802973" sldId="2145705756"/>
            <ac:spMk id="134" creationId="{53E7CFFD-7B7F-49CF-85FC-920469A19F6A}"/>
          </ac:spMkLst>
        </pc:spChg>
        <pc:spChg chg="mod">
          <ac:chgData name="Ying Yang" userId="f1527f9b-a873-4aa2-b225-cf8fd3466e0d" providerId="ADAL" clId="{A30A5C05-46CF-4F03-AB5B-503FD66274CE}" dt="2022-06-13T08:43:22.378" v="5065" actId="1076"/>
          <ac:spMkLst>
            <pc:docMk/>
            <pc:sldMk cId="3340802973" sldId="2145705756"/>
            <ac:spMk id="135" creationId="{706E36AF-0F1C-44E4-9697-4376A86CA9A3}"/>
          </ac:spMkLst>
        </pc:spChg>
        <pc:spChg chg="mod ord">
          <ac:chgData name="Ying Yang" userId="f1527f9b-a873-4aa2-b225-cf8fd3466e0d" providerId="ADAL" clId="{A30A5C05-46CF-4F03-AB5B-503FD66274CE}" dt="2022-06-13T08:44:02.149" v="5086" actId="403"/>
          <ac:spMkLst>
            <pc:docMk/>
            <pc:sldMk cId="3340802973" sldId="2145705756"/>
            <ac:spMk id="136" creationId="{4B7CBD9D-FA88-445A-9B63-628CA4769E21}"/>
          </ac:spMkLst>
        </pc:spChg>
        <pc:spChg chg="mod ord">
          <ac:chgData name="Ying Yang" userId="f1527f9b-a873-4aa2-b225-cf8fd3466e0d" providerId="ADAL" clId="{A30A5C05-46CF-4F03-AB5B-503FD66274CE}" dt="2022-06-13T08:43:48.162" v="5077" actId="167"/>
          <ac:spMkLst>
            <pc:docMk/>
            <pc:sldMk cId="3340802973" sldId="2145705756"/>
            <ac:spMk id="137" creationId="{C74BEC6C-21FD-40A7-8C2D-211E3AF04CCF}"/>
          </ac:spMkLst>
        </pc:spChg>
        <pc:spChg chg="mod">
          <ac:chgData name="Ying Yang" userId="f1527f9b-a873-4aa2-b225-cf8fd3466e0d" providerId="ADAL" clId="{A30A5C05-46CF-4F03-AB5B-503FD66274CE}" dt="2022-06-13T08:40:09.502" v="5019"/>
          <ac:spMkLst>
            <pc:docMk/>
            <pc:sldMk cId="3340802973" sldId="2145705756"/>
            <ac:spMk id="138" creationId="{78338769-C1D7-43F9-9949-A768FD62E1B3}"/>
          </ac:spMkLst>
        </pc:spChg>
        <pc:spChg chg="mod">
          <ac:chgData name="Ying Yang" userId="f1527f9b-a873-4aa2-b225-cf8fd3466e0d" providerId="ADAL" clId="{A30A5C05-46CF-4F03-AB5B-503FD66274CE}" dt="2022-06-13T08:40:09.502" v="5019"/>
          <ac:spMkLst>
            <pc:docMk/>
            <pc:sldMk cId="3340802973" sldId="2145705756"/>
            <ac:spMk id="139" creationId="{AE79F2BC-65EF-41ED-A353-98C04AACCAE8}"/>
          </ac:spMkLst>
        </pc:spChg>
        <pc:spChg chg="mod">
          <ac:chgData name="Ying Yang" userId="f1527f9b-a873-4aa2-b225-cf8fd3466e0d" providerId="ADAL" clId="{A30A5C05-46CF-4F03-AB5B-503FD66274CE}" dt="2022-06-13T08:40:09.502" v="5019"/>
          <ac:spMkLst>
            <pc:docMk/>
            <pc:sldMk cId="3340802973" sldId="2145705756"/>
            <ac:spMk id="140" creationId="{C9108A2F-130A-40DB-A647-6435EAB78287}"/>
          </ac:spMkLst>
        </pc:spChg>
        <pc:spChg chg="mod">
          <ac:chgData name="Ying Yang" userId="f1527f9b-a873-4aa2-b225-cf8fd3466e0d" providerId="ADAL" clId="{A30A5C05-46CF-4F03-AB5B-503FD66274CE}" dt="2022-06-13T08:40:09.502" v="5019"/>
          <ac:spMkLst>
            <pc:docMk/>
            <pc:sldMk cId="3340802973" sldId="2145705756"/>
            <ac:spMk id="141" creationId="{A0E8D760-E1B3-4B07-A169-655FAFD9FC1F}"/>
          </ac:spMkLst>
        </pc:spChg>
        <pc:spChg chg="mod">
          <ac:chgData name="Ying Yang" userId="f1527f9b-a873-4aa2-b225-cf8fd3466e0d" providerId="ADAL" clId="{A30A5C05-46CF-4F03-AB5B-503FD66274CE}" dt="2022-06-13T08:40:42.863" v="5029" actId="1076"/>
          <ac:spMkLst>
            <pc:docMk/>
            <pc:sldMk cId="3340802973" sldId="2145705756"/>
            <ac:spMk id="145" creationId="{EA49BA98-12A0-4E42-B9DA-5F1550BF779A}"/>
          </ac:spMkLst>
        </pc:spChg>
        <pc:spChg chg="del mod">
          <ac:chgData name="Ying Yang" userId="f1527f9b-a873-4aa2-b225-cf8fd3466e0d" providerId="ADAL" clId="{A30A5C05-46CF-4F03-AB5B-503FD66274CE}" dt="2022-06-13T08:40:26.856" v="5021" actId="478"/>
          <ac:spMkLst>
            <pc:docMk/>
            <pc:sldMk cId="3340802973" sldId="2145705756"/>
            <ac:spMk id="146" creationId="{599AE552-F903-4922-AC2A-D5DD7E444247}"/>
          </ac:spMkLst>
        </pc:spChg>
        <pc:spChg chg="mod">
          <ac:chgData name="Ying Yang" userId="f1527f9b-a873-4aa2-b225-cf8fd3466e0d" providerId="ADAL" clId="{A30A5C05-46CF-4F03-AB5B-503FD66274CE}" dt="2022-06-13T08:40:38.030" v="5027" actId="1076"/>
          <ac:spMkLst>
            <pc:docMk/>
            <pc:sldMk cId="3340802973" sldId="2145705756"/>
            <ac:spMk id="147" creationId="{D0F96496-7F50-45E0-B57F-471F5B481EA6}"/>
          </ac:spMkLst>
        </pc:spChg>
        <pc:spChg chg="mod">
          <ac:chgData name="Ying Yang" userId="f1527f9b-a873-4aa2-b225-cf8fd3466e0d" providerId="ADAL" clId="{A30A5C05-46CF-4F03-AB5B-503FD66274CE}" dt="2022-06-13T09:03:53.558" v="5489" actId="1076"/>
          <ac:spMkLst>
            <pc:docMk/>
            <pc:sldMk cId="3340802973" sldId="2145705756"/>
            <ac:spMk id="150" creationId="{382E71AC-69D0-4AB9-B582-82E630885FFD}"/>
          </ac:spMkLst>
        </pc:spChg>
        <pc:spChg chg="add mod ord">
          <ac:chgData name="Ying Yang" userId="f1527f9b-a873-4aa2-b225-cf8fd3466e0d" providerId="ADAL" clId="{A30A5C05-46CF-4F03-AB5B-503FD66274CE}" dt="2022-06-13T09:04:11.746" v="5496" actId="1076"/>
          <ac:spMkLst>
            <pc:docMk/>
            <pc:sldMk cId="3340802973" sldId="2145705756"/>
            <ac:spMk id="157" creationId="{16BDE82B-3A6A-46E2-9FE5-C44477D9F793}"/>
          </ac:spMkLst>
        </pc:spChg>
        <pc:spChg chg="add del mod">
          <ac:chgData name="Ying Yang" userId="f1527f9b-a873-4aa2-b225-cf8fd3466e0d" providerId="ADAL" clId="{A30A5C05-46CF-4F03-AB5B-503FD66274CE}" dt="2022-06-13T08:49:07.352" v="5204"/>
          <ac:spMkLst>
            <pc:docMk/>
            <pc:sldMk cId="3340802973" sldId="2145705756"/>
            <ac:spMk id="158" creationId="{2DD506D8-A77C-4382-8EF7-72784F9490F1}"/>
          </ac:spMkLst>
        </pc:spChg>
        <pc:spChg chg="add mod">
          <ac:chgData name="Ying Yang" userId="f1527f9b-a873-4aa2-b225-cf8fd3466e0d" providerId="ADAL" clId="{A30A5C05-46CF-4F03-AB5B-503FD66274CE}" dt="2022-06-13T09:04:50.330" v="5524" actId="1076"/>
          <ac:spMkLst>
            <pc:docMk/>
            <pc:sldMk cId="3340802973" sldId="2145705756"/>
            <ac:spMk id="159" creationId="{E2C4EB76-6218-4991-A9F7-330A5F481F8A}"/>
          </ac:spMkLst>
        </pc:spChg>
        <pc:spChg chg="del">
          <ac:chgData name="Ying Yang" userId="f1527f9b-a873-4aa2-b225-cf8fd3466e0d" providerId="ADAL" clId="{A30A5C05-46CF-4F03-AB5B-503FD66274CE}" dt="2022-06-13T08:37:16.849" v="4988" actId="478"/>
          <ac:spMkLst>
            <pc:docMk/>
            <pc:sldMk cId="3340802973" sldId="2145705756"/>
            <ac:spMk id="177" creationId="{7F93530A-6C34-4B53-908D-D1B44BFA1013}"/>
          </ac:spMkLst>
        </pc:spChg>
        <pc:spChg chg="del">
          <ac:chgData name="Ying Yang" userId="f1527f9b-a873-4aa2-b225-cf8fd3466e0d" providerId="ADAL" clId="{A30A5C05-46CF-4F03-AB5B-503FD66274CE}" dt="2022-06-13T08:37:18.176" v="4989" actId="478"/>
          <ac:spMkLst>
            <pc:docMk/>
            <pc:sldMk cId="3340802973" sldId="2145705756"/>
            <ac:spMk id="179" creationId="{2E625E02-06BC-47A1-8C05-6F7282290596}"/>
          </ac:spMkLst>
        </pc:spChg>
        <pc:spChg chg="del">
          <ac:chgData name="Ying Yang" userId="f1527f9b-a873-4aa2-b225-cf8fd3466e0d" providerId="ADAL" clId="{A30A5C05-46CF-4F03-AB5B-503FD66274CE}" dt="2022-06-13T08:37:16.849" v="4988" actId="478"/>
          <ac:spMkLst>
            <pc:docMk/>
            <pc:sldMk cId="3340802973" sldId="2145705756"/>
            <ac:spMk id="351" creationId="{D870B4C1-225B-4F1F-9EFD-77A4B4F834A6}"/>
          </ac:spMkLst>
        </pc:spChg>
        <pc:spChg chg="del">
          <ac:chgData name="Ying Yang" userId="f1527f9b-a873-4aa2-b225-cf8fd3466e0d" providerId="ADAL" clId="{A30A5C05-46CF-4F03-AB5B-503FD66274CE}" dt="2022-06-13T08:37:16.849" v="4988" actId="478"/>
          <ac:spMkLst>
            <pc:docMk/>
            <pc:sldMk cId="3340802973" sldId="2145705756"/>
            <ac:spMk id="354" creationId="{D627FBC7-B5C5-4165-AE6B-3A696523E311}"/>
          </ac:spMkLst>
        </pc:spChg>
        <pc:spChg chg="del">
          <ac:chgData name="Ying Yang" userId="f1527f9b-a873-4aa2-b225-cf8fd3466e0d" providerId="ADAL" clId="{A30A5C05-46CF-4F03-AB5B-503FD66274CE}" dt="2022-06-13T08:37:16.849" v="4988" actId="478"/>
          <ac:spMkLst>
            <pc:docMk/>
            <pc:sldMk cId="3340802973" sldId="2145705756"/>
            <ac:spMk id="355" creationId="{11E7F706-1266-4081-ABCA-BCD5655AA0DF}"/>
          </ac:spMkLst>
        </pc:spChg>
        <pc:spChg chg="del">
          <ac:chgData name="Ying Yang" userId="f1527f9b-a873-4aa2-b225-cf8fd3466e0d" providerId="ADAL" clId="{A30A5C05-46CF-4F03-AB5B-503FD66274CE}" dt="2022-06-13T08:37:16.849" v="4988" actId="478"/>
          <ac:spMkLst>
            <pc:docMk/>
            <pc:sldMk cId="3340802973" sldId="2145705756"/>
            <ac:spMk id="363" creationId="{20F0C4FA-2B7B-4CE7-829D-A94E9EEBD3DA}"/>
          </ac:spMkLst>
        </pc:spChg>
        <pc:spChg chg="del">
          <ac:chgData name="Ying Yang" userId="f1527f9b-a873-4aa2-b225-cf8fd3466e0d" providerId="ADAL" clId="{A30A5C05-46CF-4F03-AB5B-503FD66274CE}" dt="2022-06-13T08:37:16.849" v="4988" actId="478"/>
          <ac:spMkLst>
            <pc:docMk/>
            <pc:sldMk cId="3340802973" sldId="2145705756"/>
            <ac:spMk id="364" creationId="{65AA713E-24B2-495F-80C0-7C4DF4DDB7EE}"/>
          </ac:spMkLst>
        </pc:spChg>
        <pc:grpChg chg="del">
          <ac:chgData name="Ying Yang" userId="f1527f9b-a873-4aa2-b225-cf8fd3466e0d" providerId="ADAL" clId="{A30A5C05-46CF-4F03-AB5B-503FD66274CE}" dt="2022-06-13T08:37:16.849" v="4988" actId="478"/>
          <ac:grpSpMkLst>
            <pc:docMk/>
            <pc:sldMk cId="3340802973" sldId="2145705756"/>
            <ac:grpSpMk id="8" creationId="{EC82BA75-5CD4-44E7-BE83-047CE7824A9C}"/>
          </ac:grpSpMkLst>
        </pc:grpChg>
        <pc:grpChg chg="del">
          <ac:chgData name="Ying Yang" userId="f1527f9b-a873-4aa2-b225-cf8fd3466e0d" providerId="ADAL" clId="{A30A5C05-46CF-4F03-AB5B-503FD66274CE}" dt="2022-06-13T08:37:16.849" v="4988" actId="478"/>
          <ac:grpSpMkLst>
            <pc:docMk/>
            <pc:sldMk cId="3340802973" sldId="2145705756"/>
            <ac:grpSpMk id="9" creationId="{1CA92551-3150-498C-8402-B6F8F351EEA4}"/>
          </ac:grpSpMkLst>
        </pc:grpChg>
        <pc:grpChg chg="add mod">
          <ac:chgData name="Ying Yang" userId="f1527f9b-a873-4aa2-b225-cf8fd3466e0d" providerId="ADAL" clId="{A30A5C05-46CF-4F03-AB5B-503FD66274CE}" dt="2022-06-13T08:37:28.349" v="4992"/>
          <ac:grpSpMkLst>
            <pc:docMk/>
            <pc:sldMk cId="3340802973" sldId="2145705756"/>
            <ac:grpSpMk id="99" creationId="{E16F5A98-15D4-4204-82B5-0F9E9BD83629}"/>
          </ac:grpSpMkLst>
        </pc:grpChg>
        <pc:grpChg chg="mod">
          <ac:chgData name="Ying Yang" userId="f1527f9b-a873-4aa2-b225-cf8fd3466e0d" providerId="ADAL" clId="{A30A5C05-46CF-4F03-AB5B-503FD66274CE}" dt="2022-06-13T08:37:28.349" v="4992"/>
          <ac:grpSpMkLst>
            <pc:docMk/>
            <pc:sldMk cId="3340802973" sldId="2145705756"/>
            <ac:grpSpMk id="101" creationId="{BB1A14B8-7CA1-49B2-8AF8-7B58A20592D9}"/>
          </ac:grpSpMkLst>
        </pc:grpChg>
        <pc:grpChg chg="mod">
          <ac:chgData name="Ying Yang" userId="f1527f9b-a873-4aa2-b225-cf8fd3466e0d" providerId="ADAL" clId="{A30A5C05-46CF-4F03-AB5B-503FD66274CE}" dt="2022-06-13T08:37:28.349" v="4992"/>
          <ac:grpSpMkLst>
            <pc:docMk/>
            <pc:sldMk cId="3340802973" sldId="2145705756"/>
            <ac:grpSpMk id="104" creationId="{6F0F6471-C0ED-491A-AD52-ECCCA7884CBA}"/>
          </ac:grpSpMkLst>
        </pc:grpChg>
        <pc:grpChg chg="add mod">
          <ac:chgData name="Ying Yang" userId="f1527f9b-a873-4aa2-b225-cf8fd3466e0d" providerId="ADAL" clId="{A30A5C05-46CF-4F03-AB5B-503FD66274CE}" dt="2022-06-13T09:04:53.143" v="5525" actId="14100"/>
          <ac:grpSpMkLst>
            <pc:docMk/>
            <pc:sldMk cId="3340802973" sldId="2145705756"/>
            <ac:grpSpMk id="109" creationId="{AB5E54B9-DED4-422A-9E46-A121B6B9CE11}"/>
          </ac:grpSpMkLst>
        </pc:grpChg>
        <pc:grpChg chg="mod">
          <ac:chgData name="Ying Yang" userId="f1527f9b-a873-4aa2-b225-cf8fd3466e0d" providerId="ADAL" clId="{A30A5C05-46CF-4F03-AB5B-503FD66274CE}" dt="2022-06-13T08:40:09.502" v="5019"/>
          <ac:grpSpMkLst>
            <pc:docMk/>
            <pc:sldMk cId="3340802973" sldId="2145705756"/>
            <ac:grpSpMk id="110" creationId="{4F1D91B2-3ADD-456A-B6FC-2A5A7EFE1964}"/>
          </ac:grpSpMkLst>
        </pc:grpChg>
        <pc:grpChg chg="mod">
          <ac:chgData name="Ying Yang" userId="f1527f9b-a873-4aa2-b225-cf8fd3466e0d" providerId="ADAL" clId="{A30A5C05-46CF-4F03-AB5B-503FD66274CE}" dt="2022-06-13T08:40:09.502" v="5019"/>
          <ac:grpSpMkLst>
            <pc:docMk/>
            <pc:sldMk cId="3340802973" sldId="2145705756"/>
            <ac:grpSpMk id="111" creationId="{00E311EF-4747-4851-A8D2-45431682CF97}"/>
          </ac:grpSpMkLst>
        </pc:grpChg>
        <pc:grpChg chg="mod">
          <ac:chgData name="Ying Yang" userId="f1527f9b-a873-4aa2-b225-cf8fd3466e0d" providerId="ADAL" clId="{A30A5C05-46CF-4F03-AB5B-503FD66274CE}" dt="2022-06-13T08:40:09.502" v="5019"/>
          <ac:grpSpMkLst>
            <pc:docMk/>
            <pc:sldMk cId="3340802973" sldId="2145705756"/>
            <ac:grpSpMk id="112" creationId="{95BAF2DE-4225-4143-ACCB-EAB7D5F2FF33}"/>
          </ac:grpSpMkLst>
        </pc:grpChg>
        <pc:grpChg chg="add mod">
          <ac:chgData name="Ying Yang" userId="f1527f9b-a873-4aa2-b225-cf8fd3466e0d" providerId="ADAL" clId="{A30A5C05-46CF-4F03-AB5B-503FD66274CE}" dt="2022-06-13T09:04:05.473" v="5493" actId="1076"/>
          <ac:grpSpMkLst>
            <pc:docMk/>
            <pc:sldMk cId="3340802973" sldId="2145705756"/>
            <ac:grpSpMk id="142" creationId="{E8DCC272-13C8-4714-B1A0-6F8E37308ADE}"/>
          </ac:grpSpMkLst>
        </pc:grpChg>
        <pc:grpChg chg="mod">
          <ac:chgData name="Ying Yang" userId="f1527f9b-a873-4aa2-b225-cf8fd3466e0d" providerId="ADAL" clId="{A30A5C05-46CF-4F03-AB5B-503FD66274CE}" dt="2022-06-13T08:40:09.502" v="5019"/>
          <ac:grpSpMkLst>
            <pc:docMk/>
            <pc:sldMk cId="3340802973" sldId="2145705756"/>
            <ac:grpSpMk id="143" creationId="{CB6A38FD-2E98-4836-B6EB-6FB8F0636606}"/>
          </ac:grpSpMkLst>
        </pc:grpChg>
        <pc:grpChg chg="del mod">
          <ac:chgData name="Ying Yang" userId="f1527f9b-a873-4aa2-b225-cf8fd3466e0d" providerId="ADAL" clId="{A30A5C05-46CF-4F03-AB5B-503FD66274CE}" dt="2022-06-13T08:40:26.856" v="5021" actId="478"/>
          <ac:grpSpMkLst>
            <pc:docMk/>
            <pc:sldMk cId="3340802973" sldId="2145705756"/>
            <ac:grpSpMk id="144" creationId="{80721906-CC6B-4B92-B5C3-E0622F9072E6}"/>
          </ac:grpSpMkLst>
        </pc:grpChg>
        <pc:grpChg chg="add mod">
          <ac:chgData name="Ying Yang" userId="f1527f9b-a873-4aa2-b225-cf8fd3466e0d" providerId="ADAL" clId="{A30A5C05-46CF-4F03-AB5B-503FD66274CE}" dt="2022-06-13T09:03:51.484" v="5488" actId="14100"/>
          <ac:grpSpMkLst>
            <pc:docMk/>
            <pc:sldMk cId="3340802973" sldId="2145705756"/>
            <ac:grpSpMk id="149" creationId="{B1E6DBD4-4F8E-4196-AF08-BBD379F25462}"/>
          </ac:grpSpMkLst>
        </pc:grpChg>
        <pc:grpChg chg="mod">
          <ac:chgData name="Ying Yang" userId="f1527f9b-a873-4aa2-b225-cf8fd3466e0d" providerId="ADAL" clId="{A30A5C05-46CF-4F03-AB5B-503FD66274CE}" dt="2022-06-13T08:40:09.502" v="5019"/>
          <ac:grpSpMkLst>
            <pc:docMk/>
            <pc:sldMk cId="3340802973" sldId="2145705756"/>
            <ac:grpSpMk id="151" creationId="{3A56B625-39E3-48D2-89D1-4E29E43048CE}"/>
          </ac:grpSpMkLst>
        </pc:grpChg>
        <pc:grpChg chg="mod">
          <ac:chgData name="Ying Yang" userId="f1527f9b-a873-4aa2-b225-cf8fd3466e0d" providerId="ADAL" clId="{A30A5C05-46CF-4F03-AB5B-503FD66274CE}" dt="2022-06-13T08:40:09.502" v="5019"/>
          <ac:grpSpMkLst>
            <pc:docMk/>
            <pc:sldMk cId="3340802973" sldId="2145705756"/>
            <ac:grpSpMk id="152" creationId="{0B73B44E-8E01-4DEF-9231-5EA2F69DF5B1}"/>
          </ac:grpSpMkLst>
        </pc:grpChg>
        <pc:grpChg chg="del">
          <ac:chgData name="Ying Yang" userId="f1527f9b-a873-4aa2-b225-cf8fd3466e0d" providerId="ADAL" clId="{A30A5C05-46CF-4F03-AB5B-503FD66274CE}" dt="2022-06-13T08:37:16.849" v="4988" actId="478"/>
          <ac:grpSpMkLst>
            <pc:docMk/>
            <pc:sldMk cId="3340802973" sldId="2145705756"/>
            <ac:grpSpMk id="168" creationId="{39E8B584-9D7C-455B-81AA-1A5745EB29DE}"/>
          </ac:grpSpMkLst>
        </pc:grpChg>
        <pc:grpChg chg="del">
          <ac:chgData name="Ying Yang" userId="f1527f9b-a873-4aa2-b225-cf8fd3466e0d" providerId="ADAL" clId="{A30A5C05-46CF-4F03-AB5B-503FD66274CE}" dt="2022-06-13T08:37:16.849" v="4988" actId="478"/>
          <ac:grpSpMkLst>
            <pc:docMk/>
            <pc:sldMk cId="3340802973" sldId="2145705756"/>
            <ac:grpSpMk id="180" creationId="{1DE69BA0-BBB4-4029-847A-4312078D02A8}"/>
          </ac:grpSpMkLst>
        </pc:grpChg>
        <pc:grpChg chg="del">
          <ac:chgData name="Ying Yang" userId="f1527f9b-a873-4aa2-b225-cf8fd3466e0d" providerId="ADAL" clId="{A30A5C05-46CF-4F03-AB5B-503FD66274CE}" dt="2022-06-13T08:37:16.849" v="4988" actId="478"/>
          <ac:grpSpMkLst>
            <pc:docMk/>
            <pc:sldMk cId="3340802973" sldId="2145705756"/>
            <ac:grpSpMk id="181" creationId="{34DBC366-B35E-42C5-AFF0-F48491FF70A2}"/>
          </ac:grpSpMkLst>
        </pc:grpChg>
        <pc:grpChg chg="del">
          <ac:chgData name="Ying Yang" userId="f1527f9b-a873-4aa2-b225-cf8fd3466e0d" providerId="ADAL" clId="{A30A5C05-46CF-4F03-AB5B-503FD66274CE}" dt="2022-06-13T08:37:16.849" v="4988" actId="478"/>
          <ac:grpSpMkLst>
            <pc:docMk/>
            <pc:sldMk cId="3340802973" sldId="2145705756"/>
            <ac:grpSpMk id="182" creationId="{5B29B7BD-115F-47F5-B2DD-0250F5F7B486}"/>
          </ac:grpSpMkLst>
        </pc:grpChg>
        <pc:grpChg chg="del">
          <ac:chgData name="Ying Yang" userId="f1527f9b-a873-4aa2-b225-cf8fd3466e0d" providerId="ADAL" clId="{A30A5C05-46CF-4F03-AB5B-503FD66274CE}" dt="2022-06-13T08:37:16.849" v="4988" actId="478"/>
          <ac:grpSpMkLst>
            <pc:docMk/>
            <pc:sldMk cId="3340802973" sldId="2145705756"/>
            <ac:grpSpMk id="374" creationId="{5A3C83BD-A47C-4BEE-9883-C26E2ACB04E7}"/>
          </ac:grpSpMkLst>
        </pc:grpChg>
        <pc:picChg chg="del">
          <ac:chgData name="Ying Yang" userId="f1527f9b-a873-4aa2-b225-cf8fd3466e0d" providerId="ADAL" clId="{A30A5C05-46CF-4F03-AB5B-503FD66274CE}" dt="2022-06-13T08:37:16.849" v="4988" actId="478"/>
          <ac:picMkLst>
            <pc:docMk/>
            <pc:sldMk cId="3340802973" sldId="2145705756"/>
            <ac:picMk id="352" creationId="{36AFF7F2-6B05-44BB-9700-A00F07F807F7}"/>
          </ac:picMkLst>
        </pc:picChg>
        <pc:cxnChg chg="mod">
          <ac:chgData name="Ying Yang" userId="f1527f9b-a873-4aa2-b225-cf8fd3466e0d" providerId="ADAL" clId="{A30A5C05-46CF-4F03-AB5B-503FD66274CE}" dt="2022-06-13T08:40:09.502" v="5019"/>
          <ac:cxnSpMkLst>
            <pc:docMk/>
            <pc:sldMk cId="3340802973" sldId="2145705756"/>
            <ac:cxnSpMk id="148" creationId="{7519A74C-0B08-4175-8EA1-EEB97A4EDCF5}"/>
          </ac:cxnSpMkLst>
        </pc:cxnChg>
        <pc:cxnChg chg="mod">
          <ac:chgData name="Ying Yang" userId="f1527f9b-a873-4aa2-b225-cf8fd3466e0d" providerId="ADAL" clId="{A30A5C05-46CF-4F03-AB5B-503FD66274CE}" dt="2022-06-13T08:40:09.502" v="5019"/>
          <ac:cxnSpMkLst>
            <pc:docMk/>
            <pc:sldMk cId="3340802973" sldId="2145705756"/>
            <ac:cxnSpMk id="153" creationId="{82355D82-E88A-4E39-9256-9EC7863CB8B4}"/>
          </ac:cxnSpMkLst>
        </pc:cxnChg>
        <pc:cxnChg chg="mod">
          <ac:chgData name="Ying Yang" userId="f1527f9b-a873-4aa2-b225-cf8fd3466e0d" providerId="ADAL" clId="{A30A5C05-46CF-4F03-AB5B-503FD66274CE}" dt="2022-06-13T08:40:09.502" v="5019"/>
          <ac:cxnSpMkLst>
            <pc:docMk/>
            <pc:sldMk cId="3340802973" sldId="2145705756"/>
            <ac:cxnSpMk id="154" creationId="{E2DF4E43-8F7C-4D83-8436-0C6E9C55FBF6}"/>
          </ac:cxnSpMkLst>
        </pc:cxnChg>
        <pc:cxnChg chg="mod">
          <ac:chgData name="Ying Yang" userId="f1527f9b-a873-4aa2-b225-cf8fd3466e0d" providerId="ADAL" clId="{A30A5C05-46CF-4F03-AB5B-503FD66274CE}" dt="2022-06-13T08:40:09.502" v="5019"/>
          <ac:cxnSpMkLst>
            <pc:docMk/>
            <pc:sldMk cId="3340802973" sldId="2145705756"/>
            <ac:cxnSpMk id="155" creationId="{8F97E012-B583-4566-B446-5465F7B99ED6}"/>
          </ac:cxnSpMkLst>
        </pc:cxnChg>
        <pc:cxnChg chg="mod">
          <ac:chgData name="Ying Yang" userId="f1527f9b-a873-4aa2-b225-cf8fd3466e0d" providerId="ADAL" clId="{A30A5C05-46CF-4F03-AB5B-503FD66274CE}" dt="2022-06-13T08:40:09.502" v="5019"/>
          <ac:cxnSpMkLst>
            <pc:docMk/>
            <pc:sldMk cId="3340802973" sldId="2145705756"/>
            <ac:cxnSpMk id="156" creationId="{6AF7D570-0661-4EAE-AB13-5A342E5C0B6F}"/>
          </ac:cxnSpMkLst>
        </pc:cxnChg>
      </pc:sldChg>
      <pc:sldChg chg="add del">
        <pc:chgData name="Ying Yang" userId="f1527f9b-a873-4aa2-b225-cf8fd3466e0d" providerId="ADAL" clId="{A30A5C05-46CF-4F03-AB5B-503FD66274CE}" dt="2022-06-13T08:31:33.365" v="4956"/>
        <pc:sldMkLst>
          <pc:docMk/>
          <pc:sldMk cId="4138573506" sldId="2145705756"/>
        </pc:sldMkLst>
      </pc:sldChg>
      <pc:sldChg chg="new del">
        <pc:chgData name="Ying Yang" userId="f1527f9b-a873-4aa2-b225-cf8fd3466e0d" providerId="ADAL" clId="{A30A5C05-46CF-4F03-AB5B-503FD66274CE}" dt="2022-06-13T08:45:29.093" v="5104" actId="47"/>
        <pc:sldMkLst>
          <pc:docMk/>
          <pc:sldMk cId="1001626569" sldId="2145705757"/>
        </pc:sldMkLst>
      </pc:sldChg>
      <pc:sldChg chg="addSp delSp modSp add mod addCm delCm">
        <pc:chgData name="Ying Yang" userId="f1527f9b-a873-4aa2-b225-cf8fd3466e0d" providerId="ADAL" clId="{A30A5C05-46CF-4F03-AB5B-503FD66274CE}" dt="2022-06-13T09:01:39.811" v="5407" actId="1076"/>
        <pc:sldMkLst>
          <pc:docMk/>
          <pc:sldMk cId="1945758879" sldId="2145705757"/>
        </pc:sldMkLst>
        <pc:spChg chg="mod topLvl">
          <ac:chgData name="Ying Yang" userId="f1527f9b-a873-4aa2-b225-cf8fd3466e0d" providerId="ADAL" clId="{A30A5C05-46CF-4F03-AB5B-503FD66274CE}" dt="2022-06-13T08:58:00.178" v="5362" actId="1076"/>
          <ac:spMkLst>
            <pc:docMk/>
            <pc:sldMk cId="1945758879" sldId="2145705757"/>
            <ac:spMk id="69" creationId="{96A9574B-2295-44E6-9739-80184C4CAAF3}"/>
          </ac:spMkLst>
        </pc:spChg>
        <pc:spChg chg="mod topLvl">
          <ac:chgData name="Ying Yang" userId="f1527f9b-a873-4aa2-b225-cf8fd3466e0d" providerId="ADAL" clId="{A30A5C05-46CF-4F03-AB5B-503FD66274CE}" dt="2022-06-13T08:58:00.178" v="5362" actId="1076"/>
          <ac:spMkLst>
            <pc:docMk/>
            <pc:sldMk cId="1945758879" sldId="2145705757"/>
            <ac:spMk id="70" creationId="{60BCCD53-1B93-469E-A946-5F6ED114F239}"/>
          </ac:spMkLst>
        </pc:spChg>
        <pc:spChg chg="del mod topLvl">
          <ac:chgData name="Ying Yang" userId="f1527f9b-a873-4aa2-b225-cf8fd3466e0d" providerId="ADAL" clId="{A30A5C05-46CF-4F03-AB5B-503FD66274CE}" dt="2022-06-13T08:56:28.655" v="5337" actId="478"/>
          <ac:spMkLst>
            <pc:docMk/>
            <pc:sldMk cId="1945758879" sldId="2145705757"/>
            <ac:spMk id="71" creationId="{9666A119-1AF9-4E29-B0B2-1B2E76A49864}"/>
          </ac:spMkLst>
        </pc:spChg>
        <pc:spChg chg="del mod topLvl">
          <ac:chgData name="Ying Yang" userId="f1527f9b-a873-4aa2-b225-cf8fd3466e0d" providerId="ADAL" clId="{A30A5C05-46CF-4F03-AB5B-503FD66274CE}" dt="2022-06-13T08:56:29.808" v="5338" actId="478"/>
          <ac:spMkLst>
            <pc:docMk/>
            <pc:sldMk cId="1945758879" sldId="2145705757"/>
            <ac:spMk id="72" creationId="{FE6BCCD7-3F55-42EE-B31F-E6E7E9E77812}"/>
          </ac:spMkLst>
        </pc:spChg>
        <pc:spChg chg="mod topLvl">
          <ac:chgData name="Ying Yang" userId="f1527f9b-a873-4aa2-b225-cf8fd3466e0d" providerId="ADAL" clId="{A30A5C05-46CF-4F03-AB5B-503FD66274CE}" dt="2022-06-13T08:57:31.064" v="5354" actId="1076"/>
          <ac:spMkLst>
            <pc:docMk/>
            <pc:sldMk cId="1945758879" sldId="2145705757"/>
            <ac:spMk id="73" creationId="{0B4E58DC-8645-4BED-AE46-7CF15A23F845}"/>
          </ac:spMkLst>
        </pc:spChg>
        <pc:spChg chg="mod topLvl">
          <ac:chgData name="Ying Yang" userId="f1527f9b-a873-4aa2-b225-cf8fd3466e0d" providerId="ADAL" clId="{A30A5C05-46CF-4F03-AB5B-503FD66274CE}" dt="2022-06-13T08:56:50.498" v="5345" actId="164"/>
          <ac:spMkLst>
            <pc:docMk/>
            <pc:sldMk cId="1945758879" sldId="2145705757"/>
            <ac:spMk id="74" creationId="{3A8F76FD-C22C-47EC-8F99-6CB22C4215AB}"/>
          </ac:spMkLst>
        </pc:spChg>
        <pc:spChg chg="del mod topLvl">
          <ac:chgData name="Ying Yang" userId="f1527f9b-a873-4aa2-b225-cf8fd3466e0d" providerId="ADAL" clId="{A30A5C05-46CF-4F03-AB5B-503FD66274CE}" dt="2022-06-13T08:56:32.417" v="5340" actId="478"/>
          <ac:spMkLst>
            <pc:docMk/>
            <pc:sldMk cId="1945758879" sldId="2145705757"/>
            <ac:spMk id="75" creationId="{7750F550-64A2-48CE-8D5D-5FE5B35702A1}"/>
          </ac:spMkLst>
        </pc:spChg>
        <pc:spChg chg="del mod topLvl">
          <ac:chgData name="Ying Yang" userId="f1527f9b-a873-4aa2-b225-cf8fd3466e0d" providerId="ADAL" clId="{A30A5C05-46CF-4F03-AB5B-503FD66274CE}" dt="2022-06-13T08:56:34.648" v="5342" actId="478"/>
          <ac:spMkLst>
            <pc:docMk/>
            <pc:sldMk cId="1945758879" sldId="2145705757"/>
            <ac:spMk id="76" creationId="{97EF0875-DCE2-4FC0-A80F-1767ACA7C5A3}"/>
          </ac:spMkLst>
        </pc:spChg>
        <pc:spChg chg="mod topLvl">
          <ac:chgData name="Ying Yang" userId="f1527f9b-a873-4aa2-b225-cf8fd3466e0d" providerId="ADAL" clId="{A30A5C05-46CF-4F03-AB5B-503FD66274CE}" dt="2022-06-13T08:58:00.178" v="5362" actId="1076"/>
          <ac:spMkLst>
            <pc:docMk/>
            <pc:sldMk cId="1945758879" sldId="2145705757"/>
            <ac:spMk id="77" creationId="{17F27B7B-FE6E-4BB3-B146-192B9CC07421}"/>
          </ac:spMkLst>
        </pc:spChg>
        <pc:spChg chg="mod topLvl">
          <ac:chgData name="Ying Yang" userId="f1527f9b-a873-4aa2-b225-cf8fd3466e0d" providerId="ADAL" clId="{A30A5C05-46CF-4F03-AB5B-503FD66274CE}" dt="2022-06-13T08:58:00.178" v="5362" actId="1076"/>
          <ac:spMkLst>
            <pc:docMk/>
            <pc:sldMk cId="1945758879" sldId="2145705757"/>
            <ac:spMk id="78" creationId="{4BECE5C5-1573-4D12-9412-42AE5B910D0F}"/>
          </ac:spMkLst>
        </pc:spChg>
        <pc:spChg chg="mod topLvl">
          <ac:chgData name="Ying Yang" userId="f1527f9b-a873-4aa2-b225-cf8fd3466e0d" providerId="ADAL" clId="{A30A5C05-46CF-4F03-AB5B-503FD66274CE}" dt="2022-06-13T08:54:54.139" v="5313" actId="164"/>
          <ac:spMkLst>
            <pc:docMk/>
            <pc:sldMk cId="1945758879" sldId="2145705757"/>
            <ac:spMk id="79" creationId="{927A5061-B88D-45D1-8DEF-6D3C74D65D28}"/>
          </ac:spMkLst>
        </pc:spChg>
        <pc:spChg chg="mod topLvl">
          <ac:chgData name="Ying Yang" userId="f1527f9b-a873-4aa2-b225-cf8fd3466e0d" providerId="ADAL" clId="{A30A5C05-46CF-4F03-AB5B-503FD66274CE}" dt="2022-06-13T08:54:54.139" v="5313" actId="164"/>
          <ac:spMkLst>
            <pc:docMk/>
            <pc:sldMk cId="1945758879" sldId="2145705757"/>
            <ac:spMk id="80" creationId="{E9BA6FF5-4EA0-413B-97EC-77678B6B9AC8}"/>
          </ac:spMkLst>
        </pc:spChg>
        <pc:spChg chg="del mod">
          <ac:chgData name="Ying Yang" userId="f1527f9b-a873-4aa2-b225-cf8fd3466e0d" providerId="ADAL" clId="{A30A5C05-46CF-4F03-AB5B-503FD66274CE}" dt="2022-06-13T08:49:14.883" v="5207" actId="478"/>
          <ac:spMkLst>
            <pc:docMk/>
            <pc:sldMk cId="1945758879" sldId="2145705757"/>
            <ac:spMk id="81" creationId="{CB6CFA45-E1C7-4C13-B2D0-8CAD0442CC1E}"/>
          </ac:spMkLst>
        </pc:spChg>
        <pc:spChg chg="del mod">
          <ac:chgData name="Ying Yang" userId="f1527f9b-a873-4aa2-b225-cf8fd3466e0d" providerId="ADAL" clId="{A30A5C05-46CF-4F03-AB5B-503FD66274CE}" dt="2022-06-13T08:49:25.285" v="5214" actId="478"/>
          <ac:spMkLst>
            <pc:docMk/>
            <pc:sldMk cId="1945758879" sldId="2145705757"/>
            <ac:spMk id="82" creationId="{0513CFA8-4027-43C8-ABA7-B79DE5C9DACF}"/>
          </ac:spMkLst>
        </pc:spChg>
        <pc:spChg chg="del mod">
          <ac:chgData name="Ying Yang" userId="f1527f9b-a873-4aa2-b225-cf8fd3466e0d" providerId="ADAL" clId="{A30A5C05-46CF-4F03-AB5B-503FD66274CE}" dt="2022-06-13T08:49:46.395" v="5223" actId="478"/>
          <ac:spMkLst>
            <pc:docMk/>
            <pc:sldMk cId="1945758879" sldId="2145705757"/>
            <ac:spMk id="83" creationId="{180D6ECD-33DC-47F0-B9AC-4B45BDBBADDB}"/>
          </ac:spMkLst>
        </pc:spChg>
        <pc:spChg chg="del mod">
          <ac:chgData name="Ying Yang" userId="f1527f9b-a873-4aa2-b225-cf8fd3466e0d" providerId="ADAL" clId="{A30A5C05-46CF-4F03-AB5B-503FD66274CE}" dt="2022-06-13T08:50:18.964" v="5234" actId="478"/>
          <ac:spMkLst>
            <pc:docMk/>
            <pc:sldMk cId="1945758879" sldId="2145705757"/>
            <ac:spMk id="84" creationId="{87BE5C2C-3ED1-4612-91AC-BDEC664EA852}"/>
          </ac:spMkLst>
        </pc:spChg>
        <pc:spChg chg="del mod">
          <ac:chgData name="Ying Yang" userId="f1527f9b-a873-4aa2-b225-cf8fd3466e0d" providerId="ADAL" clId="{A30A5C05-46CF-4F03-AB5B-503FD66274CE}" dt="2022-06-13T08:50:30.178" v="5241" actId="478"/>
          <ac:spMkLst>
            <pc:docMk/>
            <pc:sldMk cId="1945758879" sldId="2145705757"/>
            <ac:spMk id="85" creationId="{2D5ACB11-18F2-4B63-B5BF-E8F398ECA3B1}"/>
          </ac:spMkLst>
        </pc:spChg>
        <pc:spChg chg="del mod">
          <ac:chgData name="Ying Yang" userId="f1527f9b-a873-4aa2-b225-cf8fd3466e0d" providerId="ADAL" clId="{A30A5C05-46CF-4F03-AB5B-503FD66274CE}" dt="2022-06-13T08:50:53.699" v="5254" actId="478"/>
          <ac:spMkLst>
            <pc:docMk/>
            <pc:sldMk cId="1945758879" sldId="2145705757"/>
            <ac:spMk id="86" creationId="{1F993412-F80F-4F30-A7F3-D57D497DC97F}"/>
          </ac:spMkLst>
        </pc:spChg>
        <pc:spChg chg="del mod">
          <ac:chgData name="Ying Yang" userId="f1527f9b-a873-4aa2-b225-cf8fd3466e0d" providerId="ADAL" clId="{A30A5C05-46CF-4F03-AB5B-503FD66274CE}" dt="2022-06-13T08:50:05.371" v="5229" actId="478"/>
          <ac:spMkLst>
            <pc:docMk/>
            <pc:sldMk cId="1945758879" sldId="2145705757"/>
            <ac:spMk id="87" creationId="{92697E53-02C4-413E-BFE2-D724B9854374}"/>
          </ac:spMkLst>
        </pc:spChg>
        <pc:spChg chg="del mod">
          <ac:chgData name="Ying Yang" userId="f1527f9b-a873-4aa2-b225-cf8fd3466e0d" providerId="ADAL" clId="{A30A5C05-46CF-4F03-AB5B-503FD66274CE}" dt="2022-06-13T08:50:16.490" v="5233" actId="478"/>
          <ac:spMkLst>
            <pc:docMk/>
            <pc:sldMk cId="1945758879" sldId="2145705757"/>
            <ac:spMk id="89" creationId="{829AB613-E650-4FB7-8B35-7D3B773E6489}"/>
          </ac:spMkLst>
        </pc:spChg>
        <pc:spChg chg="del mod">
          <ac:chgData name="Ying Yang" userId="f1527f9b-a873-4aa2-b225-cf8fd3466e0d" providerId="ADAL" clId="{A30A5C05-46CF-4F03-AB5B-503FD66274CE}" dt="2022-06-13T08:50:02.931" v="5228" actId="478"/>
          <ac:spMkLst>
            <pc:docMk/>
            <pc:sldMk cId="1945758879" sldId="2145705757"/>
            <ac:spMk id="90" creationId="{89505A80-53C4-4F22-A0A4-0148913C7CE8}"/>
          </ac:spMkLst>
        </pc:spChg>
        <pc:spChg chg="del mod">
          <ac:chgData name="Ying Yang" userId="f1527f9b-a873-4aa2-b225-cf8fd3466e0d" providerId="ADAL" clId="{A30A5C05-46CF-4F03-AB5B-503FD66274CE}" dt="2022-06-13T08:50:11.833" v="5230" actId="478"/>
          <ac:spMkLst>
            <pc:docMk/>
            <pc:sldMk cId="1945758879" sldId="2145705757"/>
            <ac:spMk id="91" creationId="{46BBA297-09C6-480E-94D0-3BE2F9708B24}"/>
          </ac:spMkLst>
        </pc:spChg>
        <pc:spChg chg="mod">
          <ac:chgData name="Ying Yang" userId="f1527f9b-a873-4aa2-b225-cf8fd3466e0d" providerId="ADAL" clId="{A30A5C05-46CF-4F03-AB5B-503FD66274CE}" dt="2022-06-13T08:59:55.153" v="5391" actId="20577"/>
          <ac:spMkLst>
            <pc:docMk/>
            <pc:sldMk cId="1945758879" sldId="2145705757"/>
            <ac:spMk id="92" creationId="{DA1A959C-52D7-4FFB-95F8-F007237FB13E}"/>
          </ac:spMkLst>
        </pc:spChg>
        <pc:spChg chg="del">
          <ac:chgData name="Ying Yang" userId="f1527f9b-a873-4aa2-b225-cf8fd3466e0d" providerId="ADAL" clId="{A30A5C05-46CF-4F03-AB5B-503FD66274CE}" dt="2022-06-13T08:46:09.377" v="5109" actId="478"/>
          <ac:spMkLst>
            <pc:docMk/>
            <pc:sldMk cId="1945758879" sldId="2145705757"/>
            <ac:spMk id="108" creationId="{8C616635-A8AD-4E95-8235-E47FD9D19B19}"/>
          </ac:spMkLst>
        </pc:spChg>
        <pc:spChg chg="del mod">
          <ac:chgData name="Ying Yang" userId="f1527f9b-a873-4aa2-b225-cf8fd3466e0d" providerId="ADAL" clId="{A30A5C05-46CF-4F03-AB5B-503FD66274CE}" dt="2022-06-13T08:50:13.320" v="5231" actId="478"/>
          <ac:spMkLst>
            <pc:docMk/>
            <pc:sldMk cId="1945758879" sldId="2145705757"/>
            <ac:spMk id="144" creationId="{863F6612-16FA-4AD7-B1BC-40AE65823F05}"/>
          </ac:spMkLst>
        </pc:spChg>
        <pc:spChg chg="del mod">
          <ac:chgData name="Ying Yang" userId="f1527f9b-a873-4aa2-b225-cf8fd3466e0d" providerId="ADAL" clId="{A30A5C05-46CF-4F03-AB5B-503FD66274CE}" dt="2022-06-13T08:50:14.413" v="5232" actId="478"/>
          <ac:spMkLst>
            <pc:docMk/>
            <pc:sldMk cId="1945758879" sldId="2145705757"/>
            <ac:spMk id="146" creationId="{17DD2D87-1C7D-4210-B8FB-1F21E31EE3F9}"/>
          </ac:spMkLst>
        </pc:spChg>
        <pc:spChg chg="del">
          <ac:chgData name="Ying Yang" userId="f1527f9b-a873-4aa2-b225-cf8fd3466e0d" providerId="ADAL" clId="{A30A5C05-46CF-4F03-AB5B-503FD66274CE}" dt="2022-06-13T08:46:09.377" v="5109" actId="478"/>
          <ac:spMkLst>
            <pc:docMk/>
            <pc:sldMk cId="1945758879" sldId="2145705757"/>
            <ac:spMk id="157" creationId="{16BDE82B-3A6A-46E2-9FE5-C44477D9F793}"/>
          </ac:spMkLst>
        </pc:spChg>
        <pc:spChg chg="add del mod">
          <ac:chgData name="Ying Yang" userId="f1527f9b-a873-4aa2-b225-cf8fd3466e0d" providerId="ADAL" clId="{A30A5C05-46CF-4F03-AB5B-503FD66274CE}" dt="2022-06-13T08:56:33.512" v="5341" actId="478"/>
          <ac:spMkLst>
            <pc:docMk/>
            <pc:sldMk cId="1945758879" sldId="2145705757"/>
            <ac:spMk id="158" creationId="{182BF8DC-9A30-4409-BF74-194D0956E4DF}"/>
          </ac:spMkLst>
        </pc:spChg>
        <pc:spChg chg="add mod">
          <ac:chgData name="Ying Yang" userId="f1527f9b-a873-4aa2-b225-cf8fd3466e0d" providerId="ADAL" clId="{A30A5C05-46CF-4F03-AB5B-503FD66274CE}" dt="2022-06-13T08:58:00.178" v="5362" actId="1076"/>
          <ac:spMkLst>
            <pc:docMk/>
            <pc:sldMk cId="1945758879" sldId="2145705757"/>
            <ac:spMk id="159" creationId="{DEA34306-0ED8-4338-B34C-D2F137CAD488}"/>
          </ac:spMkLst>
        </pc:spChg>
        <pc:spChg chg="add mod">
          <ac:chgData name="Ying Yang" userId="f1527f9b-a873-4aa2-b225-cf8fd3466e0d" providerId="ADAL" clId="{A30A5C05-46CF-4F03-AB5B-503FD66274CE}" dt="2022-06-13T08:58:00.178" v="5362" actId="1076"/>
          <ac:spMkLst>
            <pc:docMk/>
            <pc:sldMk cId="1945758879" sldId="2145705757"/>
            <ac:spMk id="160" creationId="{7742F93E-E442-4043-8C1D-6357974E048B}"/>
          </ac:spMkLst>
        </pc:spChg>
        <pc:spChg chg="add del mod">
          <ac:chgData name="Ying Yang" userId="f1527f9b-a873-4aa2-b225-cf8fd3466e0d" providerId="ADAL" clId="{A30A5C05-46CF-4F03-AB5B-503FD66274CE}" dt="2022-06-13T08:56:30.584" v="5339" actId="478"/>
          <ac:spMkLst>
            <pc:docMk/>
            <pc:sldMk cId="1945758879" sldId="2145705757"/>
            <ac:spMk id="161" creationId="{E0E87E7B-4B0B-4D1B-836D-E7A672289A9A}"/>
          </ac:spMkLst>
        </pc:spChg>
        <pc:spChg chg="add del mod">
          <ac:chgData name="Ying Yang" userId="f1527f9b-a873-4aa2-b225-cf8fd3466e0d" providerId="ADAL" clId="{A30A5C05-46CF-4F03-AB5B-503FD66274CE}" dt="2022-06-13T08:56:39.357" v="5343" actId="478"/>
          <ac:spMkLst>
            <pc:docMk/>
            <pc:sldMk cId="1945758879" sldId="2145705757"/>
            <ac:spMk id="162" creationId="{558C5735-25D4-45A5-B0BD-AF8AFF68DFA6}"/>
          </ac:spMkLst>
        </pc:spChg>
        <pc:spChg chg="add del mod">
          <ac:chgData name="Ying Yang" userId="f1527f9b-a873-4aa2-b225-cf8fd3466e0d" providerId="ADAL" clId="{A30A5C05-46CF-4F03-AB5B-503FD66274CE}" dt="2022-06-13T08:50:58.684" v="5256" actId="478"/>
          <ac:spMkLst>
            <pc:docMk/>
            <pc:sldMk cId="1945758879" sldId="2145705757"/>
            <ac:spMk id="163" creationId="{2FD9A1AC-CCAB-4DC8-984B-6BF7E3706F1E}"/>
          </ac:spMkLst>
        </pc:spChg>
        <pc:spChg chg="add mod">
          <ac:chgData name="Ying Yang" userId="f1527f9b-a873-4aa2-b225-cf8fd3466e0d" providerId="ADAL" clId="{A30A5C05-46CF-4F03-AB5B-503FD66274CE}" dt="2022-06-13T08:58:00.178" v="5362" actId="1076"/>
          <ac:spMkLst>
            <pc:docMk/>
            <pc:sldMk cId="1945758879" sldId="2145705757"/>
            <ac:spMk id="164" creationId="{FFF4AB03-0EA2-4929-8930-B7E43DB375A3}"/>
          </ac:spMkLst>
        </pc:spChg>
        <pc:spChg chg="add mod">
          <ac:chgData name="Ying Yang" userId="f1527f9b-a873-4aa2-b225-cf8fd3466e0d" providerId="ADAL" clId="{A30A5C05-46CF-4F03-AB5B-503FD66274CE}" dt="2022-06-13T08:58:00.178" v="5362" actId="1076"/>
          <ac:spMkLst>
            <pc:docMk/>
            <pc:sldMk cId="1945758879" sldId="2145705757"/>
            <ac:spMk id="165" creationId="{A780F9B3-BC26-4E57-A525-765716B1613B}"/>
          </ac:spMkLst>
        </pc:spChg>
        <pc:spChg chg="add del mod">
          <ac:chgData name="Ying Yang" userId="f1527f9b-a873-4aa2-b225-cf8fd3466e0d" providerId="ADAL" clId="{A30A5C05-46CF-4F03-AB5B-503FD66274CE}" dt="2022-06-13T08:55:26.843" v="5323" actId="478"/>
          <ac:spMkLst>
            <pc:docMk/>
            <pc:sldMk cId="1945758879" sldId="2145705757"/>
            <ac:spMk id="166" creationId="{5517FAB7-BAB5-41AC-B92B-23C4B3195B1B}"/>
          </ac:spMkLst>
        </pc:spChg>
        <pc:spChg chg="mod">
          <ac:chgData name="Ying Yang" userId="f1527f9b-a873-4aa2-b225-cf8fd3466e0d" providerId="ADAL" clId="{A30A5C05-46CF-4F03-AB5B-503FD66274CE}" dt="2022-06-13T08:55:10.089" v="5318"/>
          <ac:spMkLst>
            <pc:docMk/>
            <pc:sldMk cId="1945758879" sldId="2145705757"/>
            <ac:spMk id="168" creationId="{2A1CD6D2-76A0-44C9-8ED7-1C43DCC16291}"/>
          </ac:spMkLst>
        </pc:spChg>
        <pc:spChg chg="mod">
          <ac:chgData name="Ying Yang" userId="f1527f9b-a873-4aa2-b225-cf8fd3466e0d" providerId="ADAL" clId="{A30A5C05-46CF-4F03-AB5B-503FD66274CE}" dt="2022-06-13T08:57:53.186" v="5361" actId="108"/>
          <ac:spMkLst>
            <pc:docMk/>
            <pc:sldMk cId="1945758879" sldId="2145705757"/>
            <ac:spMk id="169" creationId="{9BBF7D08-1753-4A46-BBF0-276EC8C03B38}"/>
          </ac:spMkLst>
        </pc:spChg>
        <pc:spChg chg="add mod">
          <ac:chgData name="Ying Yang" userId="f1527f9b-a873-4aa2-b225-cf8fd3466e0d" providerId="ADAL" clId="{A30A5C05-46CF-4F03-AB5B-503FD66274CE}" dt="2022-06-13T08:59:45.182" v="5388" actId="13822"/>
          <ac:spMkLst>
            <pc:docMk/>
            <pc:sldMk cId="1945758879" sldId="2145705757"/>
            <ac:spMk id="170" creationId="{8B522761-385C-44B4-A02E-7F07F1FDF3FD}"/>
          </ac:spMkLst>
        </pc:spChg>
        <pc:spChg chg="add del mod">
          <ac:chgData name="Ying Yang" userId="f1527f9b-a873-4aa2-b225-cf8fd3466e0d" providerId="ADAL" clId="{A30A5C05-46CF-4F03-AB5B-503FD66274CE}" dt="2022-06-13T08:58:32.813" v="5368" actId="478"/>
          <ac:spMkLst>
            <pc:docMk/>
            <pc:sldMk cId="1945758879" sldId="2145705757"/>
            <ac:spMk id="171" creationId="{A43DE705-96DC-42CA-893C-7753062ED54B}"/>
          </ac:spMkLst>
        </pc:spChg>
        <pc:spChg chg="add mod">
          <ac:chgData name="Ying Yang" userId="f1527f9b-a873-4aa2-b225-cf8fd3466e0d" providerId="ADAL" clId="{A30A5C05-46CF-4F03-AB5B-503FD66274CE}" dt="2022-06-13T08:59:45.182" v="5388" actId="13822"/>
          <ac:spMkLst>
            <pc:docMk/>
            <pc:sldMk cId="1945758879" sldId="2145705757"/>
            <ac:spMk id="172" creationId="{82C84DF6-4BA8-42A1-9E41-CBE39A137961}"/>
          </ac:spMkLst>
        </pc:spChg>
        <pc:spChg chg="add mod">
          <ac:chgData name="Ying Yang" userId="f1527f9b-a873-4aa2-b225-cf8fd3466e0d" providerId="ADAL" clId="{A30A5C05-46CF-4F03-AB5B-503FD66274CE}" dt="2022-06-13T08:59:45.182" v="5388" actId="13822"/>
          <ac:spMkLst>
            <pc:docMk/>
            <pc:sldMk cId="1945758879" sldId="2145705757"/>
            <ac:spMk id="173" creationId="{DD2E10F9-B33A-47E3-92D1-92C5341BB43D}"/>
          </ac:spMkLst>
        </pc:spChg>
        <pc:spChg chg="add mod">
          <ac:chgData name="Ying Yang" userId="f1527f9b-a873-4aa2-b225-cf8fd3466e0d" providerId="ADAL" clId="{A30A5C05-46CF-4F03-AB5B-503FD66274CE}" dt="2022-06-13T08:59:45.182" v="5388" actId="13822"/>
          <ac:spMkLst>
            <pc:docMk/>
            <pc:sldMk cId="1945758879" sldId="2145705757"/>
            <ac:spMk id="174" creationId="{D4139901-5029-4D28-B433-59A158A477C0}"/>
          </ac:spMkLst>
        </pc:spChg>
        <pc:grpChg chg="add del mod">
          <ac:chgData name="Ying Yang" userId="f1527f9b-a873-4aa2-b225-cf8fd3466e0d" providerId="ADAL" clId="{A30A5C05-46CF-4F03-AB5B-503FD66274CE}" dt="2022-06-13T08:56:40.864" v="5344" actId="478"/>
          <ac:grpSpMkLst>
            <pc:docMk/>
            <pc:sldMk cId="1945758879" sldId="2145705757"/>
            <ac:grpSpMk id="4" creationId="{EF110CB7-32FB-4B74-857A-852BF4B72CB3}"/>
          </ac:grpSpMkLst>
        </pc:grpChg>
        <pc:grpChg chg="add mod">
          <ac:chgData name="Ying Yang" userId="f1527f9b-a873-4aa2-b225-cf8fd3466e0d" providerId="ADAL" clId="{A30A5C05-46CF-4F03-AB5B-503FD66274CE}" dt="2022-06-13T08:58:00.178" v="5362" actId="1076"/>
          <ac:grpSpMkLst>
            <pc:docMk/>
            <pc:sldMk cId="1945758879" sldId="2145705757"/>
            <ac:grpSpMk id="5" creationId="{F0A7E7DE-F970-4EFC-AD17-C924DB5610CC}"/>
          </ac:grpSpMkLst>
        </pc:grpChg>
        <pc:grpChg chg="add mod">
          <ac:chgData name="Ying Yang" userId="f1527f9b-a873-4aa2-b225-cf8fd3466e0d" providerId="ADAL" clId="{A30A5C05-46CF-4F03-AB5B-503FD66274CE}" dt="2022-06-13T09:00:52.376" v="5397" actId="164"/>
          <ac:grpSpMkLst>
            <pc:docMk/>
            <pc:sldMk cId="1945758879" sldId="2145705757"/>
            <ac:grpSpMk id="6" creationId="{1A46BAA9-B6B6-4BC3-BA40-54319F7BE4C5}"/>
          </ac:grpSpMkLst>
        </pc:grpChg>
        <pc:grpChg chg="add del mod">
          <ac:chgData name="Ying Yang" userId="f1527f9b-a873-4aa2-b225-cf8fd3466e0d" providerId="ADAL" clId="{A30A5C05-46CF-4F03-AB5B-503FD66274CE}" dt="2022-06-13T08:54:32.798" v="5308" actId="165"/>
          <ac:grpSpMkLst>
            <pc:docMk/>
            <pc:sldMk cId="1945758879" sldId="2145705757"/>
            <ac:grpSpMk id="67" creationId="{9BA3D999-656E-4876-8F8D-0DDC72A5BDCC}"/>
          </ac:grpSpMkLst>
        </pc:grpChg>
        <pc:grpChg chg="mod">
          <ac:chgData name="Ying Yang" userId="f1527f9b-a873-4aa2-b225-cf8fd3466e0d" providerId="ADAL" clId="{A30A5C05-46CF-4F03-AB5B-503FD66274CE}" dt="2022-06-13T09:01:39.811" v="5407" actId="1076"/>
          <ac:grpSpMkLst>
            <pc:docMk/>
            <pc:sldMk cId="1945758879" sldId="2145705757"/>
            <ac:grpSpMk id="88" creationId="{1D45B197-05A6-49E0-A248-F388DEC85F07}"/>
          </ac:grpSpMkLst>
        </pc:grpChg>
        <pc:grpChg chg="mod">
          <ac:chgData name="Ying Yang" userId="f1527f9b-a873-4aa2-b225-cf8fd3466e0d" providerId="ADAL" clId="{A30A5C05-46CF-4F03-AB5B-503FD66274CE}" dt="2022-06-13T09:00:52.376" v="5397" actId="164"/>
          <ac:grpSpMkLst>
            <pc:docMk/>
            <pc:sldMk cId="1945758879" sldId="2145705757"/>
            <ac:grpSpMk id="94" creationId="{EB4D82F1-9D98-4225-82C8-30C18610D65F}"/>
          </ac:grpSpMkLst>
        </pc:grpChg>
        <pc:grpChg chg="mod">
          <ac:chgData name="Ying Yang" userId="f1527f9b-a873-4aa2-b225-cf8fd3466e0d" providerId="ADAL" clId="{A30A5C05-46CF-4F03-AB5B-503FD66274CE}" dt="2022-06-13T09:00:52.376" v="5397" actId="164"/>
          <ac:grpSpMkLst>
            <pc:docMk/>
            <pc:sldMk cId="1945758879" sldId="2145705757"/>
            <ac:grpSpMk id="99" creationId="{E16F5A98-15D4-4204-82B5-0F9E9BD83629}"/>
          </ac:grpSpMkLst>
        </pc:grpChg>
        <pc:grpChg chg="del">
          <ac:chgData name="Ying Yang" userId="f1527f9b-a873-4aa2-b225-cf8fd3466e0d" providerId="ADAL" clId="{A30A5C05-46CF-4F03-AB5B-503FD66274CE}" dt="2022-06-13T08:46:09.377" v="5109" actId="478"/>
          <ac:grpSpMkLst>
            <pc:docMk/>
            <pc:sldMk cId="1945758879" sldId="2145705757"/>
            <ac:grpSpMk id="109" creationId="{AB5E54B9-DED4-422A-9E46-A121B6B9CE11}"/>
          </ac:grpSpMkLst>
        </pc:grpChg>
        <pc:grpChg chg="del">
          <ac:chgData name="Ying Yang" userId="f1527f9b-a873-4aa2-b225-cf8fd3466e0d" providerId="ADAL" clId="{A30A5C05-46CF-4F03-AB5B-503FD66274CE}" dt="2022-06-13T08:46:09.377" v="5109" actId="478"/>
          <ac:grpSpMkLst>
            <pc:docMk/>
            <pc:sldMk cId="1945758879" sldId="2145705757"/>
            <ac:grpSpMk id="142" creationId="{E8DCC272-13C8-4714-B1A0-6F8E37308ADE}"/>
          </ac:grpSpMkLst>
        </pc:grpChg>
        <pc:grpChg chg="del">
          <ac:chgData name="Ying Yang" userId="f1527f9b-a873-4aa2-b225-cf8fd3466e0d" providerId="ADAL" clId="{A30A5C05-46CF-4F03-AB5B-503FD66274CE}" dt="2022-06-13T08:46:09.377" v="5109" actId="478"/>
          <ac:grpSpMkLst>
            <pc:docMk/>
            <pc:sldMk cId="1945758879" sldId="2145705757"/>
            <ac:grpSpMk id="149" creationId="{B1E6DBD4-4F8E-4196-AF08-BBD379F25462}"/>
          </ac:grpSpMkLst>
        </pc:grpChg>
        <pc:grpChg chg="add mod">
          <ac:chgData name="Ying Yang" userId="f1527f9b-a873-4aa2-b225-cf8fd3466e0d" providerId="ADAL" clId="{A30A5C05-46CF-4F03-AB5B-503FD66274CE}" dt="2022-06-13T08:58:00.178" v="5362" actId="1076"/>
          <ac:grpSpMkLst>
            <pc:docMk/>
            <pc:sldMk cId="1945758879" sldId="2145705757"/>
            <ac:grpSpMk id="167" creationId="{BFC3E310-D19A-4E7C-A146-90F8EF190A3E}"/>
          </ac:grpSpMkLst>
        </pc:grpChg>
        <pc:cxnChg chg="mod topLvl">
          <ac:chgData name="Ying Yang" userId="f1527f9b-a873-4aa2-b225-cf8fd3466e0d" providerId="ADAL" clId="{A30A5C05-46CF-4F03-AB5B-503FD66274CE}" dt="2022-06-13T08:58:00.178" v="5362" actId="1076"/>
          <ac:cxnSpMkLst>
            <pc:docMk/>
            <pc:sldMk cId="1945758879" sldId="2145705757"/>
            <ac:cxnSpMk id="68" creationId="{96A4BAAF-86C8-4039-A9CB-81C510846A82}"/>
          </ac:cxnSpMkLst>
        </pc:cxnChg>
      </pc:sldChg>
      <pc:sldChg chg="addSp delSp modSp new mod ord">
        <pc:chgData name="Ying Yang" userId="f1527f9b-a873-4aa2-b225-cf8fd3466e0d" providerId="ADAL" clId="{A30A5C05-46CF-4F03-AB5B-503FD66274CE}" dt="2022-06-13T09:51:15.894" v="6264" actId="14100"/>
        <pc:sldMkLst>
          <pc:docMk/>
          <pc:sldMk cId="2240463748" sldId="2145705758"/>
        </pc:sldMkLst>
        <pc:spChg chg="del">
          <ac:chgData name="Ying Yang" userId="f1527f9b-a873-4aa2-b225-cf8fd3466e0d" providerId="ADAL" clId="{A30A5C05-46CF-4F03-AB5B-503FD66274CE}" dt="2022-06-13T09:00:57.861" v="5399" actId="478"/>
          <ac:spMkLst>
            <pc:docMk/>
            <pc:sldMk cId="2240463748" sldId="2145705758"/>
            <ac:spMk id="2" creationId="{D2E125F4-A42A-46B9-BF2E-32D9871517A7}"/>
          </ac:spMkLst>
        </pc:spChg>
        <pc:spChg chg="mod">
          <ac:chgData name="Ying Yang" userId="f1527f9b-a873-4aa2-b225-cf8fd3466e0d" providerId="ADAL" clId="{A30A5C05-46CF-4F03-AB5B-503FD66274CE}" dt="2022-06-13T09:00:54.162" v="5398"/>
          <ac:spMkLst>
            <pc:docMk/>
            <pc:sldMk cId="2240463748" sldId="2145705758"/>
            <ac:spMk id="6" creationId="{C5B08D10-903E-45B4-A397-4C96AAAB6518}"/>
          </ac:spMkLst>
        </pc:spChg>
        <pc:spChg chg="mod">
          <ac:chgData name="Ying Yang" userId="f1527f9b-a873-4aa2-b225-cf8fd3466e0d" providerId="ADAL" clId="{A30A5C05-46CF-4F03-AB5B-503FD66274CE}" dt="2022-06-13T09:00:54.162" v="5398"/>
          <ac:spMkLst>
            <pc:docMk/>
            <pc:sldMk cId="2240463748" sldId="2145705758"/>
            <ac:spMk id="8" creationId="{B9AF3332-CB3E-490A-A494-B9F7DB9B44F1}"/>
          </ac:spMkLst>
        </pc:spChg>
        <pc:spChg chg="mod">
          <ac:chgData name="Ying Yang" userId="f1527f9b-a873-4aa2-b225-cf8fd3466e0d" providerId="ADAL" clId="{A30A5C05-46CF-4F03-AB5B-503FD66274CE}" dt="2022-06-13T09:10:43.064" v="5596" actId="207"/>
          <ac:spMkLst>
            <pc:docMk/>
            <pc:sldMk cId="2240463748" sldId="2145705758"/>
            <ac:spMk id="9" creationId="{4A2CE596-0194-434F-BC54-1C639626CF5E}"/>
          </ac:spMkLst>
        </pc:spChg>
        <pc:spChg chg="mod">
          <ac:chgData name="Ying Yang" userId="f1527f9b-a873-4aa2-b225-cf8fd3466e0d" providerId="ADAL" clId="{A30A5C05-46CF-4F03-AB5B-503FD66274CE}" dt="2022-06-13T09:10:39.133" v="5594" actId="208"/>
          <ac:spMkLst>
            <pc:docMk/>
            <pc:sldMk cId="2240463748" sldId="2145705758"/>
            <ac:spMk id="11" creationId="{04D78F9C-7966-4404-9609-A15ACE123E4F}"/>
          </ac:spMkLst>
        </pc:spChg>
        <pc:spChg chg="mod">
          <ac:chgData name="Ying Yang" userId="f1527f9b-a873-4aa2-b225-cf8fd3466e0d" providerId="ADAL" clId="{A30A5C05-46CF-4F03-AB5B-503FD66274CE}" dt="2022-06-13T09:00:54.162" v="5398"/>
          <ac:spMkLst>
            <pc:docMk/>
            <pc:sldMk cId="2240463748" sldId="2145705758"/>
            <ac:spMk id="12" creationId="{1A34DA87-EF1B-488D-B6C6-412E339738CB}"/>
          </ac:spMkLst>
        </pc:spChg>
        <pc:spChg chg="mod">
          <ac:chgData name="Ying Yang" userId="f1527f9b-a873-4aa2-b225-cf8fd3466e0d" providerId="ADAL" clId="{A30A5C05-46CF-4F03-AB5B-503FD66274CE}" dt="2022-06-13T09:00:54.162" v="5398"/>
          <ac:spMkLst>
            <pc:docMk/>
            <pc:sldMk cId="2240463748" sldId="2145705758"/>
            <ac:spMk id="13" creationId="{AE8CFFC0-C13B-46F1-B762-4A78219B1C17}"/>
          </ac:spMkLst>
        </pc:spChg>
        <pc:spChg chg="mod">
          <ac:chgData name="Ying Yang" userId="f1527f9b-a873-4aa2-b225-cf8fd3466e0d" providerId="ADAL" clId="{A30A5C05-46CF-4F03-AB5B-503FD66274CE}" dt="2022-06-13T09:00:54.162" v="5398"/>
          <ac:spMkLst>
            <pc:docMk/>
            <pc:sldMk cId="2240463748" sldId="2145705758"/>
            <ac:spMk id="18" creationId="{C4E5967D-339B-4581-B938-B7681D62D49A}"/>
          </ac:spMkLst>
        </pc:spChg>
        <pc:spChg chg="mod">
          <ac:chgData name="Ying Yang" userId="f1527f9b-a873-4aa2-b225-cf8fd3466e0d" providerId="ADAL" clId="{A30A5C05-46CF-4F03-AB5B-503FD66274CE}" dt="2022-06-13T09:00:54.162" v="5398"/>
          <ac:spMkLst>
            <pc:docMk/>
            <pc:sldMk cId="2240463748" sldId="2145705758"/>
            <ac:spMk id="19" creationId="{50EC48FA-5CB7-4201-968C-745372561898}"/>
          </ac:spMkLst>
        </pc:spChg>
        <pc:spChg chg="mod">
          <ac:chgData name="Ying Yang" userId="f1527f9b-a873-4aa2-b225-cf8fd3466e0d" providerId="ADAL" clId="{A30A5C05-46CF-4F03-AB5B-503FD66274CE}" dt="2022-06-13T09:02:43.422" v="5448" actId="20577"/>
          <ac:spMkLst>
            <pc:docMk/>
            <pc:sldMk cId="2240463748" sldId="2145705758"/>
            <ac:spMk id="21" creationId="{E556C82F-FADB-4207-939C-B7F38A821A55}"/>
          </ac:spMkLst>
        </pc:spChg>
        <pc:spChg chg="add mod">
          <ac:chgData name="Ying Yang" userId="f1527f9b-a873-4aa2-b225-cf8fd3466e0d" providerId="ADAL" clId="{A30A5C05-46CF-4F03-AB5B-503FD66274CE}" dt="2022-06-13T09:08:26.954" v="5582" actId="1076"/>
          <ac:spMkLst>
            <pc:docMk/>
            <pc:sldMk cId="2240463748" sldId="2145705758"/>
            <ac:spMk id="23" creationId="{A88C1346-FE22-4058-B6BC-693203FE9668}"/>
          </ac:spMkLst>
        </pc:spChg>
        <pc:spChg chg="add mod">
          <ac:chgData name="Ying Yang" userId="f1527f9b-a873-4aa2-b225-cf8fd3466e0d" providerId="ADAL" clId="{A30A5C05-46CF-4F03-AB5B-503FD66274CE}" dt="2022-06-13T09:50:50.150" v="6257" actId="1076"/>
          <ac:spMkLst>
            <pc:docMk/>
            <pc:sldMk cId="2240463748" sldId="2145705758"/>
            <ac:spMk id="25" creationId="{F133CE29-31FA-427D-980B-12972239895E}"/>
          </ac:spMkLst>
        </pc:spChg>
        <pc:spChg chg="add mod">
          <ac:chgData name="Ying Yang" userId="f1527f9b-a873-4aa2-b225-cf8fd3466e0d" providerId="ADAL" clId="{A30A5C05-46CF-4F03-AB5B-503FD66274CE}" dt="2022-06-13T09:09:03.427" v="5590" actId="404"/>
          <ac:spMkLst>
            <pc:docMk/>
            <pc:sldMk cId="2240463748" sldId="2145705758"/>
            <ac:spMk id="26" creationId="{EC8127FD-DE37-4AE4-8A86-C285909BDD79}"/>
          </ac:spMkLst>
        </pc:spChg>
        <pc:spChg chg="add del mod">
          <ac:chgData name="Ying Yang" userId="f1527f9b-a873-4aa2-b225-cf8fd3466e0d" providerId="ADAL" clId="{A30A5C05-46CF-4F03-AB5B-503FD66274CE}" dt="2022-06-13T09:51:06.336" v="6260" actId="478"/>
          <ac:spMkLst>
            <pc:docMk/>
            <pc:sldMk cId="2240463748" sldId="2145705758"/>
            <ac:spMk id="27" creationId="{8A0E70AC-43F7-4D44-BDB4-DB6A7BBB1E6D}"/>
          </ac:spMkLst>
        </pc:spChg>
        <pc:spChg chg="add mod ord">
          <ac:chgData name="Ying Yang" userId="f1527f9b-a873-4aa2-b225-cf8fd3466e0d" providerId="ADAL" clId="{A30A5C05-46CF-4F03-AB5B-503FD66274CE}" dt="2022-06-13T09:08:30.137" v="5583" actId="14100"/>
          <ac:spMkLst>
            <pc:docMk/>
            <pc:sldMk cId="2240463748" sldId="2145705758"/>
            <ac:spMk id="28" creationId="{9E23200E-0065-400D-87CB-001514BEFB5A}"/>
          </ac:spMkLst>
        </pc:spChg>
        <pc:spChg chg="add del mod">
          <ac:chgData name="Ying Yang" userId="f1527f9b-a873-4aa2-b225-cf8fd3466e0d" providerId="ADAL" clId="{A30A5C05-46CF-4F03-AB5B-503FD66274CE}" dt="2022-06-13T09:07:13.063" v="5563"/>
          <ac:spMkLst>
            <pc:docMk/>
            <pc:sldMk cId="2240463748" sldId="2145705758"/>
            <ac:spMk id="30" creationId="{A5A61801-4E7B-44FE-B3AD-AECDDF20295D}"/>
          </ac:spMkLst>
        </pc:spChg>
        <pc:spChg chg="add mod">
          <ac:chgData name="Ying Yang" userId="f1527f9b-a873-4aa2-b225-cf8fd3466e0d" providerId="ADAL" clId="{A30A5C05-46CF-4F03-AB5B-503FD66274CE}" dt="2022-06-13T09:08:40.427" v="5586" actId="1076"/>
          <ac:spMkLst>
            <pc:docMk/>
            <pc:sldMk cId="2240463748" sldId="2145705758"/>
            <ac:spMk id="38" creationId="{04042755-39E3-4AAA-A42B-C9CB28142C6F}"/>
          </ac:spMkLst>
        </pc:spChg>
        <pc:spChg chg="add mod ord">
          <ac:chgData name="Ying Yang" userId="f1527f9b-a873-4aa2-b225-cf8fd3466e0d" providerId="ADAL" clId="{A30A5C05-46CF-4F03-AB5B-503FD66274CE}" dt="2022-06-13T09:49:45.017" v="6247" actId="167"/>
          <ac:spMkLst>
            <pc:docMk/>
            <pc:sldMk cId="2240463748" sldId="2145705758"/>
            <ac:spMk id="43" creationId="{C13419E0-7FE2-4FCA-8774-DFAD4D112C10}"/>
          </ac:spMkLst>
        </pc:spChg>
        <pc:spChg chg="add mod">
          <ac:chgData name="Ying Yang" userId="f1527f9b-a873-4aa2-b225-cf8fd3466e0d" providerId="ADAL" clId="{A30A5C05-46CF-4F03-AB5B-503FD66274CE}" dt="2022-06-13T09:51:15.894" v="6264" actId="14100"/>
          <ac:spMkLst>
            <pc:docMk/>
            <pc:sldMk cId="2240463748" sldId="2145705758"/>
            <ac:spMk id="44" creationId="{A02AED31-E864-496E-82CC-E2B8326A1A2D}"/>
          </ac:spMkLst>
        </pc:spChg>
        <pc:grpChg chg="add mod">
          <ac:chgData name="Ying Yang" userId="f1527f9b-a873-4aa2-b225-cf8fd3466e0d" providerId="ADAL" clId="{A30A5C05-46CF-4F03-AB5B-503FD66274CE}" dt="2022-06-13T09:01:33.091" v="5406" actId="1076"/>
          <ac:grpSpMkLst>
            <pc:docMk/>
            <pc:sldMk cId="2240463748" sldId="2145705758"/>
            <ac:grpSpMk id="3" creationId="{7B6644FD-A773-455F-9B74-8C99A1614F48}"/>
          </ac:grpSpMkLst>
        </pc:grpChg>
        <pc:grpChg chg="mod">
          <ac:chgData name="Ying Yang" userId="f1527f9b-a873-4aa2-b225-cf8fd3466e0d" providerId="ADAL" clId="{A30A5C05-46CF-4F03-AB5B-503FD66274CE}" dt="2022-06-13T09:00:54.162" v="5398"/>
          <ac:grpSpMkLst>
            <pc:docMk/>
            <pc:sldMk cId="2240463748" sldId="2145705758"/>
            <ac:grpSpMk id="4" creationId="{E508A342-2601-4370-8004-50576F6E4632}"/>
          </ac:grpSpMkLst>
        </pc:grpChg>
        <pc:grpChg chg="mod">
          <ac:chgData name="Ying Yang" userId="f1527f9b-a873-4aa2-b225-cf8fd3466e0d" providerId="ADAL" clId="{A30A5C05-46CF-4F03-AB5B-503FD66274CE}" dt="2022-06-13T09:00:54.162" v="5398"/>
          <ac:grpSpMkLst>
            <pc:docMk/>
            <pc:sldMk cId="2240463748" sldId="2145705758"/>
            <ac:grpSpMk id="5" creationId="{F7CFB149-4D55-41B2-948E-CBDDE170D1F8}"/>
          </ac:grpSpMkLst>
        </pc:grpChg>
        <pc:grpChg chg="mod">
          <ac:chgData name="Ying Yang" userId="f1527f9b-a873-4aa2-b225-cf8fd3466e0d" providerId="ADAL" clId="{A30A5C05-46CF-4F03-AB5B-503FD66274CE}" dt="2022-06-13T09:00:54.162" v="5398"/>
          <ac:grpSpMkLst>
            <pc:docMk/>
            <pc:sldMk cId="2240463748" sldId="2145705758"/>
            <ac:grpSpMk id="7" creationId="{6182070C-D668-4885-B5BE-956F53F8C904}"/>
          </ac:grpSpMkLst>
        </pc:grpChg>
        <pc:grpChg chg="mod">
          <ac:chgData name="Ying Yang" userId="f1527f9b-a873-4aa2-b225-cf8fd3466e0d" providerId="ADAL" clId="{A30A5C05-46CF-4F03-AB5B-503FD66274CE}" dt="2022-06-13T09:00:54.162" v="5398"/>
          <ac:grpSpMkLst>
            <pc:docMk/>
            <pc:sldMk cId="2240463748" sldId="2145705758"/>
            <ac:grpSpMk id="10" creationId="{DE561708-32BE-497C-B781-139A71CE80E3}"/>
          </ac:grpSpMkLst>
        </pc:grpChg>
        <pc:grpChg chg="mod">
          <ac:chgData name="Ying Yang" userId="f1527f9b-a873-4aa2-b225-cf8fd3466e0d" providerId="ADAL" clId="{A30A5C05-46CF-4F03-AB5B-503FD66274CE}" dt="2022-06-13T09:00:54.162" v="5398"/>
          <ac:grpSpMkLst>
            <pc:docMk/>
            <pc:sldMk cId="2240463748" sldId="2145705758"/>
            <ac:grpSpMk id="14" creationId="{3CBBD8A2-DE3E-4ADD-9CED-B4938FF99EE1}"/>
          </ac:grpSpMkLst>
        </pc:grpChg>
        <pc:grpChg chg="mod">
          <ac:chgData name="Ying Yang" userId="f1527f9b-a873-4aa2-b225-cf8fd3466e0d" providerId="ADAL" clId="{A30A5C05-46CF-4F03-AB5B-503FD66274CE}" dt="2022-06-13T09:00:54.162" v="5398"/>
          <ac:grpSpMkLst>
            <pc:docMk/>
            <pc:sldMk cId="2240463748" sldId="2145705758"/>
            <ac:grpSpMk id="15" creationId="{5E983BA8-1E70-418C-ABE7-45CF443CD8BE}"/>
          </ac:grpSpMkLst>
        </pc:grpChg>
        <pc:grpChg chg="add mod">
          <ac:chgData name="Ying Yang" userId="f1527f9b-a873-4aa2-b225-cf8fd3466e0d" providerId="ADAL" clId="{A30A5C05-46CF-4F03-AB5B-503FD66274CE}" dt="2022-06-13T09:01:41.797" v="5408"/>
          <ac:grpSpMkLst>
            <pc:docMk/>
            <pc:sldMk cId="2240463748" sldId="2145705758"/>
            <ac:grpSpMk id="20" creationId="{5AF15CA7-A55E-41A5-A278-9FD9B21C5707}"/>
          </ac:grpSpMkLst>
        </pc:grpChg>
        <pc:grpChg chg="add mod ord">
          <ac:chgData name="Ying Yang" userId="f1527f9b-a873-4aa2-b225-cf8fd3466e0d" providerId="ADAL" clId="{A30A5C05-46CF-4F03-AB5B-503FD66274CE}" dt="2022-06-13T09:08:38.636" v="5585" actId="14100"/>
          <ac:grpSpMkLst>
            <pc:docMk/>
            <pc:sldMk cId="2240463748" sldId="2145705758"/>
            <ac:grpSpMk id="31" creationId="{4538A0F5-9C54-4693-AB3C-ECC3EF79EB71}"/>
          </ac:grpSpMkLst>
        </pc:grpChg>
        <pc:grpChg chg="mod">
          <ac:chgData name="Ying Yang" userId="f1527f9b-a873-4aa2-b225-cf8fd3466e0d" providerId="ADAL" clId="{A30A5C05-46CF-4F03-AB5B-503FD66274CE}" dt="2022-06-13T09:06:44.836" v="5549"/>
          <ac:grpSpMkLst>
            <pc:docMk/>
            <pc:sldMk cId="2240463748" sldId="2145705758"/>
            <ac:grpSpMk id="32" creationId="{FE7DFD31-DC63-4259-9CF0-3DB5EF65B800}"/>
          </ac:grpSpMkLst>
        </pc:grpChg>
        <pc:grpChg chg="mod">
          <ac:chgData name="Ying Yang" userId="f1527f9b-a873-4aa2-b225-cf8fd3466e0d" providerId="ADAL" clId="{A30A5C05-46CF-4F03-AB5B-503FD66274CE}" dt="2022-06-13T09:06:44.836" v="5549"/>
          <ac:grpSpMkLst>
            <pc:docMk/>
            <pc:sldMk cId="2240463748" sldId="2145705758"/>
            <ac:grpSpMk id="33" creationId="{AC66D62F-EE70-4C16-B583-9F02F9C741E9}"/>
          </ac:grpSpMkLst>
        </pc:grpChg>
        <pc:graphicFrameChg chg="add del mod modGraphic">
          <ac:chgData name="Ying Yang" userId="f1527f9b-a873-4aa2-b225-cf8fd3466e0d" providerId="ADAL" clId="{A30A5C05-46CF-4F03-AB5B-503FD66274CE}" dt="2022-06-13T09:51:03.652" v="6259" actId="478"/>
          <ac:graphicFrameMkLst>
            <pc:docMk/>
            <pc:sldMk cId="2240463748" sldId="2145705758"/>
            <ac:graphicFrameMk id="24" creationId="{8F8C37A9-DF68-484D-B280-7A01A6C429EA}"/>
          </ac:graphicFrameMkLst>
        </pc:graphicFrameChg>
        <pc:graphicFrameChg chg="add del mod">
          <ac:chgData name="Ying Yang" userId="f1527f9b-a873-4aa2-b225-cf8fd3466e0d" providerId="ADAL" clId="{A30A5C05-46CF-4F03-AB5B-503FD66274CE}" dt="2022-06-13T09:46:48.667" v="6224"/>
          <ac:graphicFrameMkLst>
            <pc:docMk/>
            <pc:sldMk cId="2240463748" sldId="2145705758"/>
            <ac:graphicFrameMk id="39" creationId="{56E7AC17-D2EE-423E-BD66-926B45E6F6FF}"/>
          </ac:graphicFrameMkLst>
        </pc:graphicFrameChg>
        <pc:graphicFrameChg chg="add del mod">
          <ac:chgData name="Ying Yang" userId="f1527f9b-a873-4aa2-b225-cf8fd3466e0d" providerId="ADAL" clId="{A30A5C05-46CF-4F03-AB5B-503FD66274CE}" dt="2022-06-13T09:47:30.019" v="6233" actId="478"/>
          <ac:graphicFrameMkLst>
            <pc:docMk/>
            <pc:sldMk cId="2240463748" sldId="2145705758"/>
            <ac:graphicFrameMk id="40" creationId="{7F5D2573-C9FD-46AD-A933-FD472A7EA309}"/>
          </ac:graphicFrameMkLst>
        </pc:graphicFrameChg>
        <pc:graphicFrameChg chg="add del mod">
          <ac:chgData name="Ying Yang" userId="f1527f9b-a873-4aa2-b225-cf8fd3466e0d" providerId="ADAL" clId="{A30A5C05-46CF-4F03-AB5B-503FD66274CE}" dt="2022-06-13T09:47:15.082" v="6230"/>
          <ac:graphicFrameMkLst>
            <pc:docMk/>
            <pc:sldMk cId="2240463748" sldId="2145705758"/>
            <ac:graphicFrameMk id="41" creationId="{09C07AEA-25F2-46E0-B5DF-63804818DC6E}"/>
          </ac:graphicFrameMkLst>
        </pc:graphicFrameChg>
        <pc:graphicFrameChg chg="add del mod">
          <ac:chgData name="Ying Yang" userId="f1527f9b-a873-4aa2-b225-cf8fd3466e0d" providerId="ADAL" clId="{A30A5C05-46CF-4F03-AB5B-503FD66274CE}" dt="2022-06-13T09:47:31.822" v="6234" actId="478"/>
          <ac:graphicFrameMkLst>
            <pc:docMk/>
            <pc:sldMk cId="2240463748" sldId="2145705758"/>
            <ac:graphicFrameMk id="42" creationId="{394D7A38-A9F2-46F7-B24E-0AF71C3BAABA}"/>
          </ac:graphicFrameMkLst>
        </pc:graphicFrameChg>
        <pc:picChg chg="mod">
          <ac:chgData name="Ying Yang" userId="f1527f9b-a873-4aa2-b225-cf8fd3466e0d" providerId="ADAL" clId="{A30A5C05-46CF-4F03-AB5B-503FD66274CE}" dt="2022-06-13T09:01:41.797" v="5408"/>
          <ac:picMkLst>
            <pc:docMk/>
            <pc:sldMk cId="2240463748" sldId="2145705758"/>
            <ac:picMk id="22" creationId="{CEE59149-E6BD-47AC-A003-4EA534A5EB7D}"/>
          </ac:picMkLst>
        </pc:picChg>
        <pc:cxnChg chg="mod">
          <ac:chgData name="Ying Yang" userId="f1527f9b-a873-4aa2-b225-cf8fd3466e0d" providerId="ADAL" clId="{A30A5C05-46CF-4F03-AB5B-503FD66274CE}" dt="2022-06-13T09:00:54.162" v="5398"/>
          <ac:cxnSpMkLst>
            <pc:docMk/>
            <pc:sldMk cId="2240463748" sldId="2145705758"/>
            <ac:cxnSpMk id="16" creationId="{5EBEA18F-5E19-4EB8-93D2-6ACA63C54FA7}"/>
          </ac:cxnSpMkLst>
        </pc:cxnChg>
        <pc:cxnChg chg="mod">
          <ac:chgData name="Ying Yang" userId="f1527f9b-a873-4aa2-b225-cf8fd3466e0d" providerId="ADAL" clId="{A30A5C05-46CF-4F03-AB5B-503FD66274CE}" dt="2022-06-13T09:00:54.162" v="5398"/>
          <ac:cxnSpMkLst>
            <pc:docMk/>
            <pc:sldMk cId="2240463748" sldId="2145705758"/>
            <ac:cxnSpMk id="17" creationId="{D93B7A56-0C8F-4608-BA55-037963029E1E}"/>
          </ac:cxnSpMkLst>
        </pc:cxnChg>
        <pc:cxnChg chg="mod">
          <ac:chgData name="Ying Yang" userId="f1527f9b-a873-4aa2-b225-cf8fd3466e0d" providerId="ADAL" clId="{A30A5C05-46CF-4F03-AB5B-503FD66274CE}" dt="2022-06-13T09:06:44.836" v="5549"/>
          <ac:cxnSpMkLst>
            <pc:docMk/>
            <pc:sldMk cId="2240463748" sldId="2145705758"/>
            <ac:cxnSpMk id="34" creationId="{266D11AC-D4EB-4A4B-9D87-F3EEA5370291}"/>
          </ac:cxnSpMkLst>
        </pc:cxnChg>
        <pc:cxnChg chg="mod">
          <ac:chgData name="Ying Yang" userId="f1527f9b-a873-4aa2-b225-cf8fd3466e0d" providerId="ADAL" clId="{A30A5C05-46CF-4F03-AB5B-503FD66274CE}" dt="2022-06-13T09:06:44.836" v="5549"/>
          <ac:cxnSpMkLst>
            <pc:docMk/>
            <pc:sldMk cId="2240463748" sldId="2145705758"/>
            <ac:cxnSpMk id="35" creationId="{BC7B8366-1C3D-4D8E-A619-2DA4835B5A81}"/>
          </ac:cxnSpMkLst>
        </pc:cxnChg>
        <pc:cxnChg chg="mod">
          <ac:chgData name="Ying Yang" userId="f1527f9b-a873-4aa2-b225-cf8fd3466e0d" providerId="ADAL" clId="{A30A5C05-46CF-4F03-AB5B-503FD66274CE}" dt="2022-06-13T09:06:44.836" v="5549"/>
          <ac:cxnSpMkLst>
            <pc:docMk/>
            <pc:sldMk cId="2240463748" sldId="2145705758"/>
            <ac:cxnSpMk id="36" creationId="{0D30D766-C9DB-430E-B0F4-979AC1DC0EAF}"/>
          </ac:cxnSpMkLst>
        </pc:cxnChg>
        <pc:cxnChg chg="mod">
          <ac:chgData name="Ying Yang" userId="f1527f9b-a873-4aa2-b225-cf8fd3466e0d" providerId="ADAL" clId="{A30A5C05-46CF-4F03-AB5B-503FD66274CE}" dt="2022-06-13T09:06:44.836" v="5549"/>
          <ac:cxnSpMkLst>
            <pc:docMk/>
            <pc:sldMk cId="2240463748" sldId="2145705758"/>
            <ac:cxnSpMk id="37" creationId="{14293149-35D6-4309-B6F1-8705FDBD1AC3}"/>
          </ac:cxnSpMkLst>
        </pc:cxnChg>
      </pc:sldChg>
      <pc:sldChg chg="addSp delSp modSp new mod ord">
        <pc:chgData name="Ying Yang" userId="f1527f9b-a873-4aa2-b225-cf8fd3466e0d" providerId="ADAL" clId="{A30A5C05-46CF-4F03-AB5B-503FD66274CE}" dt="2022-06-13T09:40:38.445" v="6117"/>
        <pc:sldMkLst>
          <pc:docMk/>
          <pc:sldMk cId="1619644282" sldId="2145705759"/>
        </pc:sldMkLst>
        <pc:spChg chg="del">
          <ac:chgData name="Ying Yang" userId="f1527f9b-a873-4aa2-b225-cf8fd3466e0d" providerId="ADAL" clId="{A30A5C05-46CF-4F03-AB5B-503FD66274CE}" dt="2022-06-13T09:11:01.280" v="5600" actId="478"/>
          <ac:spMkLst>
            <pc:docMk/>
            <pc:sldMk cId="1619644282" sldId="2145705759"/>
            <ac:spMk id="2" creationId="{81939A2E-FFDB-4397-A17D-66151B66B9E1}"/>
          </ac:spMkLst>
        </pc:spChg>
        <pc:spChg chg="mod">
          <ac:chgData name="Ying Yang" userId="f1527f9b-a873-4aa2-b225-cf8fd3466e0d" providerId="ADAL" clId="{A30A5C05-46CF-4F03-AB5B-503FD66274CE}" dt="2022-06-13T09:10:57.364" v="5599"/>
          <ac:spMkLst>
            <pc:docMk/>
            <pc:sldMk cId="1619644282" sldId="2145705759"/>
            <ac:spMk id="6" creationId="{A6284BA6-838B-4CB8-9C05-A4860EAF0166}"/>
          </ac:spMkLst>
        </pc:spChg>
        <pc:spChg chg="mod">
          <ac:chgData name="Ying Yang" userId="f1527f9b-a873-4aa2-b225-cf8fd3466e0d" providerId="ADAL" clId="{A30A5C05-46CF-4F03-AB5B-503FD66274CE}" dt="2022-06-13T09:11:11.486" v="5605" actId="207"/>
          <ac:spMkLst>
            <pc:docMk/>
            <pc:sldMk cId="1619644282" sldId="2145705759"/>
            <ac:spMk id="8" creationId="{720F3D7E-30B5-401D-80BA-3C0ABE9233DD}"/>
          </ac:spMkLst>
        </pc:spChg>
        <pc:spChg chg="mod">
          <ac:chgData name="Ying Yang" userId="f1527f9b-a873-4aa2-b225-cf8fd3466e0d" providerId="ADAL" clId="{A30A5C05-46CF-4F03-AB5B-503FD66274CE}" dt="2022-06-13T09:11:06.902" v="5602" actId="208"/>
          <ac:spMkLst>
            <pc:docMk/>
            <pc:sldMk cId="1619644282" sldId="2145705759"/>
            <ac:spMk id="9" creationId="{1B108395-B7FA-439B-8FF8-EA9F5A734964}"/>
          </ac:spMkLst>
        </pc:spChg>
        <pc:spChg chg="mod">
          <ac:chgData name="Ying Yang" userId="f1527f9b-a873-4aa2-b225-cf8fd3466e0d" providerId="ADAL" clId="{A30A5C05-46CF-4F03-AB5B-503FD66274CE}" dt="2022-06-13T09:10:57.364" v="5599"/>
          <ac:spMkLst>
            <pc:docMk/>
            <pc:sldMk cId="1619644282" sldId="2145705759"/>
            <ac:spMk id="11" creationId="{670D247E-1D93-4951-82F3-9DAFF4CADCC7}"/>
          </ac:spMkLst>
        </pc:spChg>
        <pc:spChg chg="mod">
          <ac:chgData name="Ying Yang" userId="f1527f9b-a873-4aa2-b225-cf8fd3466e0d" providerId="ADAL" clId="{A30A5C05-46CF-4F03-AB5B-503FD66274CE}" dt="2022-06-13T09:10:57.364" v="5599"/>
          <ac:spMkLst>
            <pc:docMk/>
            <pc:sldMk cId="1619644282" sldId="2145705759"/>
            <ac:spMk id="12" creationId="{1B4B24C5-DABA-402B-A12B-A7C4C75E0E16}"/>
          </ac:spMkLst>
        </pc:spChg>
        <pc:spChg chg="mod">
          <ac:chgData name="Ying Yang" userId="f1527f9b-a873-4aa2-b225-cf8fd3466e0d" providerId="ADAL" clId="{A30A5C05-46CF-4F03-AB5B-503FD66274CE}" dt="2022-06-13T09:10:57.364" v="5599"/>
          <ac:spMkLst>
            <pc:docMk/>
            <pc:sldMk cId="1619644282" sldId="2145705759"/>
            <ac:spMk id="13" creationId="{FEEC5405-31DE-4F72-BD84-5EC3E15CD234}"/>
          </ac:spMkLst>
        </pc:spChg>
        <pc:spChg chg="mod">
          <ac:chgData name="Ying Yang" userId="f1527f9b-a873-4aa2-b225-cf8fd3466e0d" providerId="ADAL" clId="{A30A5C05-46CF-4F03-AB5B-503FD66274CE}" dt="2022-06-13T09:10:57.364" v="5599"/>
          <ac:spMkLst>
            <pc:docMk/>
            <pc:sldMk cId="1619644282" sldId="2145705759"/>
            <ac:spMk id="18" creationId="{06CED6EA-767F-4916-9A96-0A4772823B94}"/>
          </ac:spMkLst>
        </pc:spChg>
        <pc:spChg chg="mod">
          <ac:chgData name="Ying Yang" userId="f1527f9b-a873-4aa2-b225-cf8fd3466e0d" providerId="ADAL" clId="{A30A5C05-46CF-4F03-AB5B-503FD66274CE}" dt="2022-06-13T09:10:57.364" v="5599"/>
          <ac:spMkLst>
            <pc:docMk/>
            <pc:sldMk cId="1619644282" sldId="2145705759"/>
            <ac:spMk id="19" creationId="{E7C41203-505B-4152-B2FC-1A848BAD2EFF}"/>
          </ac:spMkLst>
        </pc:spChg>
        <pc:spChg chg="mod">
          <ac:chgData name="Ying Yang" userId="f1527f9b-a873-4aa2-b225-cf8fd3466e0d" providerId="ADAL" clId="{A30A5C05-46CF-4F03-AB5B-503FD66274CE}" dt="2022-06-13T09:11:42.590" v="5612" actId="20577"/>
          <ac:spMkLst>
            <pc:docMk/>
            <pc:sldMk cId="1619644282" sldId="2145705759"/>
            <ac:spMk id="21" creationId="{E9AC2178-38B8-4460-BE0D-FD768C2A42A3}"/>
          </ac:spMkLst>
        </pc:spChg>
        <pc:spChg chg="mod">
          <ac:chgData name="Ying Yang" userId="f1527f9b-a873-4aa2-b225-cf8fd3466e0d" providerId="ADAL" clId="{A30A5C05-46CF-4F03-AB5B-503FD66274CE}" dt="2022-06-13T09:12:17.984" v="5613"/>
          <ac:spMkLst>
            <pc:docMk/>
            <pc:sldMk cId="1619644282" sldId="2145705759"/>
            <ac:spMk id="24" creationId="{7B5801D6-59D5-4133-ACFC-F132CCFE8167}"/>
          </ac:spMkLst>
        </pc:spChg>
        <pc:spChg chg="mod">
          <ac:chgData name="Ying Yang" userId="f1527f9b-a873-4aa2-b225-cf8fd3466e0d" providerId="ADAL" clId="{A30A5C05-46CF-4F03-AB5B-503FD66274CE}" dt="2022-06-13T09:12:17.984" v="5613"/>
          <ac:spMkLst>
            <pc:docMk/>
            <pc:sldMk cId="1619644282" sldId="2145705759"/>
            <ac:spMk id="25" creationId="{ECF6B67D-4C7D-4B60-A86D-0A8AFA2C42A6}"/>
          </ac:spMkLst>
        </pc:spChg>
        <pc:spChg chg="mod">
          <ac:chgData name="Ying Yang" userId="f1527f9b-a873-4aa2-b225-cf8fd3466e0d" providerId="ADAL" clId="{A30A5C05-46CF-4F03-AB5B-503FD66274CE}" dt="2022-06-13T09:12:17.984" v="5613"/>
          <ac:spMkLst>
            <pc:docMk/>
            <pc:sldMk cId="1619644282" sldId="2145705759"/>
            <ac:spMk id="29" creationId="{3DCDDDD0-C57F-49A3-A99E-6D6E53A92A7D}"/>
          </ac:spMkLst>
        </pc:spChg>
        <pc:spChg chg="mod">
          <ac:chgData name="Ying Yang" userId="f1527f9b-a873-4aa2-b225-cf8fd3466e0d" providerId="ADAL" clId="{A30A5C05-46CF-4F03-AB5B-503FD66274CE}" dt="2022-06-13T09:12:17.984" v="5613"/>
          <ac:spMkLst>
            <pc:docMk/>
            <pc:sldMk cId="1619644282" sldId="2145705759"/>
            <ac:spMk id="30" creationId="{434E061F-0D03-42F3-8456-F3FB993BF155}"/>
          </ac:spMkLst>
        </pc:spChg>
        <pc:spChg chg="mod">
          <ac:chgData name="Ying Yang" userId="f1527f9b-a873-4aa2-b225-cf8fd3466e0d" providerId="ADAL" clId="{A30A5C05-46CF-4F03-AB5B-503FD66274CE}" dt="2022-06-13T09:12:17.984" v="5613"/>
          <ac:spMkLst>
            <pc:docMk/>
            <pc:sldMk cId="1619644282" sldId="2145705759"/>
            <ac:spMk id="31" creationId="{DB9E8F7C-F6ED-4C9E-AE1D-BDB66001A8BD}"/>
          </ac:spMkLst>
        </pc:spChg>
        <pc:spChg chg="mod">
          <ac:chgData name="Ying Yang" userId="f1527f9b-a873-4aa2-b225-cf8fd3466e0d" providerId="ADAL" clId="{A30A5C05-46CF-4F03-AB5B-503FD66274CE}" dt="2022-06-13T09:12:17.984" v="5613"/>
          <ac:spMkLst>
            <pc:docMk/>
            <pc:sldMk cId="1619644282" sldId="2145705759"/>
            <ac:spMk id="35" creationId="{1B1C13F8-E9F1-47EB-AF43-C901CA02368B}"/>
          </ac:spMkLst>
        </pc:spChg>
        <pc:spChg chg="mod">
          <ac:chgData name="Ying Yang" userId="f1527f9b-a873-4aa2-b225-cf8fd3466e0d" providerId="ADAL" clId="{A30A5C05-46CF-4F03-AB5B-503FD66274CE}" dt="2022-06-13T09:12:17.984" v="5613"/>
          <ac:spMkLst>
            <pc:docMk/>
            <pc:sldMk cId="1619644282" sldId="2145705759"/>
            <ac:spMk id="36" creationId="{71A0CD28-04BE-480B-8629-E72BE941F94F}"/>
          </ac:spMkLst>
        </pc:spChg>
        <pc:spChg chg="mod">
          <ac:chgData name="Ying Yang" userId="f1527f9b-a873-4aa2-b225-cf8fd3466e0d" providerId="ADAL" clId="{A30A5C05-46CF-4F03-AB5B-503FD66274CE}" dt="2022-06-13T09:12:17.984" v="5613"/>
          <ac:spMkLst>
            <pc:docMk/>
            <pc:sldMk cId="1619644282" sldId="2145705759"/>
            <ac:spMk id="37" creationId="{53BE67FD-25DF-4D7B-BC20-A9151542FE0D}"/>
          </ac:spMkLst>
        </pc:spChg>
        <pc:spChg chg="mod">
          <ac:chgData name="Ying Yang" userId="f1527f9b-a873-4aa2-b225-cf8fd3466e0d" providerId="ADAL" clId="{A30A5C05-46CF-4F03-AB5B-503FD66274CE}" dt="2022-06-13T09:12:17.984" v="5613"/>
          <ac:spMkLst>
            <pc:docMk/>
            <pc:sldMk cId="1619644282" sldId="2145705759"/>
            <ac:spMk id="38" creationId="{F98AB519-962F-4300-AA46-6F36FC6C46C6}"/>
          </ac:spMkLst>
        </pc:spChg>
        <pc:spChg chg="mod">
          <ac:chgData name="Ying Yang" userId="f1527f9b-a873-4aa2-b225-cf8fd3466e0d" providerId="ADAL" clId="{A30A5C05-46CF-4F03-AB5B-503FD66274CE}" dt="2022-06-13T09:12:17.984" v="5613"/>
          <ac:spMkLst>
            <pc:docMk/>
            <pc:sldMk cId="1619644282" sldId="2145705759"/>
            <ac:spMk id="39" creationId="{89CFDF04-3EFE-4839-9CAA-CF5A40FCC31E}"/>
          </ac:spMkLst>
        </pc:spChg>
        <pc:spChg chg="mod">
          <ac:chgData name="Ying Yang" userId="f1527f9b-a873-4aa2-b225-cf8fd3466e0d" providerId="ADAL" clId="{A30A5C05-46CF-4F03-AB5B-503FD66274CE}" dt="2022-06-13T09:17:09.636" v="5688" actId="14100"/>
          <ac:spMkLst>
            <pc:docMk/>
            <pc:sldMk cId="1619644282" sldId="2145705759"/>
            <ac:spMk id="42" creationId="{A7BE6992-5414-4186-BF41-B8086923DA77}"/>
          </ac:spMkLst>
        </pc:spChg>
        <pc:spChg chg="del mod">
          <ac:chgData name="Ying Yang" userId="f1527f9b-a873-4aa2-b225-cf8fd3466e0d" providerId="ADAL" clId="{A30A5C05-46CF-4F03-AB5B-503FD66274CE}" dt="2022-06-13T09:14:52.984" v="5648" actId="478"/>
          <ac:spMkLst>
            <pc:docMk/>
            <pc:sldMk cId="1619644282" sldId="2145705759"/>
            <ac:spMk id="43" creationId="{AC59BCA8-CECA-4ACF-8C6E-2EA3A36F4094}"/>
          </ac:spMkLst>
        </pc:spChg>
        <pc:spChg chg="del mod">
          <ac:chgData name="Ying Yang" userId="f1527f9b-a873-4aa2-b225-cf8fd3466e0d" providerId="ADAL" clId="{A30A5C05-46CF-4F03-AB5B-503FD66274CE}" dt="2022-06-13T09:16:20.549" v="5675" actId="478"/>
          <ac:spMkLst>
            <pc:docMk/>
            <pc:sldMk cId="1619644282" sldId="2145705759"/>
            <ac:spMk id="47" creationId="{26AD1476-D197-4CB1-BBB8-F25B0AC75F53}"/>
          </ac:spMkLst>
        </pc:spChg>
        <pc:spChg chg="mod">
          <ac:chgData name="Ying Yang" userId="f1527f9b-a873-4aa2-b225-cf8fd3466e0d" providerId="ADAL" clId="{A30A5C05-46CF-4F03-AB5B-503FD66274CE}" dt="2022-06-13T09:26:56.011" v="5836" actId="404"/>
          <ac:spMkLst>
            <pc:docMk/>
            <pc:sldMk cId="1619644282" sldId="2145705759"/>
            <ac:spMk id="48" creationId="{E3C893BB-BAF9-4DF3-BD25-6FCFD4A22F49}"/>
          </ac:spMkLst>
        </pc:spChg>
        <pc:spChg chg="mod">
          <ac:chgData name="Ying Yang" userId="f1527f9b-a873-4aa2-b225-cf8fd3466e0d" providerId="ADAL" clId="{A30A5C05-46CF-4F03-AB5B-503FD66274CE}" dt="2022-06-13T09:17:42.956" v="5700" actId="21"/>
          <ac:spMkLst>
            <pc:docMk/>
            <pc:sldMk cId="1619644282" sldId="2145705759"/>
            <ac:spMk id="49" creationId="{1B6F067B-D5BC-4A25-AAA2-D8FC2014EEC2}"/>
          </ac:spMkLst>
        </pc:spChg>
        <pc:spChg chg="mod">
          <ac:chgData name="Ying Yang" userId="f1527f9b-a873-4aa2-b225-cf8fd3466e0d" providerId="ADAL" clId="{A30A5C05-46CF-4F03-AB5B-503FD66274CE}" dt="2022-06-13T09:27:03.635" v="5837" actId="404"/>
          <ac:spMkLst>
            <pc:docMk/>
            <pc:sldMk cId="1619644282" sldId="2145705759"/>
            <ac:spMk id="53" creationId="{D55FACBC-BC2C-49AD-984A-C7B1B39E296B}"/>
          </ac:spMkLst>
        </pc:spChg>
        <pc:spChg chg="mod">
          <ac:chgData name="Ying Yang" userId="f1527f9b-a873-4aa2-b225-cf8fd3466e0d" providerId="ADAL" clId="{A30A5C05-46CF-4F03-AB5B-503FD66274CE}" dt="2022-06-13T09:27:07.418" v="5838" actId="404"/>
          <ac:spMkLst>
            <pc:docMk/>
            <pc:sldMk cId="1619644282" sldId="2145705759"/>
            <ac:spMk id="54" creationId="{63A682AF-D805-4030-B333-8602CCF23242}"/>
          </ac:spMkLst>
        </pc:spChg>
        <pc:spChg chg="mod">
          <ac:chgData name="Ying Yang" userId="f1527f9b-a873-4aa2-b225-cf8fd3466e0d" providerId="ADAL" clId="{A30A5C05-46CF-4F03-AB5B-503FD66274CE}" dt="2022-06-13T09:13:24.656" v="5631" actId="13822"/>
          <ac:spMkLst>
            <pc:docMk/>
            <pc:sldMk cId="1619644282" sldId="2145705759"/>
            <ac:spMk id="55" creationId="{4707B412-C470-403F-96DF-4DB313417D3C}"/>
          </ac:spMkLst>
        </pc:spChg>
        <pc:spChg chg="mod">
          <ac:chgData name="Ying Yang" userId="f1527f9b-a873-4aa2-b225-cf8fd3466e0d" providerId="ADAL" clId="{A30A5C05-46CF-4F03-AB5B-503FD66274CE}" dt="2022-06-13T09:17:20.741" v="5692" actId="21"/>
          <ac:spMkLst>
            <pc:docMk/>
            <pc:sldMk cId="1619644282" sldId="2145705759"/>
            <ac:spMk id="56" creationId="{A94C7822-63A7-4612-973F-8D6D6816BC1F}"/>
          </ac:spMkLst>
        </pc:spChg>
        <pc:spChg chg="mod">
          <ac:chgData name="Ying Yang" userId="f1527f9b-a873-4aa2-b225-cf8fd3466e0d" providerId="ADAL" clId="{A30A5C05-46CF-4F03-AB5B-503FD66274CE}" dt="2022-06-13T09:27:26.397" v="5841" actId="404"/>
          <ac:spMkLst>
            <pc:docMk/>
            <pc:sldMk cId="1619644282" sldId="2145705759"/>
            <ac:spMk id="57" creationId="{E09BF49A-D227-4CC2-9B2E-B6818335F531}"/>
          </ac:spMkLst>
        </pc:spChg>
        <pc:spChg chg="del mod topLvl">
          <ac:chgData name="Ying Yang" userId="f1527f9b-a873-4aa2-b225-cf8fd3466e0d" providerId="ADAL" clId="{A30A5C05-46CF-4F03-AB5B-503FD66274CE}" dt="2022-06-13T09:13:45.398" v="5637" actId="478"/>
          <ac:spMkLst>
            <pc:docMk/>
            <pc:sldMk cId="1619644282" sldId="2145705759"/>
            <ac:spMk id="60" creationId="{0D43EE36-FB99-420B-99D3-E1ABB41D12E8}"/>
          </ac:spMkLst>
        </pc:spChg>
        <pc:spChg chg="mod">
          <ac:chgData name="Ying Yang" userId="f1527f9b-a873-4aa2-b225-cf8fd3466e0d" providerId="ADAL" clId="{A30A5C05-46CF-4F03-AB5B-503FD66274CE}" dt="2022-06-13T09:12:47.365" v="5620" actId="165"/>
          <ac:spMkLst>
            <pc:docMk/>
            <pc:sldMk cId="1619644282" sldId="2145705759"/>
            <ac:spMk id="68" creationId="{8FD304D8-4EE9-4516-9F3C-22B1014FF078}"/>
          </ac:spMkLst>
        </pc:spChg>
        <pc:spChg chg="mod">
          <ac:chgData name="Ying Yang" userId="f1527f9b-a873-4aa2-b225-cf8fd3466e0d" providerId="ADAL" clId="{A30A5C05-46CF-4F03-AB5B-503FD66274CE}" dt="2022-06-13T09:12:47.365" v="5620" actId="165"/>
          <ac:spMkLst>
            <pc:docMk/>
            <pc:sldMk cId="1619644282" sldId="2145705759"/>
            <ac:spMk id="71" creationId="{ECD7AC80-B90C-4C39-9098-C9DFC9DE7D51}"/>
          </ac:spMkLst>
        </pc:spChg>
        <pc:spChg chg="mod">
          <ac:chgData name="Ying Yang" userId="f1527f9b-a873-4aa2-b225-cf8fd3466e0d" providerId="ADAL" clId="{A30A5C05-46CF-4F03-AB5B-503FD66274CE}" dt="2022-06-13T09:12:47.365" v="5620" actId="165"/>
          <ac:spMkLst>
            <pc:docMk/>
            <pc:sldMk cId="1619644282" sldId="2145705759"/>
            <ac:spMk id="72" creationId="{3E1AC306-8D25-4060-9A9A-424B9A709C7E}"/>
          </ac:spMkLst>
        </pc:spChg>
        <pc:spChg chg="mod">
          <ac:chgData name="Ying Yang" userId="f1527f9b-a873-4aa2-b225-cf8fd3466e0d" providerId="ADAL" clId="{A30A5C05-46CF-4F03-AB5B-503FD66274CE}" dt="2022-06-13T09:12:47.365" v="5620" actId="165"/>
          <ac:spMkLst>
            <pc:docMk/>
            <pc:sldMk cId="1619644282" sldId="2145705759"/>
            <ac:spMk id="73" creationId="{8163A4FB-22A6-44CD-883E-D298BF1A58DB}"/>
          </ac:spMkLst>
        </pc:spChg>
        <pc:spChg chg="mod">
          <ac:chgData name="Ying Yang" userId="f1527f9b-a873-4aa2-b225-cf8fd3466e0d" providerId="ADAL" clId="{A30A5C05-46CF-4F03-AB5B-503FD66274CE}" dt="2022-06-13T09:12:47.365" v="5620" actId="165"/>
          <ac:spMkLst>
            <pc:docMk/>
            <pc:sldMk cId="1619644282" sldId="2145705759"/>
            <ac:spMk id="74" creationId="{0A79BC00-A4CF-4D0C-80F7-FA346FE49EFB}"/>
          </ac:spMkLst>
        </pc:spChg>
        <pc:spChg chg="mod">
          <ac:chgData name="Ying Yang" userId="f1527f9b-a873-4aa2-b225-cf8fd3466e0d" providerId="ADAL" clId="{A30A5C05-46CF-4F03-AB5B-503FD66274CE}" dt="2022-06-13T09:12:47.365" v="5620" actId="165"/>
          <ac:spMkLst>
            <pc:docMk/>
            <pc:sldMk cId="1619644282" sldId="2145705759"/>
            <ac:spMk id="77" creationId="{0A05E309-04C5-4E59-ABAA-3E0102CC6C06}"/>
          </ac:spMkLst>
        </pc:spChg>
        <pc:spChg chg="mod">
          <ac:chgData name="Ying Yang" userId="f1527f9b-a873-4aa2-b225-cf8fd3466e0d" providerId="ADAL" clId="{A30A5C05-46CF-4F03-AB5B-503FD66274CE}" dt="2022-06-13T09:12:47.365" v="5620" actId="165"/>
          <ac:spMkLst>
            <pc:docMk/>
            <pc:sldMk cId="1619644282" sldId="2145705759"/>
            <ac:spMk id="78" creationId="{65D61C22-A39E-4F4C-A79A-F489261957E2}"/>
          </ac:spMkLst>
        </pc:spChg>
        <pc:spChg chg="mod">
          <ac:chgData name="Ying Yang" userId="f1527f9b-a873-4aa2-b225-cf8fd3466e0d" providerId="ADAL" clId="{A30A5C05-46CF-4F03-AB5B-503FD66274CE}" dt="2022-06-13T09:12:47.365" v="5620" actId="165"/>
          <ac:spMkLst>
            <pc:docMk/>
            <pc:sldMk cId="1619644282" sldId="2145705759"/>
            <ac:spMk id="79" creationId="{8BBC51C8-0584-41D8-B597-064188475B61}"/>
          </ac:spMkLst>
        </pc:spChg>
        <pc:spChg chg="del mod">
          <ac:chgData name="Ying Yang" userId="f1527f9b-a873-4aa2-b225-cf8fd3466e0d" providerId="ADAL" clId="{A30A5C05-46CF-4F03-AB5B-503FD66274CE}" dt="2022-06-13T09:12:37.903" v="5618" actId="478"/>
          <ac:spMkLst>
            <pc:docMk/>
            <pc:sldMk cId="1619644282" sldId="2145705759"/>
            <ac:spMk id="81" creationId="{8FFA8A0E-4CDF-4E8B-8C69-2FEB10F64C9E}"/>
          </ac:spMkLst>
        </pc:spChg>
        <pc:spChg chg="del mod">
          <ac:chgData name="Ying Yang" userId="f1527f9b-a873-4aa2-b225-cf8fd3466e0d" providerId="ADAL" clId="{A30A5C05-46CF-4F03-AB5B-503FD66274CE}" dt="2022-06-13T09:12:39.568" v="5619" actId="478"/>
          <ac:spMkLst>
            <pc:docMk/>
            <pc:sldMk cId="1619644282" sldId="2145705759"/>
            <ac:spMk id="83" creationId="{05D188BA-1CBE-4BC5-A53A-562572015E3D}"/>
          </ac:spMkLst>
        </pc:spChg>
        <pc:spChg chg="mod">
          <ac:chgData name="Ying Yang" userId="f1527f9b-a873-4aa2-b225-cf8fd3466e0d" providerId="ADAL" clId="{A30A5C05-46CF-4F03-AB5B-503FD66274CE}" dt="2022-06-13T09:12:47.365" v="5620" actId="165"/>
          <ac:spMkLst>
            <pc:docMk/>
            <pc:sldMk cId="1619644282" sldId="2145705759"/>
            <ac:spMk id="84" creationId="{467CD161-5F7F-42A9-8111-4207CC6363AB}"/>
          </ac:spMkLst>
        </pc:spChg>
        <pc:spChg chg="mod">
          <ac:chgData name="Ying Yang" userId="f1527f9b-a873-4aa2-b225-cf8fd3466e0d" providerId="ADAL" clId="{A30A5C05-46CF-4F03-AB5B-503FD66274CE}" dt="2022-06-13T09:12:47.365" v="5620" actId="165"/>
          <ac:spMkLst>
            <pc:docMk/>
            <pc:sldMk cId="1619644282" sldId="2145705759"/>
            <ac:spMk id="85" creationId="{6EA3FA7D-A244-4F98-A706-1EAB27F024F5}"/>
          </ac:spMkLst>
        </pc:spChg>
        <pc:spChg chg="mod">
          <ac:chgData name="Ying Yang" userId="f1527f9b-a873-4aa2-b225-cf8fd3466e0d" providerId="ADAL" clId="{A30A5C05-46CF-4F03-AB5B-503FD66274CE}" dt="2022-06-13T09:12:47.365" v="5620" actId="165"/>
          <ac:spMkLst>
            <pc:docMk/>
            <pc:sldMk cId="1619644282" sldId="2145705759"/>
            <ac:spMk id="86" creationId="{4E2101EB-C80B-42CA-AF59-D13051C062A2}"/>
          </ac:spMkLst>
        </pc:spChg>
        <pc:spChg chg="mod">
          <ac:chgData name="Ying Yang" userId="f1527f9b-a873-4aa2-b225-cf8fd3466e0d" providerId="ADAL" clId="{A30A5C05-46CF-4F03-AB5B-503FD66274CE}" dt="2022-06-13T09:12:47.365" v="5620" actId="165"/>
          <ac:spMkLst>
            <pc:docMk/>
            <pc:sldMk cId="1619644282" sldId="2145705759"/>
            <ac:spMk id="87" creationId="{BEBBED29-D375-4942-B820-C06E190B2FF4}"/>
          </ac:spMkLst>
        </pc:spChg>
        <pc:spChg chg="mod">
          <ac:chgData name="Ying Yang" userId="f1527f9b-a873-4aa2-b225-cf8fd3466e0d" providerId="ADAL" clId="{A30A5C05-46CF-4F03-AB5B-503FD66274CE}" dt="2022-06-13T09:22:55.496" v="5770" actId="1076"/>
          <ac:spMkLst>
            <pc:docMk/>
            <pc:sldMk cId="1619644282" sldId="2145705759"/>
            <ac:spMk id="89" creationId="{3B6AAB08-591B-4770-8E53-B7ADD15BE7A0}"/>
          </ac:spMkLst>
        </pc:spChg>
        <pc:spChg chg="mod">
          <ac:chgData name="Ying Yang" userId="f1527f9b-a873-4aa2-b225-cf8fd3466e0d" providerId="ADAL" clId="{A30A5C05-46CF-4F03-AB5B-503FD66274CE}" dt="2022-06-13T09:27:59.829" v="5846" actId="1076"/>
          <ac:spMkLst>
            <pc:docMk/>
            <pc:sldMk cId="1619644282" sldId="2145705759"/>
            <ac:spMk id="90" creationId="{BA8DB376-659D-4E79-AED9-86E76C4412F2}"/>
          </ac:spMkLst>
        </pc:spChg>
        <pc:spChg chg="add del mod">
          <ac:chgData name="Ying Yang" userId="f1527f9b-a873-4aa2-b225-cf8fd3466e0d" providerId="ADAL" clId="{A30A5C05-46CF-4F03-AB5B-503FD66274CE}" dt="2022-06-13T09:14:12.429" v="5643" actId="478"/>
          <ac:spMkLst>
            <pc:docMk/>
            <pc:sldMk cId="1619644282" sldId="2145705759"/>
            <ac:spMk id="91" creationId="{CECC76EA-62EE-4650-89E7-78DEA788CC2B}"/>
          </ac:spMkLst>
        </pc:spChg>
        <pc:spChg chg="mod ord topLvl">
          <ac:chgData name="Ying Yang" userId="f1527f9b-a873-4aa2-b225-cf8fd3466e0d" providerId="ADAL" clId="{A30A5C05-46CF-4F03-AB5B-503FD66274CE}" dt="2022-06-13T09:27:38.245" v="5842" actId="14100"/>
          <ac:spMkLst>
            <pc:docMk/>
            <pc:sldMk cId="1619644282" sldId="2145705759"/>
            <ac:spMk id="93" creationId="{ABA08806-ADA7-4305-86F6-7B7F30270A4A}"/>
          </ac:spMkLst>
        </pc:spChg>
        <pc:spChg chg="mod topLvl">
          <ac:chgData name="Ying Yang" userId="f1527f9b-a873-4aa2-b225-cf8fd3466e0d" providerId="ADAL" clId="{A30A5C05-46CF-4F03-AB5B-503FD66274CE}" dt="2022-06-13T09:16:39.185" v="5681" actId="1076"/>
          <ac:spMkLst>
            <pc:docMk/>
            <pc:sldMk cId="1619644282" sldId="2145705759"/>
            <ac:spMk id="94" creationId="{80FF2513-5D66-4876-8C13-CC972F80FE26}"/>
          </ac:spMkLst>
        </pc:spChg>
        <pc:spChg chg="del mod topLvl">
          <ac:chgData name="Ying Yang" userId="f1527f9b-a873-4aa2-b225-cf8fd3466e0d" providerId="ADAL" clId="{A30A5C05-46CF-4F03-AB5B-503FD66274CE}" dt="2022-06-13T09:15:26.516" v="5658" actId="478"/>
          <ac:spMkLst>
            <pc:docMk/>
            <pc:sldMk cId="1619644282" sldId="2145705759"/>
            <ac:spMk id="95" creationId="{D3D8DD0D-E303-4146-B124-B14D92F560A1}"/>
          </ac:spMkLst>
        </pc:spChg>
        <pc:spChg chg="mod topLvl">
          <ac:chgData name="Ying Yang" userId="f1527f9b-a873-4aa2-b225-cf8fd3466e0d" providerId="ADAL" clId="{A30A5C05-46CF-4F03-AB5B-503FD66274CE}" dt="2022-06-13T09:17:04.327" v="5687" actId="20577"/>
          <ac:spMkLst>
            <pc:docMk/>
            <pc:sldMk cId="1619644282" sldId="2145705759"/>
            <ac:spMk id="96" creationId="{855B75CA-3D8D-4852-89F4-F3B34A957378}"/>
          </ac:spMkLst>
        </pc:spChg>
        <pc:spChg chg="mod topLvl">
          <ac:chgData name="Ying Yang" userId="f1527f9b-a873-4aa2-b225-cf8fd3466e0d" providerId="ADAL" clId="{A30A5C05-46CF-4F03-AB5B-503FD66274CE}" dt="2022-06-13T09:17:13.823" v="5689" actId="1076"/>
          <ac:spMkLst>
            <pc:docMk/>
            <pc:sldMk cId="1619644282" sldId="2145705759"/>
            <ac:spMk id="97" creationId="{D81583E7-D900-43CF-B2BD-6C274EC69566}"/>
          </ac:spMkLst>
        </pc:spChg>
        <pc:spChg chg="mod">
          <ac:chgData name="Ying Yang" userId="f1527f9b-a873-4aa2-b225-cf8fd3466e0d" providerId="ADAL" clId="{A30A5C05-46CF-4F03-AB5B-503FD66274CE}" dt="2022-06-13T09:17:16.879" v="5690"/>
          <ac:spMkLst>
            <pc:docMk/>
            <pc:sldMk cId="1619644282" sldId="2145705759"/>
            <ac:spMk id="101" creationId="{2E978023-716C-4C97-A0B8-400FAA0BEDF6}"/>
          </ac:spMkLst>
        </pc:spChg>
        <pc:spChg chg="mod">
          <ac:chgData name="Ying Yang" userId="f1527f9b-a873-4aa2-b225-cf8fd3466e0d" providerId="ADAL" clId="{A30A5C05-46CF-4F03-AB5B-503FD66274CE}" dt="2022-06-13T09:17:26.446" v="5695"/>
          <ac:spMkLst>
            <pc:docMk/>
            <pc:sldMk cId="1619644282" sldId="2145705759"/>
            <ac:spMk id="102" creationId="{DAFA6D57-7C3E-4113-B249-8E980808EA0F}"/>
          </ac:spMkLst>
        </pc:spChg>
        <pc:spChg chg="mod">
          <ac:chgData name="Ying Yang" userId="f1527f9b-a873-4aa2-b225-cf8fd3466e0d" providerId="ADAL" clId="{A30A5C05-46CF-4F03-AB5B-503FD66274CE}" dt="2022-06-13T09:17:16.879" v="5690"/>
          <ac:spMkLst>
            <pc:docMk/>
            <pc:sldMk cId="1619644282" sldId="2145705759"/>
            <ac:spMk id="103" creationId="{4CD2A530-F6D9-41A1-9799-D193E356B32B}"/>
          </ac:spMkLst>
        </pc:spChg>
        <pc:spChg chg="mod">
          <ac:chgData name="Ying Yang" userId="f1527f9b-a873-4aa2-b225-cf8fd3466e0d" providerId="ADAL" clId="{A30A5C05-46CF-4F03-AB5B-503FD66274CE}" dt="2022-06-13T09:17:39.625" v="5698"/>
          <ac:spMkLst>
            <pc:docMk/>
            <pc:sldMk cId="1619644282" sldId="2145705759"/>
            <ac:spMk id="106" creationId="{BC164DC6-6A31-4313-8360-104465D2EDF1}"/>
          </ac:spMkLst>
        </pc:spChg>
        <pc:spChg chg="mod">
          <ac:chgData name="Ying Yang" userId="f1527f9b-a873-4aa2-b225-cf8fd3466e0d" providerId="ADAL" clId="{A30A5C05-46CF-4F03-AB5B-503FD66274CE}" dt="2022-06-13T09:17:47.150" v="5703"/>
          <ac:spMkLst>
            <pc:docMk/>
            <pc:sldMk cId="1619644282" sldId="2145705759"/>
            <ac:spMk id="107" creationId="{D346AB74-0116-4B1C-9AAB-F927027C7194}"/>
          </ac:spMkLst>
        </pc:spChg>
        <pc:spChg chg="mod">
          <ac:chgData name="Ying Yang" userId="f1527f9b-a873-4aa2-b225-cf8fd3466e0d" providerId="ADAL" clId="{A30A5C05-46CF-4F03-AB5B-503FD66274CE}" dt="2022-06-13T09:17:39.625" v="5698"/>
          <ac:spMkLst>
            <pc:docMk/>
            <pc:sldMk cId="1619644282" sldId="2145705759"/>
            <ac:spMk id="108" creationId="{EAC76E51-8AB5-4006-9F2A-B176D6417FD1}"/>
          </ac:spMkLst>
        </pc:spChg>
        <pc:spChg chg="mod">
          <ac:chgData name="Ying Yang" userId="f1527f9b-a873-4aa2-b225-cf8fd3466e0d" providerId="ADAL" clId="{A30A5C05-46CF-4F03-AB5B-503FD66274CE}" dt="2022-06-13T09:27:50.285" v="5845" actId="1076"/>
          <ac:spMkLst>
            <pc:docMk/>
            <pc:sldMk cId="1619644282" sldId="2145705759"/>
            <ac:spMk id="111" creationId="{6BB6F403-D9F9-4EE0-B385-80730D18CFF1}"/>
          </ac:spMkLst>
        </pc:spChg>
        <pc:spChg chg="mod">
          <ac:chgData name="Ying Yang" userId="f1527f9b-a873-4aa2-b225-cf8fd3466e0d" providerId="ADAL" clId="{A30A5C05-46CF-4F03-AB5B-503FD66274CE}" dt="2022-06-13T09:27:42.080" v="5843" actId="1076"/>
          <ac:spMkLst>
            <pc:docMk/>
            <pc:sldMk cId="1619644282" sldId="2145705759"/>
            <ac:spMk id="112" creationId="{9A6FDB4C-A874-46DD-ACEE-1E1D4A980F87}"/>
          </ac:spMkLst>
        </pc:spChg>
        <pc:spChg chg="mod">
          <ac:chgData name="Ying Yang" userId="f1527f9b-a873-4aa2-b225-cf8fd3466e0d" providerId="ADAL" clId="{A30A5C05-46CF-4F03-AB5B-503FD66274CE}" dt="2022-06-13T09:40:36.521" v="6116"/>
          <ac:spMkLst>
            <pc:docMk/>
            <pc:sldMk cId="1619644282" sldId="2145705759"/>
            <ac:spMk id="121" creationId="{89DEEBE2-9187-4085-8344-534AF9E160E3}"/>
          </ac:spMkLst>
        </pc:spChg>
        <pc:spChg chg="mod">
          <ac:chgData name="Ying Yang" userId="f1527f9b-a873-4aa2-b225-cf8fd3466e0d" providerId="ADAL" clId="{A30A5C05-46CF-4F03-AB5B-503FD66274CE}" dt="2022-06-13T09:40:36.521" v="6116"/>
          <ac:spMkLst>
            <pc:docMk/>
            <pc:sldMk cId="1619644282" sldId="2145705759"/>
            <ac:spMk id="122" creationId="{950E26C3-1D10-474A-BBA4-C1C5E279B7A7}"/>
          </ac:spMkLst>
        </pc:spChg>
        <pc:spChg chg="mod">
          <ac:chgData name="Ying Yang" userId="f1527f9b-a873-4aa2-b225-cf8fd3466e0d" providerId="ADAL" clId="{A30A5C05-46CF-4F03-AB5B-503FD66274CE}" dt="2022-06-13T09:40:36.521" v="6116"/>
          <ac:spMkLst>
            <pc:docMk/>
            <pc:sldMk cId="1619644282" sldId="2145705759"/>
            <ac:spMk id="123" creationId="{A6AEA65C-85DF-46C7-A02F-4DBB2905B0B2}"/>
          </ac:spMkLst>
        </pc:spChg>
        <pc:spChg chg="mod">
          <ac:chgData name="Ying Yang" userId="f1527f9b-a873-4aa2-b225-cf8fd3466e0d" providerId="ADAL" clId="{A30A5C05-46CF-4F03-AB5B-503FD66274CE}" dt="2022-06-13T09:40:36.521" v="6116"/>
          <ac:spMkLst>
            <pc:docMk/>
            <pc:sldMk cId="1619644282" sldId="2145705759"/>
            <ac:spMk id="124" creationId="{EB0FEDD5-1702-41AE-88E3-7E570D0CA9A0}"/>
          </ac:spMkLst>
        </pc:spChg>
        <pc:grpChg chg="add mod">
          <ac:chgData name="Ying Yang" userId="f1527f9b-a873-4aa2-b225-cf8fd3466e0d" providerId="ADAL" clId="{A30A5C05-46CF-4F03-AB5B-503FD66274CE}" dt="2022-06-13T09:10:57.364" v="5599"/>
          <ac:grpSpMkLst>
            <pc:docMk/>
            <pc:sldMk cId="1619644282" sldId="2145705759"/>
            <ac:grpSpMk id="3" creationId="{B278B6D6-2B68-411C-89E7-B9C819D16C07}"/>
          </ac:grpSpMkLst>
        </pc:grpChg>
        <pc:grpChg chg="mod">
          <ac:chgData name="Ying Yang" userId="f1527f9b-a873-4aa2-b225-cf8fd3466e0d" providerId="ADAL" clId="{A30A5C05-46CF-4F03-AB5B-503FD66274CE}" dt="2022-06-13T09:10:57.364" v="5599"/>
          <ac:grpSpMkLst>
            <pc:docMk/>
            <pc:sldMk cId="1619644282" sldId="2145705759"/>
            <ac:grpSpMk id="4" creationId="{B7819520-21F5-46B3-8CCA-37B2E23900AF}"/>
          </ac:grpSpMkLst>
        </pc:grpChg>
        <pc:grpChg chg="mod">
          <ac:chgData name="Ying Yang" userId="f1527f9b-a873-4aa2-b225-cf8fd3466e0d" providerId="ADAL" clId="{A30A5C05-46CF-4F03-AB5B-503FD66274CE}" dt="2022-06-13T09:10:57.364" v="5599"/>
          <ac:grpSpMkLst>
            <pc:docMk/>
            <pc:sldMk cId="1619644282" sldId="2145705759"/>
            <ac:grpSpMk id="5" creationId="{878D0338-9B01-4C30-8333-B24A8D37CACE}"/>
          </ac:grpSpMkLst>
        </pc:grpChg>
        <pc:grpChg chg="mod">
          <ac:chgData name="Ying Yang" userId="f1527f9b-a873-4aa2-b225-cf8fd3466e0d" providerId="ADAL" clId="{A30A5C05-46CF-4F03-AB5B-503FD66274CE}" dt="2022-06-13T09:10:57.364" v="5599"/>
          <ac:grpSpMkLst>
            <pc:docMk/>
            <pc:sldMk cId="1619644282" sldId="2145705759"/>
            <ac:grpSpMk id="7" creationId="{0ED34214-3528-4088-8ABD-BF0E5684BE32}"/>
          </ac:grpSpMkLst>
        </pc:grpChg>
        <pc:grpChg chg="mod">
          <ac:chgData name="Ying Yang" userId="f1527f9b-a873-4aa2-b225-cf8fd3466e0d" providerId="ADAL" clId="{A30A5C05-46CF-4F03-AB5B-503FD66274CE}" dt="2022-06-13T09:10:57.364" v="5599"/>
          <ac:grpSpMkLst>
            <pc:docMk/>
            <pc:sldMk cId="1619644282" sldId="2145705759"/>
            <ac:grpSpMk id="10" creationId="{97DEE1C4-A5CF-4EB3-9DB4-F0C06F6C9CA6}"/>
          </ac:grpSpMkLst>
        </pc:grpChg>
        <pc:grpChg chg="mod">
          <ac:chgData name="Ying Yang" userId="f1527f9b-a873-4aa2-b225-cf8fd3466e0d" providerId="ADAL" clId="{A30A5C05-46CF-4F03-AB5B-503FD66274CE}" dt="2022-06-13T09:10:57.364" v="5599"/>
          <ac:grpSpMkLst>
            <pc:docMk/>
            <pc:sldMk cId="1619644282" sldId="2145705759"/>
            <ac:grpSpMk id="14" creationId="{F2C0C8E2-4A7C-48A7-BF67-7AEC6D4B1D05}"/>
          </ac:grpSpMkLst>
        </pc:grpChg>
        <pc:grpChg chg="mod">
          <ac:chgData name="Ying Yang" userId="f1527f9b-a873-4aa2-b225-cf8fd3466e0d" providerId="ADAL" clId="{A30A5C05-46CF-4F03-AB5B-503FD66274CE}" dt="2022-06-13T09:10:57.364" v="5599"/>
          <ac:grpSpMkLst>
            <pc:docMk/>
            <pc:sldMk cId="1619644282" sldId="2145705759"/>
            <ac:grpSpMk id="15" creationId="{60DA707D-5049-4C21-B894-BDC9DA6A7078}"/>
          </ac:grpSpMkLst>
        </pc:grpChg>
        <pc:grpChg chg="add mod">
          <ac:chgData name="Ying Yang" userId="f1527f9b-a873-4aa2-b225-cf8fd3466e0d" providerId="ADAL" clId="{A30A5C05-46CF-4F03-AB5B-503FD66274CE}" dt="2022-06-13T09:11:18.256" v="5606"/>
          <ac:grpSpMkLst>
            <pc:docMk/>
            <pc:sldMk cId="1619644282" sldId="2145705759"/>
            <ac:grpSpMk id="20" creationId="{A32DB0E8-EC31-4B44-A982-94829BEEF322}"/>
          </ac:grpSpMkLst>
        </pc:grpChg>
        <pc:grpChg chg="add del mod">
          <ac:chgData name="Ying Yang" userId="f1527f9b-a873-4aa2-b225-cf8fd3466e0d" providerId="ADAL" clId="{A30A5C05-46CF-4F03-AB5B-503FD66274CE}" dt="2022-06-13T09:12:21.439" v="5614"/>
          <ac:grpSpMkLst>
            <pc:docMk/>
            <pc:sldMk cId="1619644282" sldId="2145705759"/>
            <ac:grpSpMk id="23" creationId="{A1C08D20-50B4-425B-82B0-7CC0E151498F}"/>
          </ac:grpSpMkLst>
        </pc:grpChg>
        <pc:grpChg chg="mod">
          <ac:chgData name="Ying Yang" userId="f1527f9b-a873-4aa2-b225-cf8fd3466e0d" providerId="ADAL" clId="{A30A5C05-46CF-4F03-AB5B-503FD66274CE}" dt="2022-06-13T09:12:17.984" v="5613"/>
          <ac:grpSpMkLst>
            <pc:docMk/>
            <pc:sldMk cId="1619644282" sldId="2145705759"/>
            <ac:grpSpMk id="26" creationId="{1ED655ED-312D-41EE-9EBC-B7B4E205924D}"/>
          </ac:grpSpMkLst>
        </pc:grpChg>
        <pc:grpChg chg="mod">
          <ac:chgData name="Ying Yang" userId="f1527f9b-a873-4aa2-b225-cf8fd3466e0d" providerId="ADAL" clId="{A30A5C05-46CF-4F03-AB5B-503FD66274CE}" dt="2022-06-13T09:12:17.984" v="5613"/>
          <ac:grpSpMkLst>
            <pc:docMk/>
            <pc:sldMk cId="1619644282" sldId="2145705759"/>
            <ac:grpSpMk id="27" creationId="{F6939BC7-4A91-4FC0-AA79-00844DE4AE55}"/>
          </ac:grpSpMkLst>
        </pc:grpChg>
        <pc:grpChg chg="mod">
          <ac:chgData name="Ying Yang" userId="f1527f9b-a873-4aa2-b225-cf8fd3466e0d" providerId="ADAL" clId="{A30A5C05-46CF-4F03-AB5B-503FD66274CE}" dt="2022-06-13T09:12:17.984" v="5613"/>
          <ac:grpSpMkLst>
            <pc:docMk/>
            <pc:sldMk cId="1619644282" sldId="2145705759"/>
            <ac:grpSpMk id="28" creationId="{42A395D4-416F-4A69-9767-DB6E1371DBD3}"/>
          </ac:grpSpMkLst>
        </pc:grpChg>
        <pc:grpChg chg="add mod">
          <ac:chgData name="Ying Yang" userId="f1527f9b-a873-4aa2-b225-cf8fd3466e0d" providerId="ADAL" clId="{A30A5C05-46CF-4F03-AB5B-503FD66274CE}" dt="2022-06-13T09:18:41.301" v="5720" actId="164"/>
          <ac:grpSpMkLst>
            <pc:docMk/>
            <pc:sldMk cId="1619644282" sldId="2145705759"/>
            <ac:grpSpMk id="41" creationId="{AFBC53D2-45F5-4075-B0E8-486907103FCA}"/>
          </ac:grpSpMkLst>
        </pc:grpChg>
        <pc:grpChg chg="del mod">
          <ac:chgData name="Ying Yang" userId="f1527f9b-a873-4aa2-b225-cf8fd3466e0d" providerId="ADAL" clId="{A30A5C05-46CF-4F03-AB5B-503FD66274CE}" dt="2022-06-13T09:24:49.903" v="5807" actId="21"/>
          <ac:grpSpMkLst>
            <pc:docMk/>
            <pc:sldMk cId="1619644282" sldId="2145705759"/>
            <ac:grpSpMk id="44" creationId="{4B7BA0BB-E0F3-4A73-9843-98411761E64F}"/>
          </ac:grpSpMkLst>
        </pc:grpChg>
        <pc:grpChg chg="mod">
          <ac:chgData name="Ying Yang" userId="f1527f9b-a873-4aa2-b225-cf8fd3466e0d" providerId="ADAL" clId="{A30A5C05-46CF-4F03-AB5B-503FD66274CE}" dt="2022-06-13T09:12:21.551" v="5615"/>
          <ac:grpSpMkLst>
            <pc:docMk/>
            <pc:sldMk cId="1619644282" sldId="2145705759"/>
            <ac:grpSpMk id="45" creationId="{4B0E7C43-D8D7-4BCA-8F50-B18354EFF8DF}"/>
          </ac:grpSpMkLst>
        </pc:grpChg>
        <pc:grpChg chg="mod">
          <ac:chgData name="Ying Yang" userId="f1527f9b-a873-4aa2-b225-cf8fd3466e0d" providerId="ADAL" clId="{A30A5C05-46CF-4F03-AB5B-503FD66274CE}" dt="2022-06-13T09:12:21.551" v="5615"/>
          <ac:grpSpMkLst>
            <pc:docMk/>
            <pc:sldMk cId="1619644282" sldId="2145705759"/>
            <ac:grpSpMk id="46" creationId="{F279EABA-0788-4B9D-8057-6E5425B1783F}"/>
          </ac:grpSpMkLst>
        </pc:grpChg>
        <pc:grpChg chg="add del mod">
          <ac:chgData name="Ying Yang" userId="f1527f9b-a873-4aa2-b225-cf8fd3466e0d" providerId="ADAL" clId="{A30A5C05-46CF-4F03-AB5B-503FD66274CE}" dt="2022-06-13T09:12:47.365" v="5620" actId="165"/>
          <ac:grpSpMkLst>
            <pc:docMk/>
            <pc:sldMk cId="1619644282" sldId="2145705759"/>
            <ac:grpSpMk id="59" creationId="{803ADDE9-7CED-4CD6-8179-6D0A5ED08F6C}"/>
          </ac:grpSpMkLst>
        </pc:grpChg>
        <pc:grpChg chg="mod topLvl">
          <ac:chgData name="Ying Yang" userId="f1527f9b-a873-4aa2-b225-cf8fd3466e0d" providerId="ADAL" clId="{A30A5C05-46CF-4F03-AB5B-503FD66274CE}" dt="2022-06-13T09:18:41.301" v="5720" actId="164"/>
          <ac:grpSpMkLst>
            <pc:docMk/>
            <pc:sldMk cId="1619644282" sldId="2145705759"/>
            <ac:grpSpMk id="61" creationId="{158AD715-CFE9-4923-BAA9-682F501D5633}"/>
          </ac:grpSpMkLst>
        </pc:grpChg>
        <pc:grpChg chg="del mod topLvl">
          <ac:chgData name="Ying Yang" userId="f1527f9b-a873-4aa2-b225-cf8fd3466e0d" providerId="ADAL" clId="{A30A5C05-46CF-4F03-AB5B-503FD66274CE}" dt="2022-06-13T09:15:47.078" v="5662" actId="478"/>
          <ac:grpSpMkLst>
            <pc:docMk/>
            <pc:sldMk cId="1619644282" sldId="2145705759"/>
            <ac:grpSpMk id="62" creationId="{108CC013-3F6A-4544-80ED-075EA7740E8D}"/>
          </ac:grpSpMkLst>
        </pc:grpChg>
        <pc:grpChg chg="del mod">
          <ac:chgData name="Ying Yang" userId="f1527f9b-a873-4aa2-b225-cf8fd3466e0d" providerId="ADAL" clId="{A30A5C05-46CF-4F03-AB5B-503FD66274CE}" dt="2022-06-13T09:12:37.903" v="5618" actId="478"/>
          <ac:grpSpMkLst>
            <pc:docMk/>
            <pc:sldMk cId="1619644282" sldId="2145705759"/>
            <ac:grpSpMk id="64" creationId="{A3531614-A79F-4CD0-82DB-4D074F311E6B}"/>
          </ac:grpSpMkLst>
        </pc:grpChg>
        <pc:grpChg chg="mod">
          <ac:chgData name="Ying Yang" userId="f1527f9b-a873-4aa2-b225-cf8fd3466e0d" providerId="ADAL" clId="{A30A5C05-46CF-4F03-AB5B-503FD66274CE}" dt="2022-06-13T09:12:47.365" v="5620" actId="165"/>
          <ac:grpSpMkLst>
            <pc:docMk/>
            <pc:sldMk cId="1619644282" sldId="2145705759"/>
            <ac:grpSpMk id="65" creationId="{E835F3CD-C82B-4CE3-B673-4DE7FA2C31E6}"/>
          </ac:grpSpMkLst>
        </pc:grpChg>
        <pc:grpChg chg="mod">
          <ac:chgData name="Ying Yang" userId="f1527f9b-a873-4aa2-b225-cf8fd3466e0d" providerId="ADAL" clId="{A30A5C05-46CF-4F03-AB5B-503FD66274CE}" dt="2022-06-13T09:12:47.365" v="5620" actId="165"/>
          <ac:grpSpMkLst>
            <pc:docMk/>
            <pc:sldMk cId="1619644282" sldId="2145705759"/>
            <ac:grpSpMk id="66" creationId="{43A257CE-27E8-46DE-B19B-2F52CBA62FB9}"/>
          </ac:grpSpMkLst>
        </pc:grpChg>
        <pc:grpChg chg="mod">
          <ac:chgData name="Ying Yang" userId="f1527f9b-a873-4aa2-b225-cf8fd3466e0d" providerId="ADAL" clId="{A30A5C05-46CF-4F03-AB5B-503FD66274CE}" dt="2022-06-13T09:12:47.365" v="5620" actId="165"/>
          <ac:grpSpMkLst>
            <pc:docMk/>
            <pc:sldMk cId="1619644282" sldId="2145705759"/>
            <ac:grpSpMk id="69" creationId="{0EFA9331-8889-4ABF-B8DE-C87AB945B02B}"/>
          </ac:grpSpMkLst>
        </pc:grpChg>
        <pc:grpChg chg="mod">
          <ac:chgData name="Ying Yang" userId="f1527f9b-a873-4aa2-b225-cf8fd3466e0d" providerId="ADAL" clId="{A30A5C05-46CF-4F03-AB5B-503FD66274CE}" dt="2022-06-13T09:12:47.365" v="5620" actId="165"/>
          <ac:grpSpMkLst>
            <pc:docMk/>
            <pc:sldMk cId="1619644282" sldId="2145705759"/>
            <ac:grpSpMk id="70" creationId="{0F30C3C1-3F63-4D2C-9959-FF32EBA8F8D3}"/>
          </ac:grpSpMkLst>
        </pc:grpChg>
        <pc:grpChg chg="mod">
          <ac:chgData name="Ying Yang" userId="f1527f9b-a873-4aa2-b225-cf8fd3466e0d" providerId="ADAL" clId="{A30A5C05-46CF-4F03-AB5B-503FD66274CE}" dt="2022-06-13T09:12:47.365" v="5620" actId="165"/>
          <ac:grpSpMkLst>
            <pc:docMk/>
            <pc:sldMk cId="1619644282" sldId="2145705759"/>
            <ac:grpSpMk id="75" creationId="{A6EDC001-D684-4676-8D83-41C39B70DDA7}"/>
          </ac:grpSpMkLst>
        </pc:grpChg>
        <pc:grpChg chg="mod">
          <ac:chgData name="Ying Yang" userId="f1527f9b-a873-4aa2-b225-cf8fd3466e0d" providerId="ADAL" clId="{A30A5C05-46CF-4F03-AB5B-503FD66274CE}" dt="2022-06-13T09:12:47.365" v="5620" actId="165"/>
          <ac:grpSpMkLst>
            <pc:docMk/>
            <pc:sldMk cId="1619644282" sldId="2145705759"/>
            <ac:grpSpMk id="76" creationId="{6BB68E8E-E7AB-4167-9451-2859FA84D551}"/>
          </ac:grpSpMkLst>
        </pc:grpChg>
        <pc:grpChg chg="del mod">
          <ac:chgData name="Ying Yang" userId="f1527f9b-a873-4aa2-b225-cf8fd3466e0d" providerId="ADAL" clId="{A30A5C05-46CF-4F03-AB5B-503FD66274CE}" dt="2022-06-13T09:12:39.568" v="5619" actId="478"/>
          <ac:grpSpMkLst>
            <pc:docMk/>
            <pc:sldMk cId="1619644282" sldId="2145705759"/>
            <ac:grpSpMk id="80" creationId="{0DA93E47-EBB4-49AE-884A-018D0F7B48A0}"/>
          </ac:grpSpMkLst>
        </pc:grpChg>
        <pc:grpChg chg="mod">
          <ac:chgData name="Ying Yang" userId="f1527f9b-a873-4aa2-b225-cf8fd3466e0d" providerId="ADAL" clId="{A30A5C05-46CF-4F03-AB5B-503FD66274CE}" dt="2022-06-13T09:12:47.365" v="5620" actId="165"/>
          <ac:grpSpMkLst>
            <pc:docMk/>
            <pc:sldMk cId="1619644282" sldId="2145705759"/>
            <ac:grpSpMk id="82" creationId="{0379E135-E892-4691-90A1-C9A0977992D7}"/>
          </ac:grpSpMkLst>
        </pc:grpChg>
        <pc:grpChg chg="add mod">
          <ac:chgData name="Ying Yang" userId="f1527f9b-a873-4aa2-b225-cf8fd3466e0d" providerId="ADAL" clId="{A30A5C05-46CF-4F03-AB5B-503FD66274CE}" dt="2022-06-13T09:18:41.301" v="5720" actId="164"/>
          <ac:grpSpMkLst>
            <pc:docMk/>
            <pc:sldMk cId="1619644282" sldId="2145705759"/>
            <ac:grpSpMk id="88" creationId="{ADC67792-907B-43C9-8E5D-489423F74EFA}"/>
          </ac:grpSpMkLst>
        </pc:grpChg>
        <pc:grpChg chg="add del mod">
          <ac:chgData name="Ying Yang" userId="f1527f9b-a873-4aa2-b225-cf8fd3466e0d" providerId="ADAL" clId="{A30A5C05-46CF-4F03-AB5B-503FD66274CE}" dt="2022-06-13T09:15:23.069" v="5657" actId="165"/>
          <ac:grpSpMkLst>
            <pc:docMk/>
            <pc:sldMk cId="1619644282" sldId="2145705759"/>
            <ac:grpSpMk id="92" creationId="{7E68E4D3-B78F-49E0-AC7A-4B5968089368}"/>
          </ac:grpSpMkLst>
        </pc:grpChg>
        <pc:grpChg chg="add mod">
          <ac:chgData name="Ying Yang" userId="f1527f9b-a873-4aa2-b225-cf8fd3466e0d" providerId="ADAL" clId="{A30A5C05-46CF-4F03-AB5B-503FD66274CE}" dt="2022-06-13T09:18:41.301" v="5720" actId="164"/>
          <ac:grpSpMkLst>
            <pc:docMk/>
            <pc:sldMk cId="1619644282" sldId="2145705759"/>
            <ac:grpSpMk id="99" creationId="{7066E736-5C36-4688-BC2F-E1B96BCBC196}"/>
          </ac:grpSpMkLst>
        </pc:grpChg>
        <pc:grpChg chg="add mod">
          <ac:chgData name="Ying Yang" userId="f1527f9b-a873-4aa2-b225-cf8fd3466e0d" providerId="ADAL" clId="{A30A5C05-46CF-4F03-AB5B-503FD66274CE}" dt="2022-06-13T09:18:41.301" v="5720" actId="164"/>
          <ac:grpSpMkLst>
            <pc:docMk/>
            <pc:sldMk cId="1619644282" sldId="2145705759"/>
            <ac:grpSpMk id="100" creationId="{F70F384C-FC7B-4403-B0F6-1081D5FDF2EE}"/>
          </ac:grpSpMkLst>
        </pc:grpChg>
        <pc:grpChg chg="add mod">
          <ac:chgData name="Ying Yang" userId="f1527f9b-a873-4aa2-b225-cf8fd3466e0d" providerId="ADAL" clId="{A30A5C05-46CF-4F03-AB5B-503FD66274CE}" dt="2022-06-13T09:18:41.301" v="5720" actId="164"/>
          <ac:grpSpMkLst>
            <pc:docMk/>
            <pc:sldMk cId="1619644282" sldId="2145705759"/>
            <ac:grpSpMk id="105" creationId="{A02C7892-6575-4C8D-B717-3F55C87E9F3A}"/>
          </ac:grpSpMkLst>
        </pc:grpChg>
        <pc:grpChg chg="add mod">
          <ac:chgData name="Ying Yang" userId="f1527f9b-a873-4aa2-b225-cf8fd3466e0d" providerId="ADAL" clId="{A30A5C05-46CF-4F03-AB5B-503FD66274CE}" dt="2022-06-13T09:18:41.301" v="5720" actId="164"/>
          <ac:grpSpMkLst>
            <pc:docMk/>
            <pc:sldMk cId="1619644282" sldId="2145705759"/>
            <ac:grpSpMk id="110" creationId="{BCCF3F3C-6C78-4213-8DB4-3F3688422627}"/>
          </ac:grpSpMkLst>
        </pc:grpChg>
        <pc:grpChg chg="add mod">
          <ac:chgData name="Ying Yang" userId="f1527f9b-a873-4aa2-b225-cf8fd3466e0d" providerId="ADAL" clId="{A30A5C05-46CF-4F03-AB5B-503FD66274CE}" dt="2022-06-13T09:18:44.634" v="5721" actId="1076"/>
          <ac:grpSpMkLst>
            <pc:docMk/>
            <pc:sldMk cId="1619644282" sldId="2145705759"/>
            <ac:grpSpMk id="113" creationId="{D825E17F-D0CF-42D0-B621-8A7779843093}"/>
          </ac:grpSpMkLst>
        </pc:grpChg>
        <pc:grpChg chg="add del mod">
          <ac:chgData name="Ying Yang" userId="f1527f9b-a873-4aa2-b225-cf8fd3466e0d" providerId="ADAL" clId="{A30A5C05-46CF-4F03-AB5B-503FD66274CE}" dt="2022-06-13T09:40:38.445" v="6117"/>
          <ac:grpSpMkLst>
            <pc:docMk/>
            <pc:sldMk cId="1619644282" sldId="2145705759"/>
            <ac:grpSpMk id="118" creationId="{44E45996-17FF-4CC2-92AC-1299ABDA7161}"/>
          </ac:grpSpMkLst>
        </pc:grpChg>
        <pc:grpChg chg="mod">
          <ac:chgData name="Ying Yang" userId="f1527f9b-a873-4aa2-b225-cf8fd3466e0d" providerId="ADAL" clId="{A30A5C05-46CF-4F03-AB5B-503FD66274CE}" dt="2022-06-13T09:40:36.521" v="6116"/>
          <ac:grpSpMkLst>
            <pc:docMk/>
            <pc:sldMk cId="1619644282" sldId="2145705759"/>
            <ac:grpSpMk id="119" creationId="{BDC9DE32-36EE-4610-B4D3-023BE6BD677D}"/>
          </ac:grpSpMkLst>
        </pc:grpChg>
        <pc:grpChg chg="mod">
          <ac:chgData name="Ying Yang" userId="f1527f9b-a873-4aa2-b225-cf8fd3466e0d" providerId="ADAL" clId="{A30A5C05-46CF-4F03-AB5B-503FD66274CE}" dt="2022-06-13T09:40:36.521" v="6116"/>
          <ac:grpSpMkLst>
            <pc:docMk/>
            <pc:sldMk cId="1619644282" sldId="2145705759"/>
            <ac:grpSpMk id="120" creationId="{84CBEFAD-E2DE-4F1C-B3A7-4AAD77648149}"/>
          </ac:grpSpMkLst>
        </pc:grpChg>
        <pc:picChg chg="mod">
          <ac:chgData name="Ying Yang" userId="f1527f9b-a873-4aa2-b225-cf8fd3466e0d" providerId="ADAL" clId="{A30A5C05-46CF-4F03-AB5B-503FD66274CE}" dt="2022-06-13T09:11:18.256" v="5606"/>
          <ac:picMkLst>
            <pc:docMk/>
            <pc:sldMk cId="1619644282" sldId="2145705759"/>
            <ac:picMk id="22" creationId="{A501DEA9-8E60-4D47-B67C-286F229123E2}"/>
          </ac:picMkLst>
        </pc:picChg>
        <pc:picChg chg="mod">
          <ac:chgData name="Ying Yang" userId="f1527f9b-a873-4aa2-b225-cf8fd3466e0d" providerId="ADAL" clId="{A30A5C05-46CF-4F03-AB5B-503FD66274CE}" dt="2022-06-13T09:12:17.984" v="5613"/>
          <ac:picMkLst>
            <pc:docMk/>
            <pc:sldMk cId="1619644282" sldId="2145705759"/>
            <ac:picMk id="32" creationId="{6EF48B14-E1CC-438F-B5DA-1C95D1A9D1E5}"/>
          </ac:picMkLst>
        </pc:picChg>
        <pc:picChg chg="mod">
          <ac:chgData name="Ying Yang" userId="f1527f9b-a873-4aa2-b225-cf8fd3466e0d" providerId="ADAL" clId="{A30A5C05-46CF-4F03-AB5B-503FD66274CE}" dt="2022-06-13T09:12:17.984" v="5613"/>
          <ac:picMkLst>
            <pc:docMk/>
            <pc:sldMk cId="1619644282" sldId="2145705759"/>
            <ac:picMk id="33" creationId="{D4F8ED7C-23AD-4BCC-ACF7-1B5738CCC504}"/>
          </ac:picMkLst>
        </pc:picChg>
        <pc:picChg chg="mod">
          <ac:chgData name="Ying Yang" userId="f1527f9b-a873-4aa2-b225-cf8fd3466e0d" providerId="ADAL" clId="{A30A5C05-46CF-4F03-AB5B-503FD66274CE}" dt="2022-06-13T09:12:17.984" v="5613"/>
          <ac:picMkLst>
            <pc:docMk/>
            <pc:sldMk cId="1619644282" sldId="2145705759"/>
            <ac:picMk id="34" creationId="{8C35DFF9-667B-412A-A7CF-74FB62707D35}"/>
          </ac:picMkLst>
        </pc:picChg>
        <pc:picChg chg="mod">
          <ac:chgData name="Ying Yang" userId="f1527f9b-a873-4aa2-b225-cf8fd3466e0d" providerId="ADAL" clId="{A30A5C05-46CF-4F03-AB5B-503FD66274CE}" dt="2022-06-13T09:12:17.984" v="5613"/>
          <ac:picMkLst>
            <pc:docMk/>
            <pc:sldMk cId="1619644282" sldId="2145705759"/>
            <ac:picMk id="40" creationId="{990635D3-CE07-4EBD-B4CE-6190E8786897}"/>
          </ac:picMkLst>
        </pc:picChg>
        <pc:picChg chg="del mod">
          <ac:chgData name="Ying Yang" userId="f1527f9b-a873-4aa2-b225-cf8fd3466e0d" providerId="ADAL" clId="{A30A5C05-46CF-4F03-AB5B-503FD66274CE}" dt="2022-06-13T09:25:28.989" v="5817" actId="478"/>
          <ac:picMkLst>
            <pc:docMk/>
            <pc:sldMk cId="1619644282" sldId="2145705759"/>
            <ac:picMk id="50" creationId="{FB538FC9-3854-49CA-8C87-EBD0D37267AF}"/>
          </ac:picMkLst>
        </pc:picChg>
        <pc:picChg chg="del mod">
          <ac:chgData name="Ying Yang" userId="f1527f9b-a873-4aa2-b225-cf8fd3466e0d" providerId="ADAL" clId="{A30A5C05-46CF-4F03-AB5B-503FD66274CE}" dt="2022-06-13T09:25:27.670" v="5816" actId="478"/>
          <ac:picMkLst>
            <pc:docMk/>
            <pc:sldMk cId="1619644282" sldId="2145705759"/>
            <ac:picMk id="51" creationId="{F80DCF54-9D47-4C74-9AB4-CDAF4E2A9B12}"/>
          </ac:picMkLst>
        </pc:picChg>
        <pc:picChg chg="add del mod">
          <ac:chgData name="Ying Yang" userId="f1527f9b-a873-4aa2-b225-cf8fd3466e0d" providerId="ADAL" clId="{A30A5C05-46CF-4F03-AB5B-503FD66274CE}" dt="2022-06-13T09:25:23.342" v="5814" actId="21"/>
          <ac:picMkLst>
            <pc:docMk/>
            <pc:sldMk cId="1619644282" sldId="2145705759"/>
            <ac:picMk id="52" creationId="{6E6EC43F-DF71-49E2-BCCA-ED3D7A5BA7AF}"/>
          </ac:picMkLst>
        </pc:picChg>
        <pc:picChg chg="del mod ord">
          <ac:chgData name="Ying Yang" userId="f1527f9b-a873-4aa2-b225-cf8fd3466e0d" providerId="ADAL" clId="{A30A5C05-46CF-4F03-AB5B-503FD66274CE}" dt="2022-06-13T09:24:49.903" v="5807" actId="21"/>
          <ac:picMkLst>
            <pc:docMk/>
            <pc:sldMk cId="1619644282" sldId="2145705759"/>
            <ac:picMk id="58" creationId="{E36D9613-2734-4EC5-A78D-C558C937498D}"/>
          </ac:picMkLst>
        </pc:picChg>
        <pc:picChg chg="mod topLvl">
          <ac:chgData name="Ying Yang" userId="f1527f9b-a873-4aa2-b225-cf8fd3466e0d" providerId="ADAL" clId="{A30A5C05-46CF-4F03-AB5B-503FD66274CE}" dt="2022-06-13T09:26:22.986" v="5828" actId="27349"/>
          <ac:picMkLst>
            <pc:docMk/>
            <pc:sldMk cId="1619644282" sldId="2145705759"/>
            <ac:picMk id="98" creationId="{9472678B-2146-4217-81CD-D33B8E173353}"/>
          </ac:picMkLst>
        </pc:picChg>
        <pc:picChg chg="del mod">
          <ac:chgData name="Ying Yang" userId="f1527f9b-a873-4aa2-b225-cf8fd3466e0d" providerId="ADAL" clId="{A30A5C05-46CF-4F03-AB5B-503FD66274CE}" dt="2022-06-13T09:25:20.071" v="5813" actId="478"/>
          <ac:picMkLst>
            <pc:docMk/>
            <pc:sldMk cId="1619644282" sldId="2145705759"/>
            <ac:picMk id="104" creationId="{4462CBA4-A17F-4CB3-AD94-153C3A466EC5}"/>
          </ac:picMkLst>
        </pc:picChg>
        <pc:picChg chg="del mod">
          <ac:chgData name="Ying Yang" userId="f1527f9b-a873-4aa2-b225-cf8fd3466e0d" providerId="ADAL" clId="{A30A5C05-46CF-4F03-AB5B-503FD66274CE}" dt="2022-06-13T09:24:38.279" v="5801" actId="478"/>
          <ac:picMkLst>
            <pc:docMk/>
            <pc:sldMk cId="1619644282" sldId="2145705759"/>
            <ac:picMk id="109" creationId="{5587C081-0A49-4E98-8948-773EFE147517}"/>
          </ac:picMkLst>
        </pc:picChg>
        <pc:picChg chg="add mod">
          <ac:chgData name="Ying Yang" userId="f1527f9b-a873-4aa2-b225-cf8fd3466e0d" providerId="ADAL" clId="{A30A5C05-46CF-4F03-AB5B-503FD66274CE}" dt="2022-06-13T09:25:17.152" v="5812" actId="27349"/>
          <ac:picMkLst>
            <pc:docMk/>
            <pc:sldMk cId="1619644282" sldId="2145705759"/>
            <ac:picMk id="114" creationId="{2687E106-3E52-46A3-8232-711EDC77D262}"/>
          </ac:picMkLst>
        </pc:picChg>
        <pc:picChg chg="add del mod">
          <ac:chgData name="Ying Yang" userId="f1527f9b-a873-4aa2-b225-cf8fd3466e0d" providerId="ADAL" clId="{A30A5C05-46CF-4F03-AB5B-503FD66274CE}" dt="2022-06-13T09:25:32.902" v="5819" actId="478"/>
          <ac:picMkLst>
            <pc:docMk/>
            <pc:sldMk cId="1619644282" sldId="2145705759"/>
            <ac:picMk id="115" creationId="{C6D93EF9-A2ED-4439-A6B0-A52A1EAAD888}"/>
          </ac:picMkLst>
        </pc:picChg>
        <pc:picChg chg="add mod">
          <ac:chgData name="Ying Yang" userId="f1527f9b-a873-4aa2-b225-cf8fd3466e0d" providerId="ADAL" clId="{A30A5C05-46CF-4F03-AB5B-503FD66274CE}" dt="2022-06-13T09:26:15.736" v="5824" actId="27349"/>
          <ac:picMkLst>
            <pc:docMk/>
            <pc:sldMk cId="1619644282" sldId="2145705759"/>
            <ac:picMk id="117" creationId="{A9AA8A02-7A8D-4A3C-9FD3-75F41DF20F2A}"/>
          </ac:picMkLst>
        </pc:picChg>
        <pc:cxnChg chg="mod">
          <ac:chgData name="Ying Yang" userId="f1527f9b-a873-4aa2-b225-cf8fd3466e0d" providerId="ADAL" clId="{A30A5C05-46CF-4F03-AB5B-503FD66274CE}" dt="2022-06-13T09:10:57.364" v="5599"/>
          <ac:cxnSpMkLst>
            <pc:docMk/>
            <pc:sldMk cId="1619644282" sldId="2145705759"/>
            <ac:cxnSpMk id="16" creationId="{E5D0DFAD-05B3-4E2F-A03E-2C565766D8E9}"/>
          </ac:cxnSpMkLst>
        </pc:cxnChg>
        <pc:cxnChg chg="mod">
          <ac:chgData name="Ying Yang" userId="f1527f9b-a873-4aa2-b225-cf8fd3466e0d" providerId="ADAL" clId="{A30A5C05-46CF-4F03-AB5B-503FD66274CE}" dt="2022-06-13T09:10:57.364" v="5599"/>
          <ac:cxnSpMkLst>
            <pc:docMk/>
            <pc:sldMk cId="1619644282" sldId="2145705759"/>
            <ac:cxnSpMk id="17" creationId="{C25C89FA-24F9-4EBF-B4B3-94ED7003ECD9}"/>
          </ac:cxnSpMkLst>
        </pc:cxnChg>
        <pc:cxnChg chg="mod">
          <ac:chgData name="Ying Yang" userId="f1527f9b-a873-4aa2-b225-cf8fd3466e0d" providerId="ADAL" clId="{A30A5C05-46CF-4F03-AB5B-503FD66274CE}" dt="2022-06-13T09:12:47.365" v="5620" actId="165"/>
          <ac:cxnSpMkLst>
            <pc:docMk/>
            <pc:sldMk cId="1619644282" sldId="2145705759"/>
            <ac:cxnSpMk id="63" creationId="{20315994-7CEC-4BF7-8216-9C5C4F6B6055}"/>
          </ac:cxnSpMkLst>
        </pc:cxnChg>
        <pc:cxnChg chg="mod">
          <ac:chgData name="Ying Yang" userId="f1527f9b-a873-4aa2-b225-cf8fd3466e0d" providerId="ADAL" clId="{A30A5C05-46CF-4F03-AB5B-503FD66274CE}" dt="2022-06-13T09:12:47.365" v="5620" actId="165"/>
          <ac:cxnSpMkLst>
            <pc:docMk/>
            <pc:sldMk cId="1619644282" sldId="2145705759"/>
            <ac:cxnSpMk id="67" creationId="{382E3E39-5B53-48D0-BDF0-222C7B346593}"/>
          </ac:cxnSpMkLst>
        </pc:cxnChg>
      </pc:sldChg>
      <pc:sldChg chg="addSp delSp modSp new mod ord">
        <pc:chgData name="Ying Yang" userId="f1527f9b-a873-4aa2-b225-cf8fd3466e0d" providerId="ADAL" clId="{A30A5C05-46CF-4F03-AB5B-503FD66274CE}" dt="2022-06-13T09:44:45.328" v="6202" actId="404"/>
        <pc:sldMkLst>
          <pc:docMk/>
          <pc:sldMk cId="609159275" sldId="2145705760"/>
        </pc:sldMkLst>
        <pc:spChg chg="del">
          <ac:chgData name="Ying Yang" userId="f1527f9b-a873-4aa2-b225-cf8fd3466e0d" providerId="ADAL" clId="{A30A5C05-46CF-4F03-AB5B-503FD66274CE}" dt="2022-06-13T09:19:42.086" v="5729" actId="478"/>
          <ac:spMkLst>
            <pc:docMk/>
            <pc:sldMk cId="609159275" sldId="2145705760"/>
            <ac:spMk id="2" creationId="{EF844C27-F82D-4CB0-8C7D-35A93934809A}"/>
          </ac:spMkLst>
        </pc:spChg>
        <pc:spChg chg="mod">
          <ac:chgData name="Ying Yang" userId="f1527f9b-a873-4aa2-b225-cf8fd3466e0d" providerId="ADAL" clId="{A30A5C05-46CF-4F03-AB5B-503FD66274CE}" dt="2022-06-13T09:20:01.020" v="5734" actId="207"/>
          <ac:spMkLst>
            <pc:docMk/>
            <pc:sldMk cId="609159275" sldId="2145705760"/>
            <ac:spMk id="6" creationId="{153EFB22-A663-4284-8CA1-89A56E8C89E5}"/>
          </ac:spMkLst>
        </pc:spChg>
        <pc:spChg chg="mod">
          <ac:chgData name="Ying Yang" userId="f1527f9b-a873-4aa2-b225-cf8fd3466e0d" providerId="ADAL" clId="{A30A5C05-46CF-4F03-AB5B-503FD66274CE}" dt="2022-06-13T09:19:57.304" v="5731" actId="208"/>
          <ac:spMkLst>
            <pc:docMk/>
            <pc:sldMk cId="609159275" sldId="2145705760"/>
            <ac:spMk id="8" creationId="{DBA1D083-C621-4B3B-8F4D-B66603D45C2F}"/>
          </ac:spMkLst>
        </pc:spChg>
        <pc:spChg chg="mod">
          <ac:chgData name="Ying Yang" userId="f1527f9b-a873-4aa2-b225-cf8fd3466e0d" providerId="ADAL" clId="{A30A5C05-46CF-4F03-AB5B-503FD66274CE}" dt="2022-06-13T09:19:39.995" v="5728"/>
          <ac:spMkLst>
            <pc:docMk/>
            <pc:sldMk cId="609159275" sldId="2145705760"/>
            <ac:spMk id="9" creationId="{08343EB6-1C72-41E1-9AA6-48CB42EAA64D}"/>
          </ac:spMkLst>
        </pc:spChg>
        <pc:spChg chg="mod">
          <ac:chgData name="Ying Yang" userId="f1527f9b-a873-4aa2-b225-cf8fd3466e0d" providerId="ADAL" clId="{A30A5C05-46CF-4F03-AB5B-503FD66274CE}" dt="2022-06-13T09:19:39.995" v="5728"/>
          <ac:spMkLst>
            <pc:docMk/>
            <pc:sldMk cId="609159275" sldId="2145705760"/>
            <ac:spMk id="11" creationId="{1258C52C-16C2-4686-82D7-FDEC888765C3}"/>
          </ac:spMkLst>
        </pc:spChg>
        <pc:spChg chg="mod">
          <ac:chgData name="Ying Yang" userId="f1527f9b-a873-4aa2-b225-cf8fd3466e0d" providerId="ADAL" clId="{A30A5C05-46CF-4F03-AB5B-503FD66274CE}" dt="2022-06-13T09:19:39.995" v="5728"/>
          <ac:spMkLst>
            <pc:docMk/>
            <pc:sldMk cId="609159275" sldId="2145705760"/>
            <ac:spMk id="12" creationId="{D1C29F6C-39B3-4365-A67F-6181C386D40D}"/>
          </ac:spMkLst>
        </pc:spChg>
        <pc:spChg chg="mod">
          <ac:chgData name="Ying Yang" userId="f1527f9b-a873-4aa2-b225-cf8fd3466e0d" providerId="ADAL" clId="{A30A5C05-46CF-4F03-AB5B-503FD66274CE}" dt="2022-06-13T09:19:39.995" v="5728"/>
          <ac:spMkLst>
            <pc:docMk/>
            <pc:sldMk cId="609159275" sldId="2145705760"/>
            <ac:spMk id="13" creationId="{D41D5B81-678A-4349-8593-00AAEB5302B7}"/>
          </ac:spMkLst>
        </pc:spChg>
        <pc:spChg chg="mod">
          <ac:chgData name="Ying Yang" userId="f1527f9b-a873-4aa2-b225-cf8fd3466e0d" providerId="ADAL" clId="{A30A5C05-46CF-4F03-AB5B-503FD66274CE}" dt="2022-06-13T09:19:39.995" v="5728"/>
          <ac:spMkLst>
            <pc:docMk/>
            <pc:sldMk cId="609159275" sldId="2145705760"/>
            <ac:spMk id="18" creationId="{62014DFA-0891-4CE6-B1F9-5F88D20FA370}"/>
          </ac:spMkLst>
        </pc:spChg>
        <pc:spChg chg="mod">
          <ac:chgData name="Ying Yang" userId="f1527f9b-a873-4aa2-b225-cf8fd3466e0d" providerId="ADAL" clId="{A30A5C05-46CF-4F03-AB5B-503FD66274CE}" dt="2022-06-13T09:19:39.995" v="5728"/>
          <ac:spMkLst>
            <pc:docMk/>
            <pc:sldMk cId="609159275" sldId="2145705760"/>
            <ac:spMk id="19" creationId="{75D55ECA-0BDB-4573-BD25-81E869685F9E}"/>
          </ac:spMkLst>
        </pc:spChg>
        <pc:spChg chg="add del mod">
          <ac:chgData name="Ying Yang" userId="f1527f9b-a873-4aa2-b225-cf8fd3466e0d" providerId="ADAL" clId="{A30A5C05-46CF-4F03-AB5B-503FD66274CE}" dt="2022-06-13T09:21:29.976" v="5751"/>
          <ac:spMkLst>
            <pc:docMk/>
            <pc:sldMk cId="609159275" sldId="2145705760"/>
            <ac:spMk id="20" creationId="{86D470C9-45B1-44A4-A57C-A8BDD4A81C03}"/>
          </ac:spMkLst>
        </pc:spChg>
        <pc:spChg chg="mod">
          <ac:chgData name="Ying Yang" userId="f1527f9b-a873-4aa2-b225-cf8fd3466e0d" providerId="ADAL" clId="{A30A5C05-46CF-4F03-AB5B-503FD66274CE}" dt="2022-06-13T09:20:31.209" v="5740" actId="1076"/>
          <ac:spMkLst>
            <pc:docMk/>
            <pc:sldMk cId="609159275" sldId="2145705760"/>
            <ac:spMk id="22" creationId="{79654254-5A06-4474-9421-E686236DF63B}"/>
          </ac:spMkLst>
        </pc:spChg>
        <pc:spChg chg="mod">
          <ac:chgData name="Ying Yang" userId="f1527f9b-a873-4aa2-b225-cf8fd3466e0d" providerId="ADAL" clId="{A30A5C05-46CF-4F03-AB5B-503FD66274CE}" dt="2022-06-13T09:31:16.726" v="5897" actId="207"/>
          <ac:spMkLst>
            <pc:docMk/>
            <pc:sldMk cId="609159275" sldId="2145705760"/>
            <ac:spMk id="26" creationId="{887E3CFF-6D5C-4A27-B75E-AA56F64D055C}"/>
          </ac:spMkLst>
        </pc:spChg>
        <pc:spChg chg="mod">
          <ac:chgData name="Ying Yang" userId="f1527f9b-a873-4aa2-b225-cf8fd3466e0d" providerId="ADAL" clId="{A30A5C05-46CF-4F03-AB5B-503FD66274CE}" dt="2022-06-13T09:21:42.333" v="5755" actId="14100"/>
          <ac:spMkLst>
            <pc:docMk/>
            <pc:sldMk cId="609159275" sldId="2145705760"/>
            <ac:spMk id="27" creationId="{F652F196-3DE3-4866-8E91-368B5114F26E}"/>
          </ac:spMkLst>
        </pc:spChg>
        <pc:spChg chg="mod">
          <ac:chgData name="Ying Yang" userId="f1527f9b-a873-4aa2-b225-cf8fd3466e0d" providerId="ADAL" clId="{A30A5C05-46CF-4F03-AB5B-503FD66274CE}" dt="2022-06-13T09:28:32.797" v="5848" actId="14100"/>
          <ac:spMkLst>
            <pc:docMk/>
            <pc:sldMk cId="609159275" sldId="2145705760"/>
            <ac:spMk id="28" creationId="{F294CC93-4ADB-47DE-B635-856D0B3A35F7}"/>
          </ac:spMkLst>
        </pc:spChg>
        <pc:spChg chg="add mod">
          <ac:chgData name="Ying Yang" userId="f1527f9b-a873-4aa2-b225-cf8fd3466e0d" providerId="ADAL" clId="{A30A5C05-46CF-4F03-AB5B-503FD66274CE}" dt="2022-06-13T09:31:07.627" v="5896" actId="404"/>
          <ac:spMkLst>
            <pc:docMk/>
            <pc:sldMk cId="609159275" sldId="2145705760"/>
            <ac:spMk id="29" creationId="{FD7B160F-74C8-49BD-B346-190C44D01042}"/>
          </ac:spMkLst>
        </pc:spChg>
        <pc:spChg chg="del mod topLvl">
          <ac:chgData name="Ying Yang" userId="f1527f9b-a873-4aa2-b225-cf8fd3466e0d" providerId="ADAL" clId="{A30A5C05-46CF-4F03-AB5B-503FD66274CE}" dt="2022-06-13T09:37:51.909" v="6054" actId="478"/>
          <ac:spMkLst>
            <pc:docMk/>
            <pc:sldMk cId="609159275" sldId="2145705760"/>
            <ac:spMk id="32" creationId="{66053544-E0D6-4E4D-9155-58A73FEEEB97}"/>
          </ac:spMkLst>
        </pc:spChg>
        <pc:spChg chg="del mod">
          <ac:chgData name="Ying Yang" userId="f1527f9b-a873-4aa2-b225-cf8fd3466e0d" providerId="ADAL" clId="{A30A5C05-46CF-4F03-AB5B-503FD66274CE}" dt="2022-06-13T09:32:03.623" v="5906" actId="478"/>
          <ac:spMkLst>
            <pc:docMk/>
            <pc:sldMk cId="609159275" sldId="2145705760"/>
            <ac:spMk id="33" creationId="{04DEAE0F-0CC3-43F0-9001-767DDD703B6B}"/>
          </ac:spMkLst>
        </pc:spChg>
        <pc:spChg chg="del mod">
          <ac:chgData name="Ying Yang" userId="f1527f9b-a873-4aa2-b225-cf8fd3466e0d" providerId="ADAL" clId="{A30A5C05-46CF-4F03-AB5B-503FD66274CE}" dt="2022-06-13T09:32:13.298" v="5911" actId="478"/>
          <ac:spMkLst>
            <pc:docMk/>
            <pc:sldMk cId="609159275" sldId="2145705760"/>
            <ac:spMk id="35" creationId="{9840DC67-4D2D-49AC-86E4-781F9C6AEAC0}"/>
          </ac:spMkLst>
        </pc:spChg>
        <pc:spChg chg="del mod">
          <ac:chgData name="Ying Yang" userId="f1527f9b-a873-4aa2-b225-cf8fd3466e0d" providerId="ADAL" clId="{A30A5C05-46CF-4F03-AB5B-503FD66274CE}" dt="2022-06-13T09:32:01.694" v="5905" actId="478"/>
          <ac:spMkLst>
            <pc:docMk/>
            <pc:sldMk cId="609159275" sldId="2145705760"/>
            <ac:spMk id="36" creationId="{F47E11BA-CED1-448B-9AF2-4A5AC9B8DCA7}"/>
          </ac:spMkLst>
        </pc:spChg>
        <pc:spChg chg="del mod">
          <ac:chgData name="Ying Yang" userId="f1527f9b-a873-4aa2-b225-cf8fd3466e0d" providerId="ADAL" clId="{A30A5C05-46CF-4F03-AB5B-503FD66274CE}" dt="2022-06-13T09:32:07.971" v="5909" actId="478"/>
          <ac:spMkLst>
            <pc:docMk/>
            <pc:sldMk cId="609159275" sldId="2145705760"/>
            <ac:spMk id="37" creationId="{EA4CC3C2-952F-4B90-AF56-D0C4AA9C2CDE}"/>
          </ac:spMkLst>
        </pc:spChg>
        <pc:spChg chg="del mod">
          <ac:chgData name="Ying Yang" userId="f1527f9b-a873-4aa2-b225-cf8fd3466e0d" providerId="ADAL" clId="{A30A5C05-46CF-4F03-AB5B-503FD66274CE}" dt="2022-06-13T09:32:11.159" v="5910" actId="478"/>
          <ac:spMkLst>
            <pc:docMk/>
            <pc:sldMk cId="609159275" sldId="2145705760"/>
            <ac:spMk id="39" creationId="{90F6106B-2176-409F-A4B7-2482DD8D0404}"/>
          </ac:spMkLst>
        </pc:spChg>
        <pc:spChg chg="del mod topLvl">
          <ac:chgData name="Ying Yang" userId="f1527f9b-a873-4aa2-b225-cf8fd3466e0d" providerId="ADAL" clId="{A30A5C05-46CF-4F03-AB5B-503FD66274CE}" dt="2022-06-13T09:38:33.693" v="6065" actId="478"/>
          <ac:spMkLst>
            <pc:docMk/>
            <pc:sldMk cId="609159275" sldId="2145705760"/>
            <ac:spMk id="40" creationId="{753A7535-407C-4E8B-914E-C2B66BC45F0A}"/>
          </ac:spMkLst>
        </pc:spChg>
        <pc:spChg chg="del mod">
          <ac:chgData name="Ying Yang" userId="f1527f9b-a873-4aa2-b225-cf8fd3466e0d" providerId="ADAL" clId="{A30A5C05-46CF-4F03-AB5B-503FD66274CE}" dt="2022-06-13T09:37:38.381" v="6049" actId="478"/>
          <ac:spMkLst>
            <pc:docMk/>
            <pc:sldMk cId="609159275" sldId="2145705760"/>
            <ac:spMk id="44" creationId="{B9BD0660-29FC-4518-BB4D-A0255225D8C0}"/>
          </ac:spMkLst>
        </pc:spChg>
        <pc:spChg chg="mod">
          <ac:chgData name="Ying Yang" userId="f1527f9b-a873-4aa2-b225-cf8fd3466e0d" providerId="ADAL" clId="{A30A5C05-46CF-4F03-AB5B-503FD66274CE}" dt="2022-06-13T09:38:05.382" v="6056" actId="21"/>
          <ac:spMkLst>
            <pc:docMk/>
            <pc:sldMk cId="609159275" sldId="2145705760"/>
            <ac:spMk id="45" creationId="{A2539397-C997-484B-8757-713107C925D3}"/>
          </ac:spMkLst>
        </pc:spChg>
        <pc:spChg chg="mod">
          <ac:chgData name="Ying Yang" userId="f1527f9b-a873-4aa2-b225-cf8fd3466e0d" providerId="ADAL" clId="{A30A5C05-46CF-4F03-AB5B-503FD66274CE}" dt="2022-06-13T09:35:03.509" v="5982" actId="165"/>
          <ac:spMkLst>
            <pc:docMk/>
            <pc:sldMk cId="609159275" sldId="2145705760"/>
            <ac:spMk id="48" creationId="{6AACBCD5-CF8C-49E2-A8D1-5B1E13B8CE5C}"/>
          </ac:spMkLst>
        </pc:spChg>
        <pc:spChg chg="mod">
          <ac:chgData name="Ying Yang" userId="f1527f9b-a873-4aa2-b225-cf8fd3466e0d" providerId="ADAL" clId="{A30A5C05-46CF-4F03-AB5B-503FD66274CE}" dt="2022-06-13T09:35:03.509" v="5982" actId="165"/>
          <ac:spMkLst>
            <pc:docMk/>
            <pc:sldMk cId="609159275" sldId="2145705760"/>
            <ac:spMk id="49" creationId="{9C0F1EC0-52E3-4933-91A4-E7C201507233}"/>
          </ac:spMkLst>
        </pc:spChg>
        <pc:spChg chg="mod">
          <ac:chgData name="Ying Yang" userId="f1527f9b-a873-4aa2-b225-cf8fd3466e0d" providerId="ADAL" clId="{A30A5C05-46CF-4F03-AB5B-503FD66274CE}" dt="2022-06-13T09:35:03.509" v="5982" actId="165"/>
          <ac:spMkLst>
            <pc:docMk/>
            <pc:sldMk cId="609159275" sldId="2145705760"/>
            <ac:spMk id="50" creationId="{36E83291-940B-4755-87C8-301F8C921381}"/>
          </ac:spMkLst>
        </pc:spChg>
        <pc:spChg chg="mod">
          <ac:chgData name="Ying Yang" userId="f1527f9b-a873-4aa2-b225-cf8fd3466e0d" providerId="ADAL" clId="{A30A5C05-46CF-4F03-AB5B-503FD66274CE}" dt="2022-06-13T09:35:03.509" v="5982" actId="165"/>
          <ac:spMkLst>
            <pc:docMk/>
            <pc:sldMk cId="609159275" sldId="2145705760"/>
            <ac:spMk id="51" creationId="{2B9FA34B-9273-4BCB-8162-A3BBFA06B2D2}"/>
          </ac:spMkLst>
        </pc:spChg>
        <pc:spChg chg="mod">
          <ac:chgData name="Ying Yang" userId="f1527f9b-a873-4aa2-b225-cf8fd3466e0d" providerId="ADAL" clId="{A30A5C05-46CF-4F03-AB5B-503FD66274CE}" dt="2022-06-13T09:35:03.509" v="5982" actId="165"/>
          <ac:spMkLst>
            <pc:docMk/>
            <pc:sldMk cId="609159275" sldId="2145705760"/>
            <ac:spMk id="52" creationId="{03B7E077-20D9-43D1-925B-A89567C10AC1}"/>
          </ac:spMkLst>
        </pc:spChg>
        <pc:spChg chg="mod">
          <ac:chgData name="Ying Yang" userId="f1527f9b-a873-4aa2-b225-cf8fd3466e0d" providerId="ADAL" clId="{A30A5C05-46CF-4F03-AB5B-503FD66274CE}" dt="2022-06-13T09:35:03.509" v="5982" actId="165"/>
          <ac:spMkLst>
            <pc:docMk/>
            <pc:sldMk cId="609159275" sldId="2145705760"/>
            <ac:spMk id="53" creationId="{44FC0211-084F-4E9B-BC3F-231378B41AAA}"/>
          </ac:spMkLst>
        </pc:spChg>
        <pc:spChg chg="mod">
          <ac:chgData name="Ying Yang" userId="f1527f9b-a873-4aa2-b225-cf8fd3466e0d" providerId="ADAL" clId="{A30A5C05-46CF-4F03-AB5B-503FD66274CE}" dt="2022-06-13T09:35:03.509" v="5982" actId="165"/>
          <ac:spMkLst>
            <pc:docMk/>
            <pc:sldMk cId="609159275" sldId="2145705760"/>
            <ac:spMk id="54" creationId="{1F5003BE-DF33-493C-BFE1-AF6F0FFA509F}"/>
          </ac:spMkLst>
        </pc:spChg>
        <pc:spChg chg="mod">
          <ac:chgData name="Ying Yang" userId="f1527f9b-a873-4aa2-b225-cf8fd3466e0d" providerId="ADAL" clId="{A30A5C05-46CF-4F03-AB5B-503FD66274CE}" dt="2022-06-13T09:35:03.509" v="5982" actId="165"/>
          <ac:spMkLst>
            <pc:docMk/>
            <pc:sldMk cId="609159275" sldId="2145705760"/>
            <ac:spMk id="55" creationId="{68A67154-2CB2-4590-B129-C18807C52F10}"/>
          </ac:spMkLst>
        </pc:spChg>
        <pc:spChg chg="mod">
          <ac:chgData name="Ying Yang" userId="f1527f9b-a873-4aa2-b225-cf8fd3466e0d" providerId="ADAL" clId="{A30A5C05-46CF-4F03-AB5B-503FD66274CE}" dt="2022-06-13T09:35:03.509" v="5982" actId="165"/>
          <ac:spMkLst>
            <pc:docMk/>
            <pc:sldMk cId="609159275" sldId="2145705760"/>
            <ac:spMk id="56" creationId="{5E6B2B26-24CC-4CAE-95DB-9161AC3A5C7F}"/>
          </ac:spMkLst>
        </pc:spChg>
        <pc:spChg chg="mod">
          <ac:chgData name="Ying Yang" userId="f1527f9b-a873-4aa2-b225-cf8fd3466e0d" providerId="ADAL" clId="{A30A5C05-46CF-4F03-AB5B-503FD66274CE}" dt="2022-06-13T09:35:03.509" v="5982" actId="165"/>
          <ac:spMkLst>
            <pc:docMk/>
            <pc:sldMk cId="609159275" sldId="2145705760"/>
            <ac:spMk id="57" creationId="{B3D15EF5-A12D-4918-8A47-6C675A155F56}"/>
          </ac:spMkLst>
        </pc:spChg>
        <pc:spChg chg="del mod">
          <ac:chgData name="Ying Yang" userId="f1527f9b-a873-4aa2-b225-cf8fd3466e0d" providerId="ADAL" clId="{A30A5C05-46CF-4F03-AB5B-503FD66274CE}" dt="2022-06-13T09:32:06.805" v="5908" actId="478"/>
          <ac:spMkLst>
            <pc:docMk/>
            <pc:sldMk cId="609159275" sldId="2145705760"/>
            <ac:spMk id="59" creationId="{372A36E0-171C-4AF2-A63D-CD6E7AD9A505}"/>
          </ac:spMkLst>
        </pc:spChg>
        <pc:spChg chg="mod topLvl">
          <ac:chgData name="Ying Yang" userId="f1527f9b-a873-4aa2-b225-cf8fd3466e0d" providerId="ADAL" clId="{A30A5C05-46CF-4F03-AB5B-503FD66274CE}" dt="2022-06-13T09:35:03.509" v="5982" actId="165"/>
          <ac:spMkLst>
            <pc:docMk/>
            <pc:sldMk cId="609159275" sldId="2145705760"/>
            <ac:spMk id="60" creationId="{E1037BC9-C25A-4908-98D1-C898901BE7B0}"/>
          </ac:spMkLst>
        </pc:spChg>
        <pc:spChg chg="del mod">
          <ac:chgData name="Ying Yang" userId="f1527f9b-a873-4aa2-b225-cf8fd3466e0d" providerId="ADAL" clId="{A30A5C05-46CF-4F03-AB5B-503FD66274CE}" dt="2022-06-13T09:32:05.239" v="5907" actId="478"/>
          <ac:spMkLst>
            <pc:docMk/>
            <pc:sldMk cId="609159275" sldId="2145705760"/>
            <ac:spMk id="62" creationId="{10283579-5291-41B9-8143-593B99581118}"/>
          </ac:spMkLst>
        </pc:spChg>
        <pc:spChg chg="mod">
          <ac:chgData name="Ying Yang" userId="f1527f9b-a873-4aa2-b225-cf8fd3466e0d" providerId="ADAL" clId="{A30A5C05-46CF-4F03-AB5B-503FD66274CE}" dt="2022-06-13T09:35:07.299" v="5984"/>
          <ac:spMkLst>
            <pc:docMk/>
            <pc:sldMk cId="609159275" sldId="2145705760"/>
            <ac:spMk id="65" creationId="{A715534B-7B27-46CB-8700-C3EB36C9EEC9}"/>
          </ac:spMkLst>
        </pc:spChg>
        <pc:spChg chg="mod">
          <ac:chgData name="Ying Yang" userId="f1527f9b-a873-4aa2-b225-cf8fd3466e0d" providerId="ADAL" clId="{A30A5C05-46CF-4F03-AB5B-503FD66274CE}" dt="2022-06-13T09:35:07.299" v="5984"/>
          <ac:spMkLst>
            <pc:docMk/>
            <pc:sldMk cId="609159275" sldId="2145705760"/>
            <ac:spMk id="66" creationId="{22878B8F-65AB-4EF7-B02A-6BDB51D1A576}"/>
          </ac:spMkLst>
        </pc:spChg>
        <pc:spChg chg="mod">
          <ac:chgData name="Ying Yang" userId="f1527f9b-a873-4aa2-b225-cf8fd3466e0d" providerId="ADAL" clId="{A30A5C05-46CF-4F03-AB5B-503FD66274CE}" dt="2022-06-13T09:35:36.535" v="5997" actId="20577"/>
          <ac:spMkLst>
            <pc:docMk/>
            <pc:sldMk cId="609159275" sldId="2145705760"/>
            <ac:spMk id="68" creationId="{932B1EEB-C6CE-4574-9873-95B99518EB85}"/>
          </ac:spMkLst>
        </pc:spChg>
        <pc:spChg chg="mod">
          <ac:chgData name="Ying Yang" userId="f1527f9b-a873-4aa2-b225-cf8fd3466e0d" providerId="ADAL" clId="{A30A5C05-46CF-4F03-AB5B-503FD66274CE}" dt="2022-06-13T09:35:11.795" v="5986"/>
          <ac:spMkLst>
            <pc:docMk/>
            <pc:sldMk cId="609159275" sldId="2145705760"/>
            <ac:spMk id="69" creationId="{BC544777-F316-400A-802F-39EF3300D71C}"/>
          </ac:spMkLst>
        </pc:spChg>
        <pc:spChg chg="mod">
          <ac:chgData name="Ying Yang" userId="f1527f9b-a873-4aa2-b225-cf8fd3466e0d" providerId="ADAL" clId="{A30A5C05-46CF-4F03-AB5B-503FD66274CE}" dt="2022-06-13T09:35:16.536" v="5988"/>
          <ac:spMkLst>
            <pc:docMk/>
            <pc:sldMk cId="609159275" sldId="2145705760"/>
            <ac:spMk id="71" creationId="{F5876BF5-B48E-41A5-A4FD-F7DFD526FD7A}"/>
          </ac:spMkLst>
        </pc:spChg>
        <pc:spChg chg="mod">
          <ac:chgData name="Ying Yang" userId="f1527f9b-a873-4aa2-b225-cf8fd3466e0d" providerId="ADAL" clId="{A30A5C05-46CF-4F03-AB5B-503FD66274CE}" dt="2022-06-13T09:35:16.536" v="5988"/>
          <ac:spMkLst>
            <pc:docMk/>
            <pc:sldMk cId="609159275" sldId="2145705760"/>
            <ac:spMk id="72" creationId="{5A73FD70-0FC4-4E20-B794-02C203EA4725}"/>
          </ac:spMkLst>
        </pc:spChg>
        <pc:spChg chg="mod">
          <ac:chgData name="Ying Yang" userId="f1527f9b-a873-4aa2-b225-cf8fd3466e0d" providerId="ADAL" clId="{A30A5C05-46CF-4F03-AB5B-503FD66274CE}" dt="2022-06-13T09:35:54.328" v="6003" actId="20577"/>
          <ac:spMkLst>
            <pc:docMk/>
            <pc:sldMk cId="609159275" sldId="2145705760"/>
            <ac:spMk id="74" creationId="{29CBE649-20A4-4766-997B-68F4FC15FEE6}"/>
          </ac:spMkLst>
        </pc:spChg>
        <pc:spChg chg="mod">
          <ac:chgData name="Ying Yang" userId="f1527f9b-a873-4aa2-b225-cf8fd3466e0d" providerId="ADAL" clId="{A30A5C05-46CF-4F03-AB5B-503FD66274CE}" dt="2022-06-13T09:35:20.655" v="5990"/>
          <ac:spMkLst>
            <pc:docMk/>
            <pc:sldMk cId="609159275" sldId="2145705760"/>
            <ac:spMk id="75" creationId="{F29F830D-B593-470A-9FD9-150464F8E2DF}"/>
          </ac:spMkLst>
        </pc:spChg>
        <pc:spChg chg="mod">
          <ac:chgData name="Ying Yang" userId="f1527f9b-a873-4aa2-b225-cf8fd3466e0d" providerId="ADAL" clId="{A30A5C05-46CF-4F03-AB5B-503FD66274CE}" dt="2022-06-13T09:36:34.735" v="6008"/>
          <ac:spMkLst>
            <pc:docMk/>
            <pc:sldMk cId="609159275" sldId="2145705760"/>
            <ac:spMk id="77" creationId="{468B72A1-44A9-4A02-A782-9B2A017C04E2}"/>
          </ac:spMkLst>
        </pc:spChg>
        <pc:spChg chg="mod">
          <ac:chgData name="Ying Yang" userId="f1527f9b-a873-4aa2-b225-cf8fd3466e0d" providerId="ADAL" clId="{A30A5C05-46CF-4F03-AB5B-503FD66274CE}" dt="2022-06-13T09:36:34.735" v="6008"/>
          <ac:spMkLst>
            <pc:docMk/>
            <pc:sldMk cId="609159275" sldId="2145705760"/>
            <ac:spMk id="78" creationId="{553FEA20-A399-4CFC-AA60-F28A938E25B1}"/>
          </ac:spMkLst>
        </pc:spChg>
        <pc:spChg chg="del mod">
          <ac:chgData name="Ying Yang" userId="f1527f9b-a873-4aa2-b225-cf8fd3466e0d" providerId="ADAL" clId="{A30A5C05-46CF-4F03-AB5B-503FD66274CE}" dt="2022-06-13T09:40:00.699" v="6103" actId="21"/>
          <ac:spMkLst>
            <pc:docMk/>
            <pc:sldMk cId="609159275" sldId="2145705760"/>
            <ac:spMk id="79" creationId="{EF9D8078-8968-4951-B966-3B4F0239DAA8}"/>
          </ac:spMkLst>
        </pc:spChg>
        <pc:spChg chg="mod">
          <ac:chgData name="Ying Yang" userId="f1527f9b-a873-4aa2-b225-cf8fd3466e0d" providerId="ADAL" clId="{A30A5C05-46CF-4F03-AB5B-503FD66274CE}" dt="2022-06-13T09:39:25.491" v="6098" actId="20577"/>
          <ac:spMkLst>
            <pc:docMk/>
            <pc:sldMk cId="609159275" sldId="2145705760"/>
            <ac:spMk id="80" creationId="{FFAE66AE-D31B-4E17-8497-E049AC6FA4A4}"/>
          </ac:spMkLst>
        </pc:spChg>
        <pc:spChg chg="mod">
          <ac:chgData name="Ying Yang" userId="f1527f9b-a873-4aa2-b225-cf8fd3466e0d" providerId="ADAL" clId="{A30A5C05-46CF-4F03-AB5B-503FD66274CE}" dt="2022-06-13T09:36:34.735" v="6008"/>
          <ac:spMkLst>
            <pc:docMk/>
            <pc:sldMk cId="609159275" sldId="2145705760"/>
            <ac:spMk id="81" creationId="{268C440D-76A7-494E-8CBA-2466D5153626}"/>
          </ac:spMkLst>
        </pc:spChg>
        <pc:spChg chg="add del mod">
          <ac:chgData name="Ying Yang" userId="f1527f9b-a873-4aa2-b225-cf8fd3466e0d" providerId="ADAL" clId="{A30A5C05-46CF-4F03-AB5B-503FD66274CE}" dt="2022-06-13T09:39:13.527" v="6080" actId="207"/>
          <ac:spMkLst>
            <pc:docMk/>
            <pc:sldMk cId="609159275" sldId="2145705760"/>
            <ac:spMk id="84" creationId="{B6B46539-AAD2-4690-9A7A-6B4D0476CAC0}"/>
          </ac:spMkLst>
        </pc:spChg>
        <pc:spChg chg="add mod">
          <ac:chgData name="Ying Yang" userId="f1527f9b-a873-4aa2-b225-cf8fd3466e0d" providerId="ADAL" clId="{A30A5C05-46CF-4F03-AB5B-503FD66274CE}" dt="2022-06-13T09:41:14.583" v="6147" actId="164"/>
          <ac:spMkLst>
            <pc:docMk/>
            <pc:sldMk cId="609159275" sldId="2145705760"/>
            <ac:spMk id="91" creationId="{B1197083-A54E-495B-AE93-8CA0AFA6AE25}"/>
          </ac:spMkLst>
        </pc:spChg>
        <pc:spChg chg="add mod">
          <ac:chgData name="Ying Yang" userId="f1527f9b-a873-4aa2-b225-cf8fd3466e0d" providerId="ADAL" clId="{A30A5C05-46CF-4F03-AB5B-503FD66274CE}" dt="2022-06-13T09:41:14.583" v="6147" actId="164"/>
          <ac:spMkLst>
            <pc:docMk/>
            <pc:sldMk cId="609159275" sldId="2145705760"/>
            <ac:spMk id="92" creationId="{52683E54-EAF2-4DF9-A032-629AAD5306D1}"/>
          </ac:spMkLst>
        </pc:spChg>
        <pc:spChg chg="add mod">
          <ac:chgData name="Ying Yang" userId="f1527f9b-a873-4aa2-b225-cf8fd3466e0d" providerId="ADAL" clId="{A30A5C05-46CF-4F03-AB5B-503FD66274CE}" dt="2022-06-13T09:44:34.127" v="6197" actId="20577"/>
          <ac:spMkLst>
            <pc:docMk/>
            <pc:sldMk cId="609159275" sldId="2145705760"/>
            <ac:spMk id="93" creationId="{08A46F91-5229-41E8-A25C-D35C2C184B20}"/>
          </ac:spMkLst>
        </pc:spChg>
        <pc:spChg chg="mod">
          <ac:chgData name="Ying Yang" userId="f1527f9b-a873-4aa2-b225-cf8fd3466e0d" providerId="ADAL" clId="{A30A5C05-46CF-4F03-AB5B-503FD66274CE}" dt="2022-06-13T09:41:11.366" v="6146" actId="164"/>
          <ac:spMkLst>
            <pc:docMk/>
            <pc:sldMk cId="609159275" sldId="2145705760"/>
            <ac:spMk id="97" creationId="{7A4BA425-EAE5-4BA2-8C48-CB6CC72AEBFA}"/>
          </ac:spMkLst>
        </pc:spChg>
        <pc:spChg chg="mod">
          <ac:chgData name="Ying Yang" userId="f1527f9b-a873-4aa2-b225-cf8fd3466e0d" providerId="ADAL" clId="{A30A5C05-46CF-4F03-AB5B-503FD66274CE}" dt="2022-06-13T09:41:11.366" v="6146" actId="164"/>
          <ac:spMkLst>
            <pc:docMk/>
            <pc:sldMk cId="609159275" sldId="2145705760"/>
            <ac:spMk id="98" creationId="{BFBB4A16-B572-4510-9BC3-5A0681E769F2}"/>
          </ac:spMkLst>
        </pc:spChg>
        <pc:spChg chg="mod">
          <ac:chgData name="Ying Yang" userId="f1527f9b-a873-4aa2-b225-cf8fd3466e0d" providerId="ADAL" clId="{A30A5C05-46CF-4F03-AB5B-503FD66274CE}" dt="2022-06-13T09:41:11.366" v="6146" actId="164"/>
          <ac:spMkLst>
            <pc:docMk/>
            <pc:sldMk cId="609159275" sldId="2145705760"/>
            <ac:spMk id="99" creationId="{8D78A8B7-C7BA-4072-AADD-3F23CC3B8754}"/>
          </ac:spMkLst>
        </pc:spChg>
        <pc:spChg chg="mod">
          <ac:chgData name="Ying Yang" userId="f1527f9b-a873-4aa2-b225-cf8fd3466e0d" providerId="ADAL" clId="{A30A5C05-46CF-4F03-AB5B-503FD66274CE}" dt="2022-06-13T09:41:11.366" v="6146" actId="164"/>
          <ac:spMkLst>
            <pc:docMk/>
            <pc:sldMk cId="609159275" sldId="2145705760"/>
            <ac:spMk id="100" creationId="{5D11706D-955F-4BDA-92CB-77E5A035399A}"/>
          </ac:spMkLst>
        </pc:spChg>
        <pc:spChg chg="add mod">
          <ac:chgData name="Ying Yang" userId="f1527f9b-a873-4aa2-b225-cf8fd3466e0d" providerId="ADAL" clId="{A30A5C05-46CF-4F03-AB5B-503FD66274CE}" dt="2022-06-13T09:41:14.583" v="6147" actId="164"/>
          <ac:spMkLst>
            <pc:docMk/>
            <pc:sldMk cId="609159275" sldId="2145705760"/>
            <ac:spMk id="101" creationId="{82152DF8-2698-41C5-BE3F-E2B370A80FCF}"/>
          </ac:spMkLst>
        </pc:spChg>
        <pc:spChg chg="mod">
          <ac:chgData name="Ying Yang" userId="f1527f9b-a873-4aa2-b225-cf8fd3466e0d" providerId="ADAL" clId="{A30A5C05-46CF-4F03-AB5B-503FD66274CE}" dt="2022-06-13T09:41:09.451" v="6144"/>
          <ac:spMkLst>
            <pc:docMk/>
            <pc:sldMk cId="609159275" sldId="2145705760"/>
            <ac:spMk id="104" creationId="{E54D1BF0-5968-4EA7-B1AE-BB6003AFB7CC}"/>
          </ac:spMkLst>
        </pc:spChg>
        <pc:spChg chg="mod">
          <ac:chgData name="Ying Yang" userId="f1527f9b-a873-4aa2-b225-cf8fd3466e0d" providerId="ADAL" clId="{A30A5C05-46CF-4F03-AB5B-503FD66274CE}" dt="2022-06-13T09:41:09.451" v="6144"/>
          <ac:spMkLst>
            <pc:docMk/>
            <pc:sldMk cId="609159275" sldId="2145705760"/>
            <ac:spMk id="105" creationId="{CB44652E-55B7-4374-8F42-6419D6918831}"/>
          </ac:spMkLst>
        </pc:spChg>
        <pc:spChg chg="mod">
          <ac:chgData name="Ying Yang" userId="f1527f9b-a873-4aa2-b225-cf8fd3466e0d" providerId="ADAL" clId="{A30A5C05-46CF-4F03-AB5B-503FD66274CE}" dt="2022-06-13T09:41:09.451" v="6144"/>
          <ac:spMkLst>
            <pc:docMk/>
            <pc:sldMk cId="609159275" sldId="2145705760"/>
            <ac:spMk id="107" creationId="{8DD64A78-573C-40D3-8D3A-8FD81A2A93F4}"/>
          </ac:spMkLst>
        </pc:spChg>
        <pc:spChg chg="mod">
          <ac:chgData name="Ying Yang" userId="f1527f9b-a873-4aa2-b225-cf8fd3466e0d" providerId="ADAL" clId="{A30A5C05-46CF-4F03-AB5B-503FD66274CE}" dt="2022-06-13T09:41:09.451" v="6144"/>
          <ac:spMkLst>
            <pc:docMk/>
            <pc:sldMk cId="609159275" sldId="2145705760"/>
            <ac:spMk id="110" creationId="{62B59208-7F91-4626-B071-6F44E9AE4662}"/>
          </ac:spMkLst>
        </pc:spChg>
        <pc:spChg chg="mod">
          <ac:chgData name="Ying Yang" userId="f1527f9b-a873-4aa2-b225-cf8fd3466e0d" providerId="ADAL" clId="{A30A5C05-46CF-4F03-AB5B-503FD66274CE}" dt="2022-06-13T09:41:09.451" v="6144"/>
          <ac:spMkLst>
            <pc:docMk/>
            <pc:sldMk cId="609159275" sldId="2145705760"/>
            <ac:spMk id="111" creationId="{F06769F4-9B6E-4927-8AEC-30DC489B9F9D}"/>
          </ac:spMkLst>
        </pc:spChg>
        <pc:spChg chg="mod">
          <ac:chgData name="Ying Yang" userId="f1527f9b-a873-4aa2-b225-cf8fd3466e0d" providerId="ADAL" clId="{A30A5C05-46CF-4F03-AB5B-503FD66274CE}" dt="2022-06-13T09:41:09.451" v="6144"/>
          <ac:spMkLst>
            <pc:docMk/>
            <pc:sldMk cId="609159275" sldId="2145705760"/>
            <ac:spMk id="112" creationId="{376D6013-F5A3-475B-8F8A-601D0B3B1193}"/>
          </ac:spMkLst>
        </pc:spChg>
        <pc:spChg chg="mod">
          <ac:chgData name="Ying Yang" userId="f1527f9b-a873-4aa2-b225-cf8fd3466e0d" providerId="ADAL" clId="{A30A5C05-46CF-4F03-AB5B-503FD66274CE}" dt="2022-06-13T09:41:09.451" v="6144"/>
          <ac:spMkLst>
            <pc:docMk/>
            <pc:sldMk cId="609159275" sldId="2145705760"/>
            <ac:spMk id="113" creationId="{A5CB8C8F-792D-413B-BC52-3731173AB1AA}"/>
          </ac:spMkLst>
        </pc:spChg>
        <pc:spChg chg="mod">
          <ac:chgData name="Ying Yang" userId="f1527f9b-a873-4aa2-b225-cf8fd3466e0d" providerId="ADAL" clId="{A30A5C05-46CF-4F03-AB5B-503FD66274CE}" dt="2022-06-13T09:41:46.038" v="6158" actId="14100"/>
          <ac:spMkLst>
            <pc:docMk/>
            <pc:sldMk cId="609159275" sldId="2145705760"/>
            <ac:spMk id="116" creationId="{5CAFD959-23D6-48C7-B0B1-76425486330B}"/>
          </ac:spMkLst>
        </pc:spChg>
        <pc:spChg chg="mod">
          <ac:chgData name="Ying Yang" userId="f1527f9b-a873-4aa2-b225-cf8fd3466e0d" providerId="ADAL" clId="{A30A5C05-46CF-4F03-AB5B-503FD66274CE}" dt="2022-06-13T09:41:15.886" v="6148"/>
          <ac:spMkLst>
            <pc:docMk/>
            <pc:sldMk cId="609159275" sldId="2145705760"/>
            <ac:spMk id="117" creationId="{13F224B7-46B2-438D-AAAF-239B819E9B60}"/>
          </ac:spMkLst>
        </pc:spChg>
        <pc:spChg chg="mod">
          <ac:chgData name="Ying Yang" userId="f1527f9b-a873-4aa2-b225-cf8fd3466e0d" providerId="ADAL" clId="{A30A5C05-46CF-4F03-AB5B-503FD66274CE}" dt="2022-06-13T09:44:45.328" v="6202" actId="404"/>
          <ac:spMkLst>
            <pc:docMk/>
            <pc:sldMk cId="609159275" sldId="2145705760"/>
            <ac:spMk id="118" creationId="{95BA80C6-C794-4F08-B60D-2536DA35D388}"/>
          </ac:spMkLst>
        </pc:spChg>
        <pc:spChg chg="mod">
          <ac:chgData name="Ying Yang" userId="f1527f9b-a873-4aa2-b225-cf8fd3466e0d" providerId="ADAL" clId="{A30A5C05-46CF-4F03-AB5B-503FD66274CE}" dt="2022-06-13T09:41:42.393" v="6157"/>
          <ac:spMkLst>
            <pc:docMk/>
            <pc:sldMk cId="609159275" sldId="2145705760"/>
            <ac:spMk id="120" creationId="{A812B764-6B59-484B-BBE6-EDDAAE52EEEA}"/>
          </ac:spMkLst>
        </pc:spChg>
        <pc:spChg chg="mod">
          <ac:chgData name="Ying Yang" userId="f1527f9b-a873-4aa2-b225-cf8fd3466e0d" providerId="ADAL" clId="{A30A5C05-46CF-4F03-AB5B-503FD66274CE}" dt="2022-06-13T09:41:15.886" v="6148"/>
          <ac:spMkLst>
            <pc:docMk/>
            <pc:sldMk cId="609159275" sldId="2145705760"/>
            <ac:spMk id="123" creationId="{212523E3-18C6-4F01-9FF3-4DE0D73FF333}"/>
          </ac:spMkLst>
        </pc:spChg>
        <pc:spChg chg="mod">
          <ac:chgData name="Ying Yang" userId="f1527f9b-a873-4aa2-b225-cf8fd3466e0d" providerId="ADAL" clId="{A30A5C05-46CF-4F03-AB5B-503FD66274CE}" dt="2022-06-13T09:41:15.886" v="6148"/>
          <ac:spMkLst>
            <pc:docMk/>
            <pc:sldMk cId="609159275" sldId="2145705760"/>
            <ac:spMk id="124" creationId="{8E7D0299-6E66-4963-B72D-F92EA3293150}"/>
          </ac:spMkLst>
        </pc:spChg>
        <pc:spChg chg="mod">
          <ac:chgData name="Ying Yang" userId="f1527f9b-a873-4aa2-b225-cf8fd3466e0d" providerId="ADAL" clId="{A30A5C05-46CF-4F03-AB5B-503FD66274CE}" dt="2022-06-13T09:41:15.886" v="6148"/>
          <ac:spMkLst>
            <pc:docMk/>
            <pc:sldMk cId="609159275" sldId="2145705760"/>
            <ac:spMk id="125" creationId="{52EF7D41-7C30-41FC-BF6D-CC8D8523E9F6}"/>
          </ac:spMkLst>
        </pc:spChg>
        <pc:spChg chg="mod">
          <ac:chgData name="Ying Yang" userId="f1527f9b-a873-4aa2-b225-cf8fd3466e0d" providerId="ADAL" clId="{A30A5C05-46CF-4F03-AB5B-503FD66274CE}" dt="2022-06-13T09:41:15.886" v="6148"/>
          <ac:spMkLst>
            <pc:docMk/>
            <pc:sldMk cId="609159275" sldId="2145705760"/>
            <ac:spMk id="126" creationId="{B776E316-0E95-4F84-99BC-53963F261062}"/>
          </ac:spMkLst>
        </pc:spChg>
        <pc:grpChg chg="add mod">
          <ac:chgData name="Ying Yang" userId="f1527f9b-a873-4aa2-b225-cf8fd3466e0d" providerId="ADAL" clId="{A30A5C05-46CF-4F03-AB5B-503FD66274CE}" dt="2022-06-13T09:19:39.995" v="5728"/>
          <ac:grpSpMkLst>
            <pc:docMk/>
            <pc:sldMk cId="609159275" sldId="2145705760"/>
            <ac:grpSpMk id="3" creationId="{5B131605-673D-4446-A4AD-B7E5726CAD8A}"/>
          </ac:grpSpMkLst>
        </pc:grpChg>
        <pc:grpChg chg="mod">
          <ac:chgData name="Ying Yang" userId="f1527f9b-a873-4aa2-b225-cf8fd3466e0d" providerId="ADAL" clId="{A30A5C05-46CF-4F03-AB5B-503FD66274CE}" dt="2022-06-13T09:19:39.995" v="5728"/>
          <ac:grpSpMkLst>
            <pc:docMk/>
            <pc:sldMk cId="609159275" sldId="2145705760"/>
            <ac:grpSpMk id="4" creationId="{056A0AD3-4446-4665-92B8-797EA2004D27}"/>
          </ac:grpSpMkLst>
        </pc:grpChg>
        <pc:grpChg chg="mod">
          <ac:chgData name="Ying Yang" userId="f1527f9b-a873-4aa2-b225-cf8fd3466e0d" providerId="ADAL" clId="{A30A5C05-46CF-4F03-AB5B-503FD66274CE}" dt="2022-06-13T09:19:39.995" v="5728"/>
          <ac:grpSpMkLst>
            <pc:docMk/>
            <pc:sldMk cId="609159275" sldId="2145705760"/>
            <ac:grpSpMk id="5" creationId="{E6554B67-A5EE-4C28-802B-ABED460FB9F6}"/>
          </ac:grpSpMkLst>
        </pc:grpChg>
        <pc:grpChg chg="mod">
          <ac:chgData name="Ying Yang" userId="f1527f9b-a873-4aa2-b225-cf8fd3466e0d" providerId="ADAL" clId="{A30A5C05-46CF-4F03-AB5B-503FD66274CE}" dt="2022-06-13T09:19:39.995" v="5728"/>
          <ac:grpSpMkLst>
            <pc:docMk/>
            <pc:sldMk cId="609159275" sldId="2145705760"/>
            <ac:grpSpMk id="7" creationId="{0F02AB8E-8471-4D79-9243-A418CB15D109}"/>
          </ac:grpSpMkLst>
        </pc:grpChg>
        <pc:grpChg chg="mod">
          <ac:chgData name="Ying Yang" userId="f1527f9b-a873-4aa2-b225-cf8fd3466e0d" providerId="ADAL" clId="{A30A5C05-46CF-4F03-AB5B-503FD66274CE}" dt="2022-06-13T09:19:39.995" v="5728"/>
          <ac:grpSpMkLst>
            <pc:docMk/>
            <pc:sldMk cId="609159275" sldId="2145705760"/>
            <ac:grpSpMk id="10" creationId="{D257654B-0CDF-40C1-9F24-D27846177BF6}"/>
          </ac:grpSpMkLst>
        </pc:grpChg>
        <pc:grpChg chg="mod">
          <ac:chgData name="Ying Yang" userId="f1527f9b-a873-4aa2-b225-cf8fd3466e0d" providerId="ADAL" clId="{A30A5C05-46CF-4F03-AB5B-503FD66274CE}" dt="2022-06-13T09:19:39.995" v="5728"/>
          <ac:grpSpMkLst>
            <pc:docMk/>
            <pc:sldMk cId="609159275" sldId="2145705760"/>
            <ac:grpSpMk id="14" creationId="{9A8FEE54-A316-4B5E-819B-2BDB6F4B4158}"/>
          </ac:grpSpMkLst>
        </pc:grpChg>
        <pc:grpChg chg="mod">
          <ac:chgData name="Ying Yang" userId="f1527f9b-a873-4aa2-b225-cf8fd3466e0d" providerId="ADAL" clId="{A30A5C05-46CF-4F03-AB5B-503FD66274CE}" dt="2022-06-13T09:19:39.995" v="5728"/>
          <ac:grpSpMkLst>
            <pc:docMk/>
            <pc:sldMk cId="609159275" sldId="2145705760"/>
            <ac:grpSpMk id="15" creationId="{9F971026-193F-43A2-802A-546F4D7AA540}"/>
          </ac:grpSpMkLst>
        </pc:grpChg>
        <pc:grpChg chg="add mod">
          <ac:chgData name="Ying Yang" userId="f1527f9b-a873-4aa2-b225-cf8fd3466e0d" providerId="ADAL" clId="{A30A5C05-46CF-4F03-AB5B-503FD66274CE}" dt="2022-06-13T09:31:45.438" v="5901" actId="1076"/>
          <ac:grpSpMkLst>
            <pc:docMk/>
            <pc:sldMk cId="609159275" sldId="2145705760"/>
            <ac:grpSpMk id="21" creationId="{450B577B-4392-4A72-A0AB-1C0D8250F367}"/>
          </ac:grpSpMkLst>
        </pc:grpChg>
        <pc:grpChg chg="add mod">
          <ac:chgData name="Ying Yang" userId="f1527f9b-a873-4aa2-b225-cf8fd3466e0d" providerId="ADAL" clId="{A30A5C05-46CF-4F03-AB5B-503FD66274CE}" dt="2022-06-13T09:21:20.140" v="5745" actId="14100"/>
          <ac:grpSpMkLst>
            <pc:docMk/>
            <pc:sldMk cId="609159275" sldId="2145705760"/>
            <ac:grpSpMk id="24" creationId="{C48AC585-3E9F-42B4-8AE5-A97D5C57ED24}"/>
          </ac:grpSpMkLst>
        </pc:grpChg>
        <pc:grpChg chg="mod">
          <ac:chgData name="Ying Yang" userId="f1527f9b-a873-4aa2-b225-cf8fd3466e0d" providerId="ADAL" clId="{A30A5C05-46CF-4F03-AB5B-503FD66274CE}" dt="2022-06-13T09:21:17.779" v="5744"/>
          <ac:grpSpMkLst>
            <pc:docMk/>
            <pc:sldMk cId="609159275" sldId="2145705760"/>
            <ac:grpSpMk id="25" creationId="{DA010AB8-BECB-4C62-A1DB-11AF372223A7}"/>
          </ac:grpSpMkLst>
        </pc:grpChg>
        <pc:grpChg chg="add del mod ord">
          <ac:chgData name="Ying Yang" userId="f1527f9b-a873-4aa2-b225-cf8fd3466e0d" providerId="ADAL" clId="{A30A5C05-46CF-4F03-AB5B-503FD66274CE}" dt="2022-06-13T09:35:03.509" v="5982" actId="165"/>
          <ac:grpSpMkLst>
            <pc:docMk/>
            <pc:sldMk cId="609159275" sldId="2145705760"/>
            <ac:grpSpMk id="31" creationId="{A0CCFD98-8B5D-4591-9FF7-9C5C65992C83}"/>
          </ac:grpSpMkLst>
        </pc:grpChg>
        <pc:grpChg chg="del mod">
          <ac:chgData name="Ying Yang" userId="f1527f9b-a873-4aa2-b225-cf8fd3466e0d" providerId="ADAL" clId="{A30A5C05-46CF-4F03-AB5B-503FD66274CE}" dt="2022-06-13T09:32:06.805" v="5908" actId="478"/>
          <ac:grpSpMkLst>
            <pc:docMk/>
            <pc:sldMk cId="609159275" sldId="2145705760"/>
            <ac:grpSpMk id="34" creationId="{912C5862-2D69-4C45-BD5A-95B6F0307283}"/>
          </ac:grpSpMkLst>
        </pc:grpChg>
        <pc:grpChg chg="del mod topLvl">
          <ac:chgData name="Ying Yang" userId="f1527f9b-a873-4aa2-b225-cf8fd3466e0d" providerId="ADAL" clId="{A30A5C05-46CF-4F03-AB5B-503FD66274CE}" dt="2022-06-13T09:35:06.243" v="5983" actId="21"/>
          <ac:grpSpMkLst>
            <pc:docMk/>
            <pc:sldMk cId="609159275" sldId="2145705760"/>
            <ac:grpSpMk id="38" creationId="{5AB542FA-0FF2-400A-B354-53F80141C341}"/>
          </ac:grpSpMkLst>
        </pc:grpChg>
        <pc:grpChg chg="del mod topLvl">
          <ac:chgData name="Ying Yang" userId="f1527f9b-a873-4aa2-b225-cf8fd3466e0d" providerId="ADAL" clId="{A30A5C05-46CF-4F03-AB5B-503FD66274CE}" dt="2022-06-13T09:38:43.479" v="6072" actId="478"/>
          <ac:grpSpMkLst>
            <pc:docMk/>
            <pc:sldMk cId="609159275" sldId="2145705760"/>
            <ac:grpSpMk id="41" creationId="{B2790A00-C2A8-4F45-998A-11BD8F10D529}"/>
          </ac:grpSpMkLst>
        </pc:grpChg>
        <pc:grpChg chg="mod">
          <ac:chgData name="Ying Yang" userId="f1527f9b-a873-4aa2-b225-cf8fd3466e0d" providerId="ADAL" clId="{A30A5C05-46CF-4F03-AB5B-503FD66274CE}" dt="2022-06-13T09:35:03.509" v="5982" actId="165"/>
          <ac:grpSpMkLst>
            <pc:docMk/>
            <pc:sldMk cId="609159275" sldId="2145705760"/>
            <ac:grpSpMk id="42" creationId="{93A07CA0-C253-41C3-ACEE-64CA1C8E2AFF}"/>
          </ac:grpSpMkLst>
        </pc:grpChg>
        <pc:grpChg chg="mod">
          <ac:chgData name="Ying Yang" userId="f1527f9b-a873-4aa2-b225-cf8fd3466e0d" providerId="ADAL" clId="{A30A5C05-46CF-4F03-AB5B-503FD66274CE}" dt="2022-06-13T09:35:03.509" v="5982" actId="165"/>
          <ac:grpSpMkLst>
            <pc:docMk/>
            <pc:sldMk cId="609159275" sldId="2145705760"/>
            <ac:grpSpMk id="43" creationId="{1798FCA1-CC07-487E-AB6D-C9061F6DE9D3}"/>
          </ac:grpSpMkLst>
        </pc:grpChg>
        <pc:grpChg chg="mod">
          <ac:chgData name="Ying Yang" userId="f1527f9b-a873-4aa2-b225-cf8fd3466e0d" providerId="ADAL" clId="{A30A5C05-46CF-4F03-AB5B-503FD66274CE}" dt="2022-06-13T09:35:03.509" v="5982" actId="165"/>
          <ac:grpSpMkLst>
            <pc:docMk/>
            <pc:sldMk cId="609159275" sldId="2145705760"/>
            <ac:grpSpMk id="46" creationId="{1507F7D1-2C35-45C2-B5F1-F251136023A3}"/>
          </ac:grpSpMkLst>
        </pc:grpChg>
        <pc:grpChg chg="mod">
          <ac:chgData name="Ying Yang" userId="f1527f9b-a873-4aa2-b225-cf8fd3466e0d" providerId="ADAL" clId="{A30A5C05-46CF-4F03-AB5B-503FD66274CE}" dt="2022-06-13T09:35:03.509" v="5982" actId="165"/>
          <ac:grpSpMkLst>
            <pc:docMk/>
            <pc:sldMk cId="609159275" sldId="2145705760"/>
            <ac:grpSpMk id="47" creationId="{094FB395-8D74-4BAD-8E35-92BC9866CF84}"/>
          </ac:grpSpMkLst>
        </pc:grpChg>
        <pc:grpChg chg="del mod">
          <ac:chgData name="Ying Yang" userId="f1527f9b-a873-4aa2-b225-cf8fd3466e0d" providerId="ADAL" clId="{A30A5C05-46CF-4F03-AB5B-503FD66274CE}" dt="2022-06-13T09:31:55.513" v="5903" actId="478"/>
          <ac:grpSpMkLst>
            <pc:docMk/>
            <pc:sldMk cId="609159275" sldId="2145705760"/>
            <ac:grpSpMk id="58" creationId="{2A521E8C-79B1-4AA7-84B7-FD20CC8583A9}"/>
          </ac:grpSpMkLst>
        </pc:grpChg>
        <pc:grpChg chg="add del mod">
          <ac:chgData name="Ying Yang" userId="f1527f9b-a873-4aa2-b225-cf8fd3466e0d" providerId="ADAL" clId="{A30A5C05-46CF-4F03-AB5B-503FD66274CE}" dt="2022-06-13T09:36:10.114" v="6005" actId="478"/>
          <ac:grpSpMkLst>
            <pc:docMk/>
            <pc:sldMk cId="609159275" sldId="2145705760"/>
            <ac:grpSpMk id="64" creationId="{059ACC4B-BE42-485C-9C0C-AB604C5B515A}"/>
          </ac:grpSpMkLst>
        </pc:grpChg>
        <pc:grpChg chg="add del mod">
          <ac:chgData name="Ying Yang" userId="f1527f9b-a873-4aa2-b225-cf8fd3466e0d" providerId="ADAL" clId="{A30A5C05-46CF-4F03-AB5B-503FD66274CE}" dt="2022-06-13T09:36:08.494" v="6004" actId="478"/>
          <ac:grpSpMkLst>
            <pc:docMk/>
            <pc:sldMk cId="609159275" sldId="2145705760"/>
            <ac:grpSpMk id="67" creationId="{707608F6-4CD1-4770-92F2-88707FFC489A}"/>
          </ac:grpSpMkLst>
        </pc:grpChg>
        <pc:grpChg chg="add del mod">
          <ac:chgData name="Ying Yang" userId="f1527f9b-a873-4aa2-b225-cf8fd3466e0d" providerId="ADAL" clId="{A30A5C05-46CF-4F03-AB5B-503FD66274CE}" dt="2022-06-13T09:36:11.103" v="6006" actId="478"/>
          <ac:grpSpMkLst>
            <pc:docMk/>
            <pc:sldMk cId="609159275" sldId="2145705760"/>
            <ac:grpSpMk id="70" creationId="{0CF59DE5-7716-4665-B996-2BE7E510928C}"/>
          </ac:grpSpMkLst>
        </pc:grpChg>
        <pc:grpChg chg="add mod">
          <ac:chgData name="Ying Yang" userId="f1527f9b-a873-4aa2-b225-cf8fd3466e0d" providerId="ADAL" clId="{A30A5C05-46CF-4F03-AB5B-503FD66274CE}" dt="2022-06-13T09:36:13.716" v="6007" actId="1076"/>
          <ac:grpSpMkLst>
            <pc:docMk/>
            <pc:sldMk cId="609159275" sldId="2145705760"/>
            <ac:grpSpMk id="73" creationId="{07EE0BDA-6859-4922-A503-2D9FE28D1A8D}"/>
          </ac:grpSpMkLst>
        </pc:grpChg>
        <pc:grpChg chg="add del mod">
          <ac:chgData name="Ying Yang" userId="f1527f9b-a873-4aa2-b225-cf8fd3466e0d" providerId="ADAL" clId="{A30A5C05-46CF-4F03-AB5B-503FD66274CE}" dt="2022-06-13T09:40:13.737" v="6110" actId="478"/>
          <ac:grpSpMkLst>
            <pc:docMk/>
            <pc:sldMk cId="609159275" sldId="2145705760"/>
            <ac:grpSpMk id="76" creationId="{0588085E-5B0A-473A-AF8B-3A9E608A5C29}"/>
          </ac:grpSpMkLst>
        </pc:grpChg>
        <pc:grpChg chg="add mod">
          <ac:chgData name="Ying Yang" userId="f1527f9b-a873-4aa2-b225-cf8fd3466e0d" providerId="ADAL" clId="{A30A5C05-46CF-4F03-AB5B-503FD66274CE}" dt="2022-06-13T09:38:49.686" v="6074" actId="14100"/>
          <ac:grpSpMkLst>
            <pc:docMk/>
            <pc:sldMk cId="609159275" sldId="2145705760"/>
            <ac:grpSpMk id="83" creationId="{6CFABB4A-4E70-4EDF-983A-132376E43A7B}"/>
          </ac:grpSpMkLst>
        </pc:grpChg>
        <pc:grpChg chg="mod">
          <ac:chgData name="Ying Yang" userId="f1527f9b-a873-4aa2-b225-cf8fd3466e0d" providerId="ADAL" clId="{A30A5C05-46CF-4F03-AB5B-503FD66274CE}" dt="2022-06-13T09:38:03.412" v="6055"/>
          <ac:grpSpMkLst>
            <pc:docMk/>
            <pc:sldMk cId="609159275" sldId="2145705760"/>
            <ac:grpSpMk id="85" creationId="{24C1C452-9B2B-4213-A40E-07962C7691E9}"/>
          </ac:grpSpMkLst>
        </pc:grpChg>
        <pc:grpChg chg="mod">
          <ac:chgData name="Ying Yang" userId="f1527f9b-a873-4aa2-b225-cf8fd3466e0d" providerId="ADAL" clId="{A30A5C05-46CF-4F03-AB5B-503FD66274CE}" dt="2022-06-13T09:38:03.412" v="6055"/>
          <ac:grpSpMkLst>
            <pc:docMk/>
            <pc:sldMk cId="609159275" sldId="2145705760"/>
            <ac:grpSpMk id="86" creationId="{F4F1225C-6FDA-4E69-8F9F-79F2D895DAA4}"/>
          </ac:grpSpMkLst>
        </pc:grpChg>
        <pc:grpChg chg="add mod">
          <ac:chgData name="Ying Yang" userId="f1527f9b-a873-4aa2-b225-cf8fd3466e0d" providerId="ADAL" clId="{A30A5C05-46CF-4F03-AB5B-503FD66274CE}" dt="2022-06-13T09:41:14.583" v="6147" actId="164"/>
          <ac:grpSpMkLst>
            <pc:docMk/>
            <pc:sldMk cId="609159275" sldId="2145705760"/>
            <ac:grpSpMk id="94" creationId="{6E14444E-A137-4502-AA8F-F7A1E2003AAE}"/>
          </ac:grpSpMkLst>
        </pc:grpChg>
        <pc:grpChg chg="mod">
          <ac:chgData name="Ying Yang" userId="f1527f9b-a873-4aa2-b225-cf8fd3466e0d" providerId="ADAL" clId="{A30A5C05-46CF-4F03-AB5B-503FD66274CE}" dt="2022-06-13T09:41:11.366" v="6146" actId="164"/>
          <ac:grpSpMkLst>
            <pc:docMk/>
            <pc:sldMk cId="609159275" sldId="2145705760"/>
            <ac:grpSpMk id="95" creationId="{1CC35300-684A-4759-A4B5-C4F14C2A9AA7}"/>
          </ac:grpSpMkLst>
        </pc:grpChg>
        <pc:grpChg chg="mod">
          <ac:chgData name="Ying Yang" userId="f1527f9b-a873-4aa2-b225-cf8fd3466e0d" providerId="ADAL" clId="{A30A5C05-46CF-4F03-AB5B-503FD66274CE}" dt="2022-06-13T09:41:11.366" v="6146" actId="164"/>
          <ac:grpSpMkLst>
            <pc:docMk/>
            <pc:sldMk cId="609159275" sldId="2145705760"/>
            <ac:grpSpMk id="96" creationId="{7B2B3E7C-1B79-4BFB-8099-3E9848409D6C}"/>
          </ac:grpSpMkLst>
        </pc:grpChg>
        <pc:grpChg chg="add mod">
          <ac:chgData name="Ying Yang" userId="f1527f9b-a873-4aa2-b225-cf8fd3466e0d" providerId="ADAL" clId="{A30A5C05-46CF-4F03-AB5B-503FD66274CE}" dt="2022-06-13T09:41:11.366" v="6146" actId="164"/>
          <ac:grpSpMkLst>
            <pc:docMk/>
            <pc:sldMk cId="609159275" sldId="2145705760"/>
            <ac:grpSpMk id="102" creationId="{4645234C-F127-46F0-AB5A-6134C9C4AFEC}"/>
          </ac:grpSpMkLst>
        </pc:grpChg>
        <pc:grpChg chg="add del mod">
          <ac:chgData name="Ying Yang" userId="f1527f9b-a873-4aa2-b225-cf8fd3466e0d" providerId="ADAL" clId="{A30A5C05-46CF-4F03-AB5B-503FD66274CE}" dt="2022-06-13T09:41:11.045" v="6145"/>
          <ac:grpSpMkLst>
            <pc:docMk/>
            <pc:sldMk cId="609159275" sldId="2145705760"/>
            <ac:grpSpMk id="103" creationId="{7DD5BFBD-86C6-455D-9C91-56BE6D8547A0}"/>
          </ac:grpSpMkLst>
        </pc:grpChg>
        <pc:grpChg chg="mod">
          <ac:chgData name="Ying Yang" userId="f1527f9b-a873-4aa2-b225-cf8fd3466e0d" providerId="ADAL" clId="{A30A5C05-46CF-4F03-AB5B-503FD66274CE}" dt="2022-06-13T09:41:09.451" v="6144"/>
          <ac:grpSpMkLst>
            <pc:docMk/>
            <pc:sldMk cId="609159275" sldId="2145705760"/>
            <ac:grpSpMk id="106" creationId="{796B2E5E-428F-447D-BA53-09068326001A}"/>
          </ac:grpSpMkLst>
        </pc:grpChg>
        <pc:grpChg chg="mod">
          <ac:chgData name="Ying Yang" userId="f1527f9b-a873-4aa2-b225-cf8fd3466e0d" providerId="ADAL" clId="{A30A5C05-46CF-4F03-AB5B-503FD66274CE}" dt="2022-06-13T09:41:09.451" v="6144"/>
          <ac:grpSpMkLst>
            <pc:docMk/>
            <pc:sldMk cId="609159275" sldId="2145705760"/>
            <ac:grpSpMk id="108" creationId="{4648F336-B89B-4781-9FA8-1AE784E9872D}"/>
          </ac:grpSpMkLst>
        </pc:grpChg>
        <pc:grpChg chg="mod">
          <ac:chgData name="Ying Yang" userId="f1527f9b-a873-4aa2-b225-cf8fd3466e0d" providerId="ADAL" clId="{A30A5C05-46CF-4F03-AB5B-503FD66274CE}" dt="2022-06-13T09:41:09.451" v="6144"/>
          <ac:grpSpMkLst>
            <pc:docMk/>
            <pc:sldMk cId="609159275" sldId="2145705760"/>
            <ac:grpSpMk id="109" creationId="{B526C6CE-081A-400A-82DE-CBA5A5019AF1}"/>
          </ac:grpSpMkLst>
        </pc:grpChg>
        <pc:grpChg chg="add mod">
          <ac:chgData name="Ying Yang" userId="f1527f9b-a873-4aa2-b225-cf8fd3466e0d" providerId="ADAL" clId="{A30A5C05-46CF-4F03-AB5B-503FD66274CE}" dt="2022-06-13T09:41:14.583" v="6147" actId="164"/>
          <ac:grpSpMkLst>
            <pc:docMk/>
            <pc:sldMk cId="609159275" sldId="2145705760"/>
            <ac:grpSpMk id="114" creationId="{2E4A2CD6-683C-45D9-AF9C-6244F141F7D3}"/>
          </ac:grpSpMkLst>
        </pc:grpChg>
        <pc:grpChg chg="add mod">
          <ac:chgData name="Ying Yang" userId="f1527f9b-a873-4aa2-b225-cf8fd3466e0d" providerId="ADAL" clId="{A30A5C05-46CF-4F03-AB5B-503FD66274CE}" dt="2022-06-13T09:41:18.405" v="6149" actId="1076"/>
          <ac:grpSpMkLst>
            <pc:docMk/>
            <pc:sldMk cId="609159275" sldId="2145705760"/>
            <ac:grpSpMk id="115" creationId="{D8CCD7E4-A4C0-49FF-90A1-C2E1CE7831A9}"/>
          </ac:grpSpMkLst>
        </pc:grpChg>
        <pc:grpChg chg="mod">
          <ac:chgData name="Ying Yang" userId="f1527f9b-a873-4aa2-b225-cf8fd3466e0d" providerId="ADAL" clId="{A30A5C05-46CF-4F03-AB5B-503FD66274CE}" dt="2022-06-13T09:41:15.886" v="6148"/>
          <ac:grpSpMkLst>
            <pc:docMk/>
            <pc:sldMk cId="609159275" sldId="2145705760"/>
            <ac:grpSpMk id="119" creationId="{56FE269B-F6FE-4A72-9C6D-E60B48A6B5BF}"/>
          </ac:grpSpMkLst>
        </pc:grpChg>
        <pc:grpChg chg="mod">
          <ac:chgData name="Ying Yang" userId="f1527f9b-a873-4aa2-b225-cf8fd3466e0d" providerId="ADAL" clId="{A30A5C05-46CF-4F03-AB5B-503FD66274CE}" dt="2022-06-13T09:41:15.886" v="6148"/>
          <ac:grpSpMkLst>
            <pc:docMk/>
            <pc:sldMk cId="609159275" sldId="2145705760"/>
            <ac:grpSpMk id="121" creationId="{FDA42C16-F335-465F-94F7-500301E252BB}"/>
          </ac:grpSpMkLst>
        </pc:grpChg>
        <pc:grpChg chg="mod">
          <ac:chgData name="Ying Yang" userId="f1527f9b-a873-4aa2-b225-cf8fd3466e0d" providerId="ADAL" clId="{A30A5C05-46CF-4F03-AB5B-503FD66274CE}" dt="2022-06-13T09:41:15.886" v="6148"/>
          <ac:grpSpMkLst>
            <pc:docMk/>
            <pc:sldMk cId="609159275" sldId="2145705760"/>
            <ac:grpSpMk id="122" creationId="{272372CE-0B1A-4839-94CF-3FD3E26160EA}"/>
          </ac:grpSpMkLst>
        </pc:grpChg>
        <pc:graphicFrameChg chg="add del mod">
          <ac:chgData name="Ying Yang" userId="f1527f9b-a873-4aa2-b225-cf8fd3466e0d" providerId="ADAL" clId="{A30A5C05-46CF-4F03-AB5B-503FD66274CE}" dt="2022-06-13T09:34:10.200" v="5968" actId="21"/>
          <ac:graphicFrameMkLst>
            <pc:docMk/>
            <pc:sldMk cId="609159275" sldId="2145705760"/>
            <ac:graphicFrameMk id="30" creationId="{742FFF9E-0530-4F90-A252-71FA18FEE5CC}"/>
          </ac:graphicFrameMkLst>
        </pc:graphicFrameChg>
        <pc:graphicFrameChg chg="del mod">
          <ac:chgData name="Ying Yang" userId="f1527f9b-a873-4aa2-b225-cf8fd3466e0d" providerId="ADAL" clId="{A30A5C05-46CF-4F03-AB5B-503FD66274CE}" dt="2022-06-13T09:31:55.513" v="5903" actId="478"/>
          <ac:graphicFrameMkLst>
            <pc:docMk/>
            <pc:sldMk cId="609159275" sldId="2145705760"/>
            <ac:graphicFrameMk id="61" creationId="{4C33CD01-BB5B-46BE-AA67-792AAA258DC6}"/>
          </ac:graphicFrameMkLst>
        </pc:graphicFrameChg>
        <pc:graphicFrameChg chg="add del mod">
          <ac:chgData name="Ying Yang" userId="f1527f9b-a873-4aa2-b225-cf8fd3466e0d" providerId="ADAL" clId="{A30A5C05-46CF-4F03-AB5B-503FD66274CE}" dt="2022-06-13T09:38:37.779" v="6070" actId="404"/>
          <ac:graphicFrameMkLst>
            <pc:docMk/>
            <pc:sldMk cId="609159275" sldId="2145705760"/>
            <ac:graphicFrameMk id="63" creationId="{DBF93FCB-D7C7-4092-86D8-6C4A5291016E}"/>
          </ac:graphicFrameMkLst>
        </pc:graphicFrameChg>
        <pc:picChg chg="mod">
          <ac:chgData name="Ying Yang" userId="f1527f9b-a873-4aa2-b225-cf8fd3466e0d" providerId="ADAL" clId="{A30A5C05-46CF-4F03-AB5B-503FD66274CE}" dt="2022-06-13T09:20:17.850" v="5736"/>
          <ac:picMkLst>
            <pc:docMk/>
            <pc:sldMk cId="609159275" sldId="2145705760"/>
            <ac:picMk id="23" creationId="{6448630E-CE0C-45CC-B35B-ABE358DC677D}"/>
          </ac:picMkLst>
        </pc:picChg>
        <pc:picChg chg="mod">
          <ac:chgData name="Ying Yang" userId="f1527f9b-a873-4aa2-b225-cf8fd3466e0d" providerId="ADAL" clId="{A30A5C05-46CF-4F03-AB5B-503FD66274CE}" dt="2022-06-13T09:37:34.587" v="6048" actId="1076"/>
          <ac:picMkLst>
            <pc:docMk/>
            <pc:sldMk cId="609159275" sldId="2145705760"/>
            <ac:picMk id="82" creationId="{2CC710BC-EA55-40E3-8791-C49815AF25DF}"/>
          </ac:picMkLst>
        </pc:picChg>
        <pc:cxnChg chg="mod">
          <ac:chgData name="Ying Yang" userId="f1527f9b-a873-4aa2-b225-cf8fd3466e0d" providerId="ADAL" clId="{A30A5C05-46CF-4F03-AB5B-503FD66274CE}" dt="2022-06-13T09:19:39.995" v="5728"/>
          <ac:cxnSpMkLst>
            <pc:docMk/>
            <pc:sldMk cId="609159275" sldId="2145705760"/>
            <ac:cxnSpMk id="16" creationId="{A701089F-AE51-4BC8-979A-630AB0233405}"/>
          </ac:cxnSpMkLst>
        </pc:cxnChg>
        <pc:cxnChg chg="mod">
          <ac:chgData name="Ying Yang" userId="f1527f9b-a873-4aa2-b225-cf8fd3466e0d" providerId="ADAL" clId="{A30A5C05-46CF-4F03-AB5B-503FD66274CE}" dt="2022-06-13T09:19:39.995" v="5728"/>
          <ac:cxnSpMkLst>
            <pc:docMk/>
            <pc:sldMk cId="609159275" sldId="2145705760"/>
            <ac:cxnSpMk id="17" creationId="{8CD58510-7F14-43A8-97C2-186E387253FB}"/>
          </ac:cxnSpMkLst>
        </pc:cxnChg>
        <pc:cxnChg chg="mod">
          <ac:chgData name="Ying Yang" userId="f1527f9b-a873-4aa2-b225-cf8fd3466e0d" providerId="ADAL" clId="{A30A5C05-46CF-4F03-AB5B-503FD66274CE}" dt="2022-06-13T09:38:03.412" v="6055"/>
          <ac:cxnSpMkLst>
            <pc:docMk/>
            <pc:sldMk cId="609159275" sldId="2145705760"/>
            <ac:cxnSpMk id="87" creationId="{40A42693-75C0-494D-9D9D-43AFFAE3EF37}"/>
          </ac:cxnSpMkLst>
        </pc:cxnChg>
        <pc:cxnChg chg="mod">
          <ac:chgData name="Ying Yang" userId="f1527f9b-a873-4aa2-b225-cf8fd3466e0d" providerId="ADAL" clId="{A30A5C05-46CF-4F03-AB5B-503FD66274CE}" dt="2022-06-13T09:38:03.412" v="6055"/>
          <ac:cxnSpMkLst>
            <pc:docMk/>
            <pc:sldMk cId="609159275" sldId="2145705760"/>
            <ac:cxnSpMk id="88" creationId="{8483AC1E-22DD-49CD-95D4-50C25EE6B427}"/>
          </ac:cxnSpMkLst>
        </pc:cxnChg>
        <pc:cxnChg chg="mod">
          <ac:chgData name="Ying Yang" userId="f1527f9b-a873-4aa2-b225-cf8fd3466e0d" providerId="ADAL" clId="{A30A5C05-46CF-4F03-AB5B-503FD66274CE}" dt="2022-06-13T09:38:03.412" v="6055"/>
          <ac:cxnSpMkLst>
            <pc:docMk/>
            <pc:sldMk cId="609159275" sldId="2145705760"/>
            <ac:cxnSpMk id="89" creationId="{C5C14D3E-82EB-4AA2-94D9-AECD6AADA92A}"/>
          </ac:cxnSpMkLst>
        </pc:cxnChg>
        <pc:cxnChg chg="mod">
          <ac:chgData name="Ying Yang" userId="f1527f9b-a873-4aa2-b225-cf8fd3466e0d" providerId="ADAL" clId="{A30A5C05-46CF-4F03-AB5B-503FD66274CE}" dt="2022-06-13T09:38:03.412" v="6055"/>
          <ac:cxnSpMkLst>
            <pc:docMk/>
            <pc:sldMk cId="609159275" sldId="2145705760"/>
            <ac:cxnSpMk id="90" creationId="{D2A39DD2-9691-4E38-9361-35B5479650DA}"/>
          </ac:cxnSpMkLst>
        </pc:cxnChg>
      </pc:sldChg>
      <pc:sldChg chg="add del">
        <pc:chgData name="Ying Yang" userId="f1527f9b-a873-4aa2-b225-cf8fd3466e0d" providerId="ADAL" clId="{A30A5C05-46CF-4F03-AB5B-503FD66274CE}" dt="2022-06-13T09:19:29.445" v="5725"/>
        <pc:sldMkLst>
          <pc:docMk/>
          <pc:sldMk cId="715800811" sldId="2145705760"/>
        </pc:sldMkLst>
      </pc:sldChg>
      <pc:sldChg chg="addSp delSp modSp new mod ord">
        <pc:chgData name="Ying Yang" userId="f1527f9b-a873-4aa2-b225-cf8fd3466e0d" providerId="ADAL" clId="{A30A5C05-46CF-4F03-AB5B-503FD66274CE}" dt="2022-06-13T10:08:12.291" v="6870" actId="1038"/>
        <pc:sldMkLst>
          <pc:docMk/>
          <pc:sldMk cId="2317412309" sldId="2145705761"/>
        </pc:sldMkLst>
        <pc:spChg chg="del">
          <ac:chgData name="Ying Yang" userId="f1527f9b-a873-4aa2-b225-cf8fd3466e0d" providerId="ADAL" clId="{A30A5C05-46CF-4F03-AB5B-503FD66274CE}" dt="2022-06-13T09:45:24.907" v="6207" actId="478"/>
          <ac:spMkLst>
            <pc:docMk/>
            <pc:sldMk cId="2317412309" sldId="2145705761"/>
            <ac:spMk id="2" creationId="{84E32362-71D4-4357-B85F-2A91D7FA8F4E}"/>
          </ac:spMkLst>
        </pc:spChg>
        <pc:spChg chg="mod">
          <ac:chgData name="Ying Yang" userId="f1527f9b-a873-4aa2-b225-cf8fd3466e0d" providerId="ADAL" clId="{A30A5C05-46CF-4F03-AB5B-503FD66274CE}" dt="2022-06-13T09:54:38.071" v="6285" actId="404"/>
          <ac:spMkLst>
            <pc:docMk/>
            <pc:sldMk cId="2317412309" sldId="2145705761"/>
            <ac:spMk id="4" creationId="{D1F5554F-CE32-4392-A304-634C09CF57A5}"/>
          </ac:spMkLst>
        </pc:spChg>
        <pc:spChg chg="mod">
          <ac:chgData name="Ying Yang" userId="f1527f9b-a873-4aa2-b225-cf8fd3466e0d" providerId="ADAL" clId="{A30A5C05-46CF-4F03-AB5B-503FD66274CE}" dt="2022-06-13T09:54:38.071" v="6285" actId="404"/>
          <ac:spMkLst>
            <pc:docMk/>
            <pc:sldMk cId="2317412309" sldId="2145705761"/>
            <ac:spMk id="9" creationId="{C16B5A09-F37B-4ABB-9DC9-94D4623C13EC}"/>
          </ac:spMkLst>
        </pc:spChg>
        <pc:spChg chg="mod">
          <ac:chgData name="Ying Yang" userId="f1527f9b-a873-4aa2-b225-cf8fd3466e0d" providerId="ADAL" clId="{A30A5C05-46CF-4F03-AB5B-503FD66274CE}" dt="2022-06-13T09:54:38.071" v="6285" actId="404"/>
          <ac:spMkLst>
            <pc:docMk/>
            <pc:sldMk cId="2317412309" sldId="2145705761"/>
            <ac:spMk id="10" creationId="{7400D1ED-9749-4101-99E5-2761C48AE325}"/>
          </ac:spMkLst>
        </pc:spChg>
        <pc:spChg chg="add mod ord">
          <ac:chgData name="Ying Yang" userId="f1527f9b-a873-4aa2-b225-cf8fd3466e0d" providerId="ADAL" clId="{A30A5C05-46CF-4F03-AB5B-503FD66274CE}" dt="2022-06-13T10:07:08.352" v="6850" actId="167"/>
          <ac:spMkLst>
            <pc:docMk/>
            <pc:sldMk cId="2317412309" sldId="2145705761"/>
            <ac:spMk id="11" creationId="{04CC17D7-519B-431B-B3D5-0C086CDB9CB5}"/>
          </ac:spMkLst>
        </pc:spChg>
        <pc:spChg chg="add del mod">
          <ac:chgData name="Ying Yang" userId="f1527f9b-a873-4aa2-b225-cf8fd3466e0d" providerId="ADAL" clId="{A30A5C05-46CF-4F03-AB5B-503FD66274CE}" dt="2022-06-13T09:54:29.193" v="6281"/>
          <ac:spMkLst>
            <pc:docMk/>
            <pc:sldMk cId="2317412309" sldId="2145705761"/>
            <ac:spMk id="12" creationId="{99376B09-9C8C-481D-9758-1CF71AE81A04}"/>
          </ac:spMkLst>
        </pc:spChg>
        <pc:spChg chg="mod">
          <ac:chgData name="Ying Yang" userId="f1527f9b-a873-4aa2-b225-cf8fd3466e0d" providerId="ADAL" clId="{A30A5C05-46CF-4F03-AB5B-503FD66274CE}" dt="2022-06-13T09:55:40.021" v="6294" actId="14100"/>
          <ac:spMkLst>
            <pc:docMk/>
            <pc:sldMk cId="2317412309" sldId="2145705761"/>
            <ac:spMk id="14" creationId="{B8CB4392-35E8-4A9E-8506-6A92EA6C21C7}"/>
          </ac:spMkLst>
        </pc:spChg>
        <pc:spChg chg="mod">
          <ac:chgData name="Ying Yang" userId="f1527f9b-a873-4aa2-b225-cf8fd3466e0d" providerId="ADAL" clId="{A30A5C05-46CF-4F03-AB5B-503FD66274CE}" dt="2022-06-13T09:54:28.851" v="6279" actId="1076"/>
          <ac:spMkLst>
            <pc:docMk/>
            <pc:sldMk cId="2317412309" sldId="2145705761"/>
            <ac:spMk id="17" creationId="{E789DC2E-B0D2-40BD-966B-CF49630010EF}"/>
          </ac:spMkLst>
        </pc:spChg>
        <pc:spChg chg="mod">
          <ac:chgData name="Ying Yang" userId="f1527f9b-a873-4aa2-b225-cf8fd3466e0d" providerId="ADAL" clId="{A30A5C05-46CF-4F03-AB5B-503FD66274CE}" dt="2022-06-13T09:54:14.286" v="6270"/>
          <ac:spMkLst>
            <pc:docMk/>
            <pc:sldMk cId="2317412309" sldId="2145705761"/>
            <ac:spMk id="20" creationId="{D005F8A9-6741-4CED-B375-52917CC3772C}"/>
          </ac:spMkLst>
        </pc:spChg>
        <pc:spChg chg="mod">
          <ac:chgData name="Ying Yang" userId="f1527f9b-a873-4aa2-b225-cf8fd3466e0d" providerId="ADAL" clId="{A30A5C05-46CF-4F03-AB5B-503FD66274CE}" dt="2022-06-13T09:54:14.286" v="6270"/>
          <ac:spMkLst>
            <pc:docMk/>
            <pc:sldMk cId="2317412309" sldId="2145705761"/>
            <ac:spMk id="21" creationId="{87B31528-07F6-459D-984C-F9B4FD71A704}"/>
          </ac:spMkLst>
        </pc:spChg>
        <pc:spChg chg="mod">
          <ac:chgData name="Ying Yang" userId="f1527f9b-a873-4aa2-b225-cf8fd3466e0d" providerId="ADAL" clId="{A30A5C05-46CF-4F03-AB5B-503FD66274CE}" dt="2022-06-13T09:54:14.286" v="6270"/>
          <ac:spMkLst>
            <pc:docMk/>
            <pc:sldMk cId="2317412309" sldId="2145705761"/>
            <ac:spMk id="22" creationId="{22BF7CE2-1339-4BBC-A3B5-6C96AD105A14}"/>
          </ac:spMkLst>
        </pc:spChg>
        <pc:spChg chg="mod">
          <ac:chgData name="Ying Yang" userId="f1527f9b-a873-4aa2-b225-cf8fd3466e0d" providerId="ADAL" clId="{A30A5C05-46CF-4F03-AB5B-503FD66274CE}" dt="2022-06-13T09:54:14.286" v="6270"/>
          <ac:spMkLst>
            <pc:docMk/>
            <pc:sldMk cId="2317412309" sldId="2145705761"/>
            <ac:spMk id="23" creationId="{7E519507-F48E-445A-867B-C5EACFAEBFA7}"/>
          </ac:spMkLst>
        </pc:spChg>
        <pc:spChg chg="mod">
          <ac:chgData name="Ying Yang" userId="f1527f9b-a873-4aa2-b225-cf8fd3466e0d" providerId="ADAL" clId="{A30A5C05-46CF-4F03-AB5B-503FD66274CE}" dt="2022-06-13T09:54:14.286" v="6270"/>
          <ac:spMkLst>
            <pc:docMk/>
            <pc:sldMk cId="2317412309" sldId="2145705761"/>
            <ac:spMk id="24" creationId="{7245D362-CD1B-4645-BB8A-2261A51F5AD6}"/>
          </ac:spMkLst>
        </pc:spChg>
        <pc:spChg chg="mod">
          <ac:chgData name="Ying Yang" userId="f1527f9b-a873-4aa2-b225-cf8fd3466e0d" providerId="ADAL" clId="{A30A5C05-46CF-4F03-AB5B-503FD66274CE}" dt="2022-06-13T09:54:14.286" v="6270"/>
          <ac:spMkLst>
            <pc:docMk/>
            <pc:sldMk cId="2317412309" sldId="2145705761"/>
            <ac:spMk id="25" creationId="{712BB22A-66C8-4970-A912-1AD7BA89FBF0}"/>
          </ac:spMkLst>
        </pc:spChg>
        <pc:spChg chg="mod">
          <ac:chgData name="Ying Yang" userId="f1527f9b-a873-4aa2-b225-cf8fd3466e0d" providerId="ADAL" clId="{A30A5C05-46CF-4F03-AB5B-503FD66274CE}" dt="2022-06-13T09:54:14.286" v="6270"/>
          <ac:spMkLst>
            <pc:docMk/>
            <pc:sldMk cId="2317412309" sldId="2145705761"/>
            <ac:spMk id="26" creationId="{16158DBE-5D9B-41C5-A7EC-52BF15E2605B}"/>
          </ac:spMkLst>
        </pc:spChg>
        <pc:spChg chg="mod">
          <ac:chgData name="Ying Yang" userId="f1527f9b-a873-4aa2-b225-cf8fd3466e0d" providerId="ADAL" clId="{A30A5C05-46CF-4F03-AB5B-503FD66274CE}" dt="2022-06-13T09:54:14.286" v="6270"/>
          <ac:spMkLst>
            <pc:docMk/>
            <pc:sldMk cId="2317412309" sldId="2145705761"/>
            <ac:spMk id="27" creationId="{A6EB4C09-CBFB-495C-A0C5-61AB4AD741C2}"/>
          </ac:spMkLst>
        </pc:spChg>
        <pc:spChg chg="mod">
          <ac:chgData name="Ying Yang" userId="f1527f9b-a873-4aa2-b225-cf8fd3466e0d" providerId="ADAL" clId="{A30A5C05-46CF-4F03-AB5B-503FD66274CE}" dt="2022-06-13T09:54:53.937" v="6288" actId="165"/>
          <ac:spMkLst>
            <pc:docMk/>
            <pc:sldMk cId="2317412309" sldId="2145705761"/>
            <ac:spMk id="31" creationId="{01CAAA18-EE59-416F-9542-E78902FD3AE5}"/>
          </ac:spMkLst>
        </pc:spChg>
        <pc:spChg chg="mod">
          <ac:chgData name="Ying Yang" userId="f1527f9b-a873-4aa2-b225-cf8fd3466e0d" providerId="ADAL" clId="{A30A5C05-46CF-4F03-AB5B-503FD66274CE}" dt="2022-06-13T09:54:53.937" v="6288" actId="165"/>
          <ac:spMkLst>
            <pc:docMk/>
            <pc:sldMk cId="2317412309" sldId="2145705761"/>
            <ac:spMk id="33" creationId="{F7FFC05C-569F-46C9-8D36-71BB9BDB963A}"/>
          </ac:spMkLst>
        </pc:spChg>
        <pc:spChg chg="mod">
          <ac:chgData name="Ying Yang" userId="f1527f9b-a873-4aa2-b225-cf8fd3466e0d" providerId="ADAL" clId="{A30A5C05-46CF-4F03-AB5B-503FD66274CE}" dt="2022-06-13T09:54:53.937" v="6288" actId="165"/>
          <ac:spMkLst>
            <pc:docMk/>
            <pc:sldMk cId="2317412309" sldId="2145705761"/>
            <ac:spMk id="34" creationId="{EA4A5370-A646-4AC5-8995-B7465152E70D}"/>
          </ac:spMkLst>
        </pc:spChg>
        <pc:spChg chg="mod">
          <ac:chgData name="Ying Yang" userId="f1527f9b-a873-4aa2-b225-cf8fd3466e0d" providerId="ADAL" clId="{A30A5C05-46CF-4F03-AB5B-503FD66274CE}" dt="2022-06-13T09:54:53.937" v="6288" actId="165"/>
          <ac:spMkLst>
            <pc:docMk/>
            <pc:sldMk cId="2317412309" sldId="2145705761"/>
            <ac:spMk id="36" creationId="{18BEBB06-1330-4CF9-9CA4-60C67AB15901}"/>
          </ac:spMkLst>
        </pc:spChg>
        <pc:spChg chg="mod">
          <ac:chgData name="Ying Yang" userId="f1527f9b-a873-4aa2-b225-cf8fd3466e0d" providerId="ADAL" clId="{A30A5C05-46CF-4F03-AB5B-503FD66274CE}" dt="2022-06-13T09:54:53.937" v="6288" actId="165"/>
          <ac:spMkLst>
            <pc:docMk/>
            <pc:sldMk cId="2317412309" sldId="2145705761"/>
            <ac:spMk id="37" creationId="{6D645D9B-7BF0-4A69-8DA0-187D709BF470}"/>
          </ac:spMkLst>
        </pc:spChg>
        <pc:spChg chg="mod">
          <ac:chgData name="Ying Yang" userId="f1527f9b-a873-4aa2-b225-cf8fd3466e0d" providerId="ADAL" clId="{A30A5C05-46CF-4F03-AB5B-503FD66274CE}" dt="2022-06-13T09:54:53.937" v="6288" actId="165"/>
          <ac:spMkLst>
            <pc:docMk/>
            <pc:sldMk cId="2317412309" sldId="2145705761"/>
            <ac:spMk id="38" creationId="{A8B1D1E2-CC0A-4DEA-AA8D-6A92591535B7}"/>
          </ac:spMkLst>
        </pc:spChg>
        <pc:spChg chg="mod">
          <ac:chgData name="Ying Yang" userId="f1527f9b-a873-4aa2-b225-cf8fd3466e0d" providerId="ADAL" clId="{A30A5C05-46CF-4F03-AB5B-503FD66274CE}" dt="2022-06-13T09:54:53.937" v="6288" actId="165"/>
          <ac:spMkLst>
            <pc:docMk/>
            <pc:sldMk cId="2317412309" sldId="2145705761"/>
            <ac:spMk id="43" creationId="{6FE9BE65-D43B-4351-A990-3CA65D0B8470}"/>
          </ac:spMkLst>
        </pc:spChg>
        <pc:spChg chg="mod">
          <ac:chgData name="Ying Yang" userId="f1527f9b-a873-4aa2-b225-cf8fd3466e0d" providerId="ADAL" clId="{A30A5C05-46CF-4F03-AB5B-503FD66274CE}" dt="2022-06-13T09:54:53.937" v="6288" actId="165"/>
          <ac:spMkLst>
            <pc:docMk/>
            <pc:sldMk cId="2317412309" sldId="2145705761"/>
            <ac:spMk id="44" creationId="{33294551-3975-4711-B9EE-9532BFCF5242}"/>
          </ac:spMkLst>
        </pc:spChg>
        <pc:spChg chg="add del mod">
          <ac:chgData name="Ying Yang" userId="f1527f9b-a873-4aa2-b225-cf8fd3466e0d" providerId="ADAL" clId="{A30A5C05-46CF-4F03-AB5B-503FD66274CE}" dt="2022-06-13T09:55:54.794" v="6297" actId="478"/>
          <ac:spMkLst>
            <pc:docMk/>
            <pc:sldMk cId="2317412309" sldId="2145705761"/>
            <ac:spMk id="45" creationId="{58FD30A4-D30B-486D-B5E1-3AFDD7A3075A}"/>
          </ac:spMkLst>
        </pc:spChg>
        <pc:spChg chg="mod">
          <ac:chgData name="Ying Yang" userId="f1527f9b-a873-4aa2-b225-cf8fd3466e0d" providerId="ADAL" clId="{A30A5C05-46CF-4F03-AB5B-503FD66274CE}" dt="2022-06-13T09:55:55.782" v="6298"/>
          <ac:spMkLst>
            <pc:docMk/>
            <pc:sldMk cId="2317412309" sldId="2145705761"/>
            <ac:spMk id="48" creationId="{365DBA4D-B8B0-4DF7-8284-534B46054149}"/>
          </ac:spMkLst>
        </pc:spChg>
        <pc:spChg chg="mod">
          <ac:chgData name="Ying Yang" userId="f1527f9b-a873-4aa2-b225-cf8fd3466e0d" providerId="ADAL" clId="{A30A5C05-46CF-4F03-AB5B-503FD66274CE}" dt="2022-06-13T09:55:55.782" v="6298"/>
          <ac:spMkLst>
            <pc:docMk/>
            <pc:sldMk cId="2317412309" sldId="2145705761"/>
            <ac:spMk id="49" creationId="{45D6EC0C-1F7A-4B35-A496-48F710C0E077}"/>
          </ac:spMkLst>
        </pc:spChg>
        <pc:spChg chg="mod">
          <ac:chgData name="Ying Yang" userId="f1527f9b-a873-4aa2-b225-cf8fd3466e0d" providerId="ADAL" clId="{A30A5C05-46CF-4F03-AB5B-503FD66274CE}" dt="2022-06-13T09:55:55.782" v="6298"/>
          <ac:spMkLst>
            <pc:docMk/>
            <pc:sldMk cId="2317412309" sldId="2145705761"/>
            <ac:spMk id="53" creationId="{3DD415F5-51AD-41EC-B8C2-9F3CAE452BF5}"/>
          </ac:spMkLst>
        </pc:spChg>
        <pc:spChg chg="mod">
          <ac:chgData name="Ying Yang" userId="f1527f9b-a873-4aa2-b225-cf8fd3466e0d" providerId="ADAL" clId="{A30A5C05-46CF-4F03-AB5B-503FD66274CE}" dt="2022-06-13T09:55:55.782" v="6298"/>
          <ac:spMkLst>
            <pc:docMk/>
            <pc:sldMk cId="2317412309" sldId="2145705761"/>
            <ac:spMk id="54" creationId="{3DF3B724-237F-4867-8096-A28555CDD3D4}"/>
          </ac:spMkLst>
        </pc:spChg>
        <pc:spChg chg="mod">
          <ac:chgData name="Ying Yang" userId="f1527f9b-a873-4aa2-b225-cf8fd3466e0d" providerId="ADAL" clId="{A30A5C05-46CF-4F03-AB5B-503FD66274CE}" dt="2022-06-13T09:55:55.782" v="6298"/>
          <ac:spMkLst>
            <pc:docMk/>
            <pc:sldMk cId="2317412309" sldId="2145705761"/>
            <ac:spMk id="55" creationId="{76704C7D-1084-40D7-A09F-590B0B2CA16C}"/>
          </ac:spMkLst>
        </pc:spChg>
        <pc:spChg chg="mod">
          <ac:chgData name="Ying Yang" userId="f1527f9b-a873-4aa2-b225-cf8fd3466e0d" providerId="ADAL" clId="{A30A5C05-46CF-4F03-AB5B-503FD66274CE}" dt="2022-06-13T09:55:55.782" v="6298"/>
          <ac:spMkLst>
            <pc:docMk/>
            <pc:sldMk cId="2317412309" sldId="2145705761"/>
            <ac:spMk id="56" creationId="{ED40BBC8-FCDE-4E3F-B00B-9F802E44D4BD}"/>
          </ac:spMkLst>
        </pc:spChg>
        <pc:spChg chg="mod">
          <ac:chgData name="Ying Yang" userId="f1527f9b-a873-4aa2-b225-cf8fd3466e0d" providerId="ADAL" clId="{A30A5C05-46CF-4F03-AB5B-503FD66274CE}" dt="2022-06-13T09:55:55.782" v="6298"/>
          <ac:spMkLst>
            <pc:docMk/>
            <pc:sldMk cId="2317412309" sldId="2145705761"/>
            <ac:spMk id="57" creationId="{9B5BC6C5-3297-47F4-99C5-4F07282B08FD}"/>
          </ac:spMkLst>
        </pc:spChg>
        <pc:spChg chg="mod">
          <ac:chgData name="Ying Yang" userId="f1527f9b-a873-4aa2-b225-cf8fd3466e0d" providerId="ADAL" clId="{A30A5C05-46CF-4F03-AB5B-503FD66274CE}" dt="2022-06-13T09:55:55.782" v="6298"/>
          <ac:spMkLst>
            <pc:docMk/>
            <pc:sldMk cId="2317412309" sldId="2145705761"/>
            <ac:spMk id="58" creationId="{5D2F9BA4-7F17-4DDE-8127-782A0F947F4A}"/>
          </ac:spMkLst>
        </pc:spChg>
        <pc:spChg chg="mod">
          <ac:chgData name="Ying Yang" userId="f1527f9b-a873-4aa2-b225-cf8fd3466e0d" providerId="ADAL" clId="{A30A5C05-46CF-4F03-AB5B-503FD66274CE}" dt="2022-06-13T09:55:55.782" v="6298"/>
          <ac:spMkLst>
            <pc:docMk/>
            <pc:sldMk cId="2317412309" sldId="2145705761"/>
            <ac:spMk id="59" creationId="{A8D8701B-6C9A-460F-9588-743B817FA766}"/>
          </ac:spMkLst>
        </pc:spChg>
        <pc:spChg chg="mod">
          <ac:chgData name="Ying Yang" userId="f1527f9b-a873-4aa2-b225-cf8fd3466e0d" providerId="ADAL" clId="{A30A5C05-46CF-4F03-AB5B-503FD66274CE}" dt="2022-06-13T09:55:55.782" v="6298"/>
          <ac:spMkLst>
            <pc:docMk/>
            <pc:sldMk cId="2317412309" sldId="2145705761"/>
            <ac:spMk id="60" creationId="{75BA62A5-E1DD-4425-BF72-DEE955A6AAF6}"/>
          </ac:spMkLst>
        </pc:spChg>
        <pc:spChg chg="mod">
          <ac:chgData name="Ying Yang" userId="f1527f9b-a873-4aa2-b225-cf8fd3466e0d" providerId="ADAL" clId="{A30A5C05-46CF-4F03-AB5B-503FD66274CE}" dt="2022-06-13T09:55:55.782" v="6298"/>
          <ac:spMkLst>
            <pc:docMk/>
            <pc:sldMk cId="2317412309" sldId="2145705761"/>
            <ac:spMk id="61" creationId="{501800FA-7285-4199-B3EF-FEF21575D82D}"/>
          </ac:spMkLst>
        </pc:spChg>
        <pc:spChg chg="mod">
          <ac:chgData name="Ying Yang" userId="f1527f9b-a873-4aa2-b225-cf8fd3466e0d" providerId="ADAL" clId="{A30A5C05-46CF-4F03-AB5B-503FD66274CE}" dt="2022-06-13T09:55:55.782" v="6298"/>
          <ac:spMkLst>
            <pc:docMk/>
            <pc:sldMk cId="2317412309" sldId="2145705761"/>
            <ac:spMk id="62" creationId="{52C259B8-F845-4650-A4DC-0883B365E236}"/>
          </ac:spMkLst>
        </pc:spChg>
        <pc:spChg chg="mod">
          <ac:chgData name="Ying Yang" userId="f1527f9b-a873-4aa2-b225-cf8fd3466e0d" providerId="ADAL" clId="{A30A5C05-46CF-4F03-AB5B-503FD66274CE}" dt="2022-06-13T09:55:55.782" v="6298"/>
          <ac:spMkLst>
            <pc:docMk/>
            <pc:sldMk cId="2317412309" sldId="2145705761"/>
            <ac:spMk id="63" creationId="{4807A9BC-F570-427D-A605-028229A1B6ED}"/>
          </ac:spMkLst>
        </pc:spChg>
        <pc:spChg chg="mod">
          <ac:chgData name="Ying Yang" userId="f1527f9b-a873-4aa2-b225-cf8fd3466e0d" providerId="ADAL" clId="{A30A5C05-46CF-4F03-AB5B-503FD66274CE}" dt="2022-06-13T09:55:55.782" v="6298"/>
          <ac:spMkLst>
            <pc:docMk/>
            <pc:sldMk cId="2317412309" sldId="2145705761"/>
            <ac:spMk id="64" creationId="{D8F28F16-4D18-49D2-BEDC-50C31EDDF195}"/>
          </ac:spMkLst>
        </pc:spChg>
        <pc:spChg chg="mod">
          <ac:chgData name="Ying Yang" userId="f1527f9b-a873-4aa2-b225-cf8fd3466e0d" providerId="ADAL" clId="{A30A5C05-46CF-4F03-AB5B-503FD66274CE}" dt="2022-06-13T09:55:55.782" v="6298"/>
          <ac:spMkLst>
            <pc:docMk/>
            <pc:sldMk cId="2317412309" sldId="2145705761"/>
            <ac:spMk id="65" creationId="{EC41F7A1-038A-4A3C-9EE0-F1633E6C9B53}"/>
          </ac:spMkLst>
        </pc:spChg>
        <pc:spChg chg="mod topLvl">
          <ac:chgData name="Ying Yang" userId="f1527f9b-a873-4aa2-b225-cf8fd3466e0d" providerId="ADAL" clId="{A30A5C05-46CF-4F03-AB5B-503FD66274CE}" dt="2022-06-13T09:59:12.150" v="6670" actId="165"/>
          <ac:spMkLst>
            <pc:docMk/>
            <pc:sldMk cId="2317412309" sldId="2145705761"/>
            <ac:spMk id="68" creationId="{1E12B412-36A5-4E2A-9A4F-7A5410F825C3}"/>
          </ac:spMkLst>
        </pc:spChg>
        <pc:spChg chg="mod topLvl">
          <ac:chgData name="Ying Yang" userId="f1527f9b-a873-4aa2-b225-cf8fd3466e0d" providerId="ADAL" clId="{A30A5C05-46CF-4F03-AB5B-503FD66274CE}" dt="2022-06-13T09:59:12.150" v="6670" actId="165"/>
          <ac:spMkLst>
            <pc:docMk/>
            <pc:sldMk cId="2317412309" sldId="2145705761"/>
            <ac:spMk id="69" creationId="{242893B3-77B8-427D-8FA7-E0CB9F8857EF}"/>
          </ac:spMkLst>
        </pc:spChg>
        <pc:spChg chg="add del mod">
          <ac:chgData name="Ying Yang" userId="f1527f9b-a873-4aa2-b225-cf8fd3466e0d" providerId="ADAL" clId="{A30A5C05-46CF-4F03-AB5B-503FD66274CE}" dt="2022-06-13T09:58:24.047" v="6645" actId="478"/>
          <ac:spMkLst>
            <pc:docMk/>
            <pc:sldMk cId="2317412309" sldId="2145705761"/>
            <ac:spMk id="73" creationId="{F17DBE76-C4C8-40FD-B1F2-AEEA14396C36}"/>
          </ac:spMkLst>
        </pc:spChg>
        <pc:spChg chg="del mod topLvl">
          <ac:chgData name="Ying Yang" userId="f1527f9b-a873-4aa2-b225-cf8fd3466e0d" providerId="ADAL" clId="{A30A5C05-46CF-4F03-AB5B-503FD66274CE}" dt="2022-06-13T10:00:12.821" v="6699" actId="478"/>
          <ac:spMkLst>
            <pc:docMk/>
            <pc:sldMk cId="2317412309" sldId="2145705761"/>
            <ac:spMk id="74" creationId="{C1252CF9-A1E1-4D29-9C57-DA277C72DA20}"/>
          </ac:spMkLst>
        </pc:spChg>
        <pc:spChg chg="del mod topLvl">
          <ac:chgData name="Ying Yang" userId="f1527f9b-a873-4aa2-b225-cf8fd3466e0d" providerId="ADAL" clId="{A30A5C05-46CF-4F03-AB5B-503FD66274CE}" dt="2022-06-13T10:01:18.646" v="6720" actId="478"/>
          <ac:spMkLst>
            <pc:docMk/>
            <pc:sldMk cId="2317412309" sldId="2145705761"/>
            <ac:spMk id="75" creationId="{92370282-908C-4356-B9B7-170EA001FDC7}"/>
          </ac:spMkLst>
        </pc:spChg>
        <pc:spChg chg="del mod topLvl">
          <ac:chgData name="Ying Yang" userId="f1527f9b-a873-4aa2-b225-cf8fd3466e0d" providerId="ADAL" clId="{A30A5C05-46CF-4F03-AB5B-503FD66274CE}" dt="2022-06-13T10:02:25.102" v="6739" actId="478"/>
          <ac:spMkLst>
            <pc:docMk/>
            <pc:sldMk cId="2317412309" sldId="2145705761"/>
            <ac:spMk id="76" creationId="{6E4354BB-4730-4C70-807E-7FC0BDF2DC88}"/>
          </ac:spMkLst>
        </pc:spChg>
        <pc:spChg chg="del mod topLvl">
          <ac:chgData name="Ying Yang" userId="f1527f9b-a873-4aa2-b225-cf8fd3466e0d" providerId="ADAL" clId="{A30A5C05-46CF-4F03-AB5B-503FD66274CE}" dt="2022-06-13T10:03:28.182" v="6764" actId="478"/>
          <ac:spMkLst>
            <pc:docMk/>
            <pc:sldMk cId="2317412309" sldId="2145705761"/>
            <ac:spMk id="77" creationId="{8EA64E67-6619-45C6-A6F5-F3FCEDA39AB2}"/>
          </ac:spMkLst>
        </pc:spChg>
        <pc:spChg chg="del mod topLvl">
          <ac:chgData name="Ying Yang" userId="f1527f9b-a873-4aa2-b225-cf8fd3466e0d" providerId="ADAL" clId="{A30A5C05-46CF-4F03-AB5B-503FD66274CE}" dt="2022-06-13T10:04:10.710" v="6797" actId="478"/>
          <ac:spMkLst>
            <pc:docMk/>
            <pc:sldMk cId="2317412309" sldId="2145705761"/>
            <ac:spMk id="78" creationId="{CD6B3A35-CD18-40B9-B65D-609F4036C8C1}"/>
          </ac:spMkLst>
        </pc:spChg>
        <pc:spChg chg="mod">
          <ac:chgData name="Ying Yang" userId="f1527f9b-a873-4aa2-b225-cf8fd3466e0d" providerId="ADAL" clId="{A30A5C05-46CF-4F03-AB5B-503FD66274CE}" dt="2022-06-13T10:05:51.786" v="6824" actId="207"/>
          <ac:spMkLst>
            <pc:docMk/>
            <pc:sldMk cId="2317412309" sldId="2145705761"/>
            <ac:spMk id="79" creationId="{F37987AA-3FBF-4483-BAB5-1F0E3531E031}"/>
          </ac:spMkLst>
        </pc:spChg>
        <pc:spChg chg="mod">
          <ac:chgData name="Ying Yang" userId="f1527f9b-a873-4aa2-b225-cf8fd3466e0d" providerId="ADAL" clId="{A30A5C05-46CF-4F03-AB5B-503FD66274CE}" dt="2022-06-13T09:59:12.150" v="6670" actId="165"/>
          <ac:spMkLst>
            <pc:docMk/>
            <pc:sldMk cId="2317412309" sldId="2145705761"/>
            <ac:spMk id="80" creationId="{CE419FB4-4400-4AAB-B017-5203256834E5}"/>
          </ac:spMkLst>
        </pc:spChg>
        <pc:spChg chg="mod">
          <ac:chgData name="Ying Yang" userId="f1527f9b-a873-4aa2-b225-cf8fd3466e0d" providerId="ADAL" clId="{A30A5C05-46CF-4F03-AB5B-503FD66274CE}" dt="2022-06-13T09:59:12.150" v="6670" actId="165"/>
          <ac:spMkLst>
            <pc:docMk/>
            <pc:sldMk cId="2317412309" sldId="2145705761"/>
            <ac:spMk id="81" creationId="{9F9CA893-9070-4D84-82A2-A7B17F63DC01}"/>
          </ac:spMkLst>
        </pc:spChg>
        <pc:spChg chg="mod">
          <ac:chgData name="Ying Yang" userId="f1527f9b-a873-4aa2-b225-cf8fd3466e0d" providerId="ADAL" clId="{A30A5C05-46CF-4F03-AB5B-503FD66274CE}" dt="2022-06-13T09:59:12.150" v="6670" actId="165"/>
          <ac:spMkLst>
            <pc:docMk/>
            <pc:sldMk cId="2317412309" sldId="2145705761"/>
            <ac:spMk id="82" creationId="{040FA3DD-8C75-4527-9C79-8ADF753F2EE8}"/>
          </ac:spMkLst>
        </pc:spChg>
        <pc:spChg chg="mod">
          <ac:chgData name="Ying Yang" userId="f1527f9b-a873-4aa2-b225-cf8fd3466e0d" providerId="ADAL" clId="{A30A5C05-46CF-4F03-AB5B-503FD66274CE}" dt="2022-06-13T09:59:12.150" v="6670" actId="165"/>
          <ac:spMkLst>
            <pc:docMk/>
            <pc:sldMk cId="2317412309" sldId="2145705761"/>
            <ac:spMk id="83" creationId="{14AA50F7-524F-4917-9295-40BF8FBECA6F}"/>
          </ac:spMkLst>
        </pc:spChg>
        <pc:spChg chg="mod">
          <ac:chgData name="Ying Yang" userId="f1527f9b-a873-4aa2-b225-cf8fd3466e0d" providerId="ADAL" clId="{A30A5C05-46CF-4F03-AB5B-503FD66274CE}" dt="2022-06-13T09:59:12.150" v="6670" actId="165"/>
          <ac:spMkLst>
            <pc:docMk/>
            <pc:sldMk cId="2317412309" sldId="2145705761"/>
            <ac:spMk id="84" creationId="{853FD254-EFE3-4A7C-8679-1A78A19804BD}"/>
          </ac:spMkLst>
        </pc:spChg>
        <pc:spChg chg="mod">
          <ac:chgData name="Ying Yang" userId="f1527f9b-a873-4aa2-b225-cf8fd3466e0d" providerId="ADAL" clId="{A30A5C05-46CF-4F03-AB5B-503FD66274CE}" dt="2022-06-13T09:59:12.150" v="6670" actId="165"/>
          <ac:spMkLst>
            <pc:docMk/>
            <pc:sldMk cId="2317412309" sldId="2145705761"/>
            <ac:spMk id="85" creationId="{E2D53201-C145-4F7F-B989-D1E4B121C6DF}"/>
          </ac:spMkLst>
        </pc:spChg>
        <pc:spChg chg="mod">
          <ac:chgData name="Ying Yang" userId="f1527f9b-a873-4aa2-b225-cf8fd3466e0d" providerId="ADAL" clId="{A30A5C05-46CF-4F03-AB5B-503FD66274CE}" dt="2022-06-13T09:58:56.404" v="6669" actId="108"/>
          <ac:spMkLst>
            <pc:docMk/>
            <pc:sldMk cId="2317412309" sldId="2145705761"/>
            <ac:spMk id="88" creationId="{33544B93-C518-4E06-BAA5-3FCAA8C0AE0E}"/>
          </ac:spMkLst>
        </pc:spChg>
        <pc:spChg chg="mod">
          <ac:chgData name="Ying Yang" userId="f1527f9b-a873-4aa2-b225-cf8fd3466e0d" providerId="ADAL" clId="{A30A5C05-46CF-4F03-AB5B-503FD66274CE}" dt="2022-06-13T10:04:50.269" v="6806" actId="1076"/>
          <ac:spMkLst>
            <pc:docMk/>
            <pc:sldMk cId="2317412309" sldId="2145705761"/>
            <ac:spMk id="89" creationId="{2C4A45B3-4D84-4935-8DF2-2EE59D8D4569}"/>
          </ac:spMkLst>
        </pc:spChg>
        <pc:spChg chg="mod">
          <ac:chgData name="Ying Yang" userId="f1527f9b-a873-4aa2-b225-cf8fd3466e0d" providerId="ADAL" clId="{A30A5C05-46CF-4F03-AB5B-503FD66274CE}" dt="2022-06-13T10:05:01.621" v="6812" actId="14100"/>
          <ac:spMkLst>
            <pc:docMk/>
            <pc:sldMk cId="2317412309" sldId="2145705761"/>
            <ac:spMk id="90" creationId="{FEC7DD75-8329-4D34-B2CF-7082FCBB4CDB}"/>
          </ac:spMkLst>
        </pc:spChg>
        <pc:spChg chg="mod">
          <ac:chgData name="Ying Yang" userId="f1527f9b-a873-4aa2-b225-cf8fd3466e0d" providerId="ADAL" clId="{A30A5C05-46CF-4F03-AB5B-503FD66274CE}" dt="2022-06-13T10:00:02.929" v="6696" actId="20577"/>
          <ac:spMkLst>
            <pc:docMk/>
            <pc:sldMk cId="2317412309" sldId="2145705761"/>
            <ac:spMk id="93" creationId="{9E4E5674-486F-4F23-BA3D-D637FC3A3E35}"/>
          </ac:spMkLst>
        </pc:spChg>
        <pc:spChg chg="mod">
          <ac:chgData name="Ying Yang" userId="f1527f9b-a873-4aa2-b225-cf8fd3466e0d" providerId="ADAL" clId="{A30A5C05-46CF-4F03-AB5B-503FD66274CE}" dt="2022-06-13T09:59:17.662" v="6672"/>
          <ac:spMkLst>
            <pc:docMk/>
            <pc:sldMk cId="2317412309" sldId="2145705761"/>
            <ac:spMk id="94" creationId="{9E8FF8F2-FE8A-491A-8C49-E3B2F18C47D9}"/>
          </ac:spMkLst>
        </pc:spChg>
        <pc:spChg chg="mod">
          <ac:chgData name="Ying Yang" userId="f1527f9b-a873-4aa2-b225-cf8fd3466e0d" providerId="ADAL" clId="{A30A5C05-46CF-4F03-AB5B-503FD66274CE}" dt="2022-06-13T09:59:17.662" v="6672"/>
          <ac:spMkLst>
            <pc:docMk/>
            <pc:sldMk cId="2317412309" sldId="2145705761"/>
            <ac:spMk id="95" creationId="{C2864B3D-A811-4F7F-A4A2-6A72A9A66FDC}"/>
          </ac:spMkLst>
        </pc:spChg>
        <pc:spChg chg="mod topLvl">
          <ac:chgData name="Ying Yang" userId="f1527f9b-a873-4aa2-b225-cf8fd3466e0d" providerId="ADAL" clId="{A30A5C05-46CF-4F03-AB5B-503FD66274CE}" dt="2022-06-13T10:01:35.053" v="6722" actId="164"/>
          <ac:spMkLst>
            <pc:docMk/>
            <pc:sldMk cId="2317412309" sldId="2145705761"/>
            <ac:spMk id="98" creationId="{3338BE3B-1865-432B-B05E-72B34E2E38E5}"/>
          </ac:spMkLst>
        </pc:spChg>
        <pc:spChg chg="mod">
          <ac:chgData name="Ying Yang" userId="f1527f9b-a873-4aa2-b225-cf8fd3466e0d" providerId="ADAL" clId="{A30A5C05-46CF-4F03-AB5B-503FD66274CE}" dt="2022-06-13T10:01:05.250" v="6713" actId="165"/>
          <ac:spMkLst>
            <pc:docMk/>
            <pc:sldMk cId="2317412309" sldId="2145705761"/>
            <ac:spMk id="99" creationId="{218F5CF6-A7A3-4E2F-9356-C1E89B8FD87E}"/>
          </ac:spMkLst>
        </pc:spChg>
        <pc:spChg chg="mod">
          <ac:chgData name="Ying Yang" userId="f1527f9b-a873-4aa2-b225-cf8fd3466e0d" providerId="ADAL" clId="{A30A5C05-46CF-4F03-AB5B-503FD66274CE}" dt="2022-06-13T10:01:05.250" v="6713" actId="165"/>
          <ac:spMkLst>
            <pc:docMk/>
            <pc:sldMk cId="2317412309" sldId="2145705761"/>
            <ac:spMk id="100" creationId="{04F1542C-D8B9-4383-A736-DFFD0C07F0EE}"/>
          </ac:spMkLst>
        </pc:spChg>
        <pc:spChg chg="mod">
          <ac:chgData name="Ying Yang" userId="f1527f9b-a873-4aa2-b225-cf8fd3466e0d" providerId="ADAL" clId="{A30A5C05-46CF-4F03-AB5B-503FD66274CE}" dt="2022-06-13T10:02:23.520" v="6738" actId="20577"/>
          <ac:spMkLst>
            <pc:docMk/>
            <pc:sldMk cId="2317412309" sldId="2145705761"/>
            <ac:spMk id="104" creationId="{2FE71986-B00B-4F78-A7F8-56B216D169D0}"/>
          </ac:spMkLst>
        </pc:spChg>
        <pc:spChg chg="mod">
          <ac:chgData name="Ying Yang" userId="f1527f9b-a873-4aa2-b225-cf8fd3466e0d" providerId="ADAL" clId="{A30A5C05-46CF-4F03-AB5B-503FD66274CE}" dt="2022-06-13T10:01:54.880" v="6727"/>
          <ac:spMkLst>
            <pc:docMk/>
            <pc:sldMk cId="2317412309" sldId="2145705761"/>
            <ac:spMk id="105" creationId="{9EE12B39-5576-4487-95A2-AB465106C6A6}"/>
          </ac:spMkLst>
        </pc:spChg>
        <pc:spChg chg="mod">
          <ac:chgData name="Ying Yang" userId="f1527f9b-a873-4aa2-b225-cf8fd3466e0d" providerId="ADAL" clId="{A30A5C05-46CF-4F03-AB5B-503FD66274CE}" dt="2022-06-13T10:01:54.880" v="6727"/>
          <ac:spMkLst>
            <pc:docMk/>
            <pc:sldMk cId="2317412309" sldId="2145705761"/>
            <ac:spMk id="106" creationId="{E5CB27EB-8A58-4D1C-90B3-5A4FAF3AE150}"/>
          </ac:spMkLst>
        </pc:spChg>
        <pc:spChg chg="mod">
          <ac:chgData name="Ying Yang" userId="f1527f9b-a873-4aa2-b225-cf8fd3466e0d" providerId="ADAL" clId="{A30A5C05-46CF-4F03-AB5B-503FD66274CE}" dt="2022-06-13T10:03:26.904" v="6763" actId="20577"/>
          <ac:spMkLst>
            <pc:docMk/>
            <pc:sldMk cId="2317412309" sldId="2145705761"/>
            <ac:spMk id="109" creationId="{9687AF53-0C11-4362-AC16-0313D26F9FBE}"/>
          </ac:spMkLst>
        </pc:spChg>
        <pc:spChg chg="mod">
          <ac:chgData name="Ying Yang" userId="f1527f9b-a873-4aa2-b225-cf8fd3466e0d" providerId="ADAL" clId="{A30A5C05-46CF-4F03-AB5B-503FD66274CE}" dt="2022-06-13T10:02:48.235" v="6744"/>
          <ac:spMkLst>
            <pc:docMk/>
            <pc:sldMk cId="2317412309" sldId="2145705761"/>
            <ac:spMk id="110" creationId="{67E79CE2-456D-4E0F-BF38-4C64D1520897}"/>
          </ac:spMkLst>
        </pc:spChg>
        <pc:spChg chg="mod">
          <ac:chgData name="Ying Yang" userId="f1527f9b-a873-4aa2-b225-cf8fd3466e0d" providerId="ADAL" clId="{A30A5C05-46CF-4F03-AB5B-503FD66274CE}" dt="2022-06-13T10:02:48.235" v="6744"/>
          <ac:spMkLst>
            <pc:docMk/>
            <pc:sldMk cId="2317412309" sldId="2145705761"/>
            <ac:spMk id="111" creationId="{EEBEE953-12C7-4392-9CDD-497DA40F5198}"/>
          </ac:spMkLst>
        </pc:spChg>
        <pc:spChg chg="mod">
          <ac:chgData name="Ying Yang" userId="f1527f9b-a873-4aa2-b225-cf8fd3466e0d" providerId="ADAL" clId="{A30A5C05-46CF-4F03-AB5B-503FD66274CE}" dt="2022-06-13T10:05:20.142" v="6819" actId="121"/>
          <ac:spMkLst>
            <pc:docMk/>
            <pc:sldMk cId="2317412309" sldId="2145705761"/>
            <ac:spMk id="114" creationId="{31F50476-0C85-443D-A748-475D611353CE}"/>
          </ac:spMkLst>
        </pc:spChg>
        <pc:spChg chg="mod">
          <ac:chgData name="Ying Yang" userId="f1527f9b-a873-4aa2-b225-cf8fd3466e0d" providerId="ADAL" clId="{A30A5C05-46CF-4F03-AB5B-503FD66274CE}" dt="2022-06-13T10:03:35.490" v="6766"/>
          <ac:spMkLst>
            <pc:docMk/>
            <pc:sldMk cId="2317412309" sldId="2145705761"/>
            <ac:spMk id="115" creationId="{02EF29E9-7828-4BC3-A9BC-5CE752602491}"/>
          </ac:spMkLst>
        </pc:spChg>
        <pc:spChg chg="mod">
          <ac:chgData name="Ying Yang" userId="f1527f9b-a873-4aa2-b225-cf8fd3466e0d" providerId="ADAL" clId="{A30A5C05-46CF-4F03-AB5B-503FD66274CE}" dt="2022-06-13T10:03:35.490" v="6766"/>
          <ac:spMkLst>
            <pc:docMk/>
            <pc:sldMk cId="2317412309" sldId="2145705761"/>
            <ac:spMk id="116" creationId="{9920A9A9-8BB1-47A3-9496-BAD3B2BE6228}"/>
          </ac:spMkLst>
        </pc:spChg>
        <pc:spChg chg="add mod ord">
          <ac:chgData name="Ying Yang" userId="f1527f9b-a873-4aa2-b225-cf8fd3466e0d" providerId="ADAL" clId="{A30A5C05-46CF-4F03-AB5B-503FD66274CE}" dt="2022-06-13T10:08:12.291" v="6870" actId="1038"/>
          <ac:spMkLst>
            <pc:docMk/>
            <pc:sldMk cId="2317412309" sldId="2145705761"/>
            <ac:spMk id="117" creationId="{A34FE064-4CA4-43AB-995B-5061E6A8702D}"/>
          </ac:spMkLst>
        </pc:spChg>
        <pc:grpChg chg="add del mod">
          <ac:chgData name="Ying Yang" userId="f1527f9b-a873-4aa2-b225-cf8fd3466e0d" providerId="ADAL" clId="{A30A5C05-46CF-4F03-AB5B-503FD66274CE}" dt="2022-06-13T09:54:49.746" v="6287" actId="478"/>
          <ac:grpSpMkLst>
            <pc:docMk/>
            <pc:sldMk cId="2317412309" sldId="2145705761"/>
            <ac:grpSpMk id="3" creationId="{4FF25FB0-C9F4-4681-9D1D-A974DC4CEF95}"/>
          </ac:grpSpMkLst>
        </pc:grpChg>
        <pc:grpChg chg="mod">
          <ac:chgData name="Ying Yang" userId="f1527f9b-a873-4aa2-b225-cf8fd3466e0d" providerId="ADAL" clId="{A30A5C05-46CF-4F03-AB5B-503FD66274CE}" dt="2022-06-13T09:45:22.934" v="6206"/>
          <ac:grpSpMkLst>
            <pc:docMk/>
            <pc:sldMk cId="2317412309" sldId="2145705761"/>
            <ac:grpSpMk id="5" creationId="{35A6A6A6-1204-4E13-8765-2DF7595D106B}"/>
          </ac:grpSpMkLst>
        </pc:grpChg>
        <pc:grpChg chg="mod">
          <ac:chgData name="Ying Yang" userId="f1527f9b-a873-4aa2-b225-cf8fd3466e0d" providerId="ADAL" clId="{A30A5C05-46CF-4F03-AB5B-503FD66274CE}" dt="2022-06-13T09:45:22.934" v="6206"/>
          <ac:grpSpMkLst>
            <pc:docMk/>
            <pc:sldMk cId="2317412309" sldId="2145705761"/>
            <ac:grpSpMk id="6" creationId="{CF5FE776-3793-470A-A49A-05A40008A1EE}"/>
          </ac:grpSpMkLst>
        </pc:grpChg>
        <pc:grpChg chg="add mod">
          <ac:chgData name="Ying Yang" userId="f1527f9b-a873-4aa2-b225-cf8fd3466e0d" providerId="ADAL" clId="{A30A5C05-46CF-4F03-AB5B-503FD66274CE}" dt="2022-06-13T09:55:03.625" v="6292" actId="1076"/>
          <ac:grpSpMkLst>
            <pc:docMk/>
            <pc:sldMk cId="2317412309" sldId="2145705761"/>
            <ac:grpSpMk id="13" creationId="{0F90304C-28F3-4F74-88A9-3AA7855BA707}"/>
          </ac:grpSpMkLst>
        </pc:grpChg>
        <pc:grpChg chg="mod">
          <ac:chgData name="Ying Yang" userId="f1527f9b-a873-4aa2-b225-cf8fd3466e0d" providerId="ADAL" clId="{A30A5C05-46CF-4F03-AB5B-503FD66274CE}" dt="2022-06-13T09:54:14.286" v="6270"/>
          <ac:grpSpMkLst>
            <pc:docMk/>
            <pc:sldMk cId="2317412309" sldId="2145705761"/>
            <ac:grpSpMk id="15" creationId="{FC08A93A-C242-4613-909C-41672AA3BA0D}"/>
          </ac:grpSpMkLst>
        </pc:grpChg>
        <pc:grpChg chg="mod">
          <ac:chgData name="Ying Yang" userId="f1527f9b-a873-4aa2-b225-cf8fd3466e0d" providerId="ADAL" clId="{A30A5C05-46CF-4F03-AB5B-503FD66274CE}" dt="2022-06-13T09:54:14.286" v="6270"/>
          <ac:grpSpMkLst>
            <pc:docMk/>
            <pc:sldMk cId="2317412309" sldId="2145705761"/>
            <ac:grpSpMk id="16" creationId="{C51C5FA8-B5B9-4861-BA17-D1830618F69F}"/>
          </ac:grpSpMkLst>
        </pc:grpChg>
        <pc:grpChg chg="mod">
          <ac:chgData name="Ying Yang" userId="f1527f9b-a873-4aa2-b225-cf8fd3466e0d" providerId="ADAL" clId="{A30A5C05-46CF-4F03-AB5B-503FD66274CE}" dt="2022-06-13T09:54:14.286" v="6270"/>
          <ac:grpSpMkLst>
            <pc:docMk/>
            <pc:sldMk cId="2317412309" sldId="2145705761"/>
            <ac:grpSpMk id="18" creationId="{09897FD3-E435-410A-837B-88F0D157530D}"/>
          </ac:grpSpMkLst>
        </pc:grpChg>
        <pc:grpChg chg="mod">
          <ac:chgData name="Ying Yang" userId="f1527f9b-a873-4aa2-b225-cf8fd3466e0d" providerId="ADAL" clId="{A30A5C05-46CF-4F03-AB5B-503FD66274CE}" dt="2022-06-13T09:54:14.286" v="6270"/>
          <ac:grpSpMkLst>
            <pc:docMk/>
            <pc:sldMk cId="2317412309" sldId="2145705761"/>
            <ac:grpSpMk id="19" creationId="{6C5463B0-F40E-4D26-B999-F90FDFA9D0B0}"/>
          </ac:grpSpMkLst>
        </pc:grpChg>
        <pc:grpChg chg="add del mod">
          <ac:chgData name="Ying Yang" userId="f1527f9b-a873-4aa2-b225-cf8fd3466e0d" providerId="ADAL" clId="{A30A5C05-46CF-4F03-AB5B-503FD66274CE}" dt="2022-06-13T09:54:53.937" v="6288" actId="165"/>
          <ac:grpSpMkLst>
            <pc:docMk/>
            <pc:sldMk cId="2317412309" sldId="2145705761"/>
            <ac:grpSpMk id="28" creationId="{85C29B50-F503-4773-BB9D-EA8DFDA060C9}"/>
          </ac:grpSpMkLst>
        </pc:grpChg>
        <pc:grpChg chg="mod topLvl">
          <ac:chgData name="Ying Yang" userId="f1527f9b-a873-4aa2-b225-cf8fd3466e0d" providerId="ADAL" clId="{A30A5C05-46CF-4F03-AB5B-503FD66274CE}" dt="2022-06-13T09:54:53.937" v="6288" actId="165"/>
          <ac:grpSpMkLst>
            <pc:docMk/>
            <pc:sldMk cId="2317412309" sldId="2145705761"/>
            <ac:grpSpMk id="29" creationId="{D2AC91AA-3162-4929-B1A6-B365DEB93DDA}"/>
          </ac:grpSpMkLst>
        </pc:grpChg>
        <pc:grpChg chg="del mod topLvl">
          <ac:chgData name="Ying Yang" userId="f1527f9b-a873-4aa2-b225-cf8fd3466e0d" providerId="ADAL" clId="{A30A5C05-46CF-4F03-AB5B-503FD66274CE}" dt="2022-06-13T09:54:55.763" v="6289" actId="478"/>
          <ac:grpSpMkLst>
            <pc:docMk/>
            <pc:sldMk cId="2317412309" sldId="2145705761"/>
            <ac:grpSpMk id="30" creationId="{6512DF58-E86E-46B3-8951-0B63D43AF9E5}"/>
          </ac:grpSpMkLst>
        </pc:grpChg>
        <pc:grpChg chg="mod">
          <ac:chgData name="Ying Yang" userId="f1527f9b-a873-4aa2-b225-cf8fd3466e0d" providerId="ADAL" clId="{A30A5C05-46CF-4F03-AB5B-503FD66274CE}" dt="2022-06-13T09:54:53.937" v="6288" actId="165"/>
          <ac:grpSpMkLst>
            <pc:docMk/>
            <pc:sldMk cId="2317412309" sldId="2145705761"/>
            <ac:grpSpMk id="32" creationId="{02EDC891-FE83-40AE-851C-4D27CFC465FF}"/>
          </ac:grpSpMkLst>
        </pc:grpChg>
        <pc:grpChg chg="mod">
          <ac:chgData name="Ying Yang" userId="f1527f9b-a873-4aa2-b225-cf8fd3466e0d" providerId="ADAL" clId="{A30A5C05-46CF-4F03-AB5B-503FD66274CE}" dt="2022-06-13T09:54:53.937" v="6288" actId="165"/>
          <ac:grpSpMkLst>
            <pc:docMk/>
            <pc:sldMk cId="2317412309" sldId="2145705761"/>
            <ac:grpSpMk id="35" creationId="{DE65A1A3-007B-430C-A49B-BB91C638C0AD}"/>
          </ac:grpSpMkLst>
        </pc:grpChg>
        <pc:grpChg chg="mod">
          <ac:chgData name="Ying Yang" userId="f1527f9b-a873-4aa2-b225-cf8fd3466e0d" providerId="ADAL" clId="{A30A5C05-46CF-4F03-AB5B-503FD66274CE}" dt="2022-06-13T09:54:53.937" v="6288" actId="165"/>
          <ac:grpSpMkLst>
            <pc:docMk/>
            <pc:sldMk cId="2317412309" sldId="2145705761"/>
            <ac:grpSpMk id="39" creationId="{21A1801E-5B3B-4A1F-BBC8-F9F7AA2563E8}"/>
          </ac:grpSpMkLst>
        </pc:grpChg>
        <pc:grpChg chg="mod">
          <ac:chgData name="Ying Yang" userId="f1527f9b-a873-4aa2-b225-cf8fd3466e0d" providerId="ADAL" clId="{A30A5C05-46CF-4F03-AB5B-503FD66274CE}" dt="2022-06-13T09:54:53.937" v="6288" actId="165"/>
          <ac:grpSpMkLst>
            <pc:docMk/>
            <pc:sldMk cId="2317412309" sldId="2145705761"/>
            <ac:grpSpMk id="40" creationId="{267646C2-9ED3-42E5-B1E1-91518AA10623}"/>
          </ac:grpSpMkLst>
        </pc:grpChg>
        <pc:grpChg chg="add del mod">
          <ac:chgData name="Ying Yang" userId="f1527f9b-a873-4aa2-b225-cf8fd3466e0d" providerId="ADAL" clId="{A30A5C05-46CF-4F03-AB5B-503FD66274CE}" dt="2022-06-13T09:56:00.409" v="6301"/>
          <ac:grpSpMkLst>
            <pc:docMk/>
            <pc:sldMk cId="2317412309" sldId="2145705761"/>
            <ac:grpSpMk id="46" creationId="{8AD7B61E-1187-4465-A445-E5ED03B06810}"/>
          </ac:grpSpMkLst>
        </pc:grpChg>
        <pc:grpChg chg="mod">
          <ac:chgData name="Ying Yang" userId="f1527f9b-a873-4aa2-b225-cf8fd3466e0d" providerId="ADAL" clId="{A30A5C05-46CF-4F03-AB5B-503FD66274CE}" dt="2022-06-13T09:55:55.782" v="6298"/>
          <ac:grpSpMkLst>
            <pc:docMk/>
            <pc:sldMk cId="2317412309" sldId="2145705761"/>
            <ac:grpSpMk id="47" creationId="{0C8646F5-6C5A-465A-B3A7-00C5DD23730A}"/>
          </ac:grpSpMkLst>
        </pc:grpChg>
        <pc:grpChg chg="add del mod">
          <ac:chgData name="Ying Yang" userId="f1527f9b-a873-4aa2-b225-cf8fd3466e0d" providerId="ADAL" clId="{A30A5C05-46CF-4F03-AB5B-503FD66274CE}" dt="2022-06-13T09:59:12.150" v="6670" actId="165"/>
          <ac:grpSpMkLst>
            <pc:docMk/>
            <pc:sldMk cId="2317412309" sldId="2145705761"/>
            <ac:grpSpMk id="66" creationId="{4A4437C1-2797-4FFC-B97C-DE8BA9C337E8}"/>
          </ac:grpSpMkLst>
        </pc:grpChg>
        <pc:grpChg chg="mod ord topLvl">
          <ac:chgData name="Ying Yang" userId="f1527f9b-a873-4aa2-b225-cf8fd3466e0d" providerId="ADAL" clId="{A30A5C05-46CF-4F03-AB5B-503FD66274CE}" dt="2022-06-13T10:07:10.207" v="6854" actId="167"/>
          <ac:grpSpMkLst>
            <pc:docMk/>
            <pc:sldMk cId="2317412309" sldId="2145705761"/>
            <ac:grpSpMk id="67" creationId="{6B04FF92-A02C-441A-9740-A3C87BBB3FFA}"/>
          </ac:grpSpMkLst>
        </pc:grpChg>
        <pc:grpChg chg="add mod">
          <ac:chgData name="Ying Yang" userId="f1527f9b-a873-4aa2-b225-cf8fd3466e0d" providerId="ADAL" clId="{A30A5C05-46CF-4F03-AB5B-503FD66274CE}" dt="2022-06-13T09:58:26.851" v="6646" actId="1076"/>
          <ac:grpSpMkLst>
            <pc:docMk/>
            <pc:sldMk cId="2317412309" sldId="2145705761"/>
            <ac:grpSpMk id="86" creationId="{09A5D816-240A-45B4-BB2B-E1C7E9009145}"/>
          </ac:grpSpMkLst>
        </pc:grpChg>
        <pc:grpChg chg="mod">
          <ac:chgData name="Ying Yang" userId="f1527f9b-a873-4aa2-b225-cf8fd3466e0d" providerId="ADAL" clId="{A30A5C05-46CF-4F03-AB5B-503FD66274CE}" dt="2022-06-13T09:57:58.169" v="6638"/>
          <ac:grpSpMkLst>
            <pc:docMk/>
            <pc:sldMk cId="2317412309" sldId="2145705761"/>
            <ac:grpSpMk id="87" creationId="{A3F7B0C5-E837-4917-8D99-A6F387393607}"/>
          </ac:grpSpMkLst>
        </pc:grpChg>
        <pc:grpChg chg="add mod">
          <ac:chgData name="Ying Yang" userId="f1527f9b-a873-4aa2-b225-cf8fd3466e0d" providerId="ADAL" clId="{A30A5C05-46CF-4F03-AB5B-503FD66274CE}" dt="2022-06-13T10:02:39.266" v="6742" actId="1076"/>
          <ac:grpSpMkLst>
            <pc:docMk/>
            <pc:sldMk cId="2317412309" sldId="2145705761"/>
            <ac:grpSpMk id="91" creationId="{9440BBEF-F525-4555-A0EC-F263263CE079}"/>
          </ac:grpSpMkLst>
        </pc:grpChg>
        <pc:grpChg chg="mod">
          <ac:chgData name="Ying Yang" userId="f1527f9b-a873-4aa2-b225-cf8fd3466e0d" providerId="ADAL" clId="{A30A5C05-46CF-4F03-AB5B-503FD66274CE}" dt="2022-06-13T09:59:17.662" v="6672"/>
          <ac:grpSpMkLst>
            <pc:docMk/>
            <pc:sldMk cId="2317412309" sldId="2145705761"/>
            <ac:grpSpMk id="92" creationId="{C59178F0-983F-4DD0-91AB-899C0130759B}"/>
          </ac:grpSpMkLst>
        </pc:grpChg>
        <pc:grpChg chg="add del mod">
          <ac:chgData name="Ying Yang" userId="f1527f9b-a873-4aa2-b225-cf8fd3466e0d" providerId="ADAL" clId="{A30A5C05-46CF-4F03-AB5B-503FD66274CE}" dt="2022-06-13T10:01:05.250" v="6713" actId="165"/>
          <ac:grpSpMkLst>
            <pc:docMk/>
            <pc:sldMk cId="2317412309" sldId="2145705761"/>
            <ac:grpSpMk id="96" creationId="{DDF0B1BF-0B3E-4ED6-848D-BBE29B8235AB}"/>
          </ac:grpSpMkLst>
        </pc:grpChg>
        <pc:grpChg chg="mod topLvl">
          <ac:chgData name="Ying Yang" userId="f1527f9b-a873-4aa2-b225-cf8fd3466e0d" providerId="ADAL" clId="{A30A5C05-46CF-4F03-AB5B-503FD66274CE}" dt="2022-06-13T10:01:35.053" v="6722" actId="164"/>
          <ac:grpSpMkLst>
            <pc:docMk/>
            <pc:sldMk cId="2317412309" sldId="2145705761"/>
            <ac:grpSpMk id="97" creationId="{FD14445A-76AA-46BD-9DE6-2C930884C8F5}"/>
          </ac:grpSpMkLst>
        </pc:grpChg>
        <pc:grpChg chg="add mod">
          <ac:chgData name="Ying Yang" userId="f1527f9b-a873-4aa2-b225-cf8fd3466e0d" providerId="ADAL" clId="{A30A5C05-46CF-4F03-AB5B-503FD66274CE}" dt="2022-06-13T10:02:39.266" v="6742" actId="1076"/>
          <ac:grpSpMkLst>
            <pc:docMk/>
            <pc:sldMk cId="2317412309" sldId="2145705761"/>
            <ac:grpSpMk id="101" creationId="{4165E339-23FE-482C-9062-841328708A2D}"/>
          </ac:grpSpMkLst>
        </pc:grpChg>
        <pc:grpChg chg="add mod">
          <ac:chgData name="Ying Yang" userId="f1527f9b-a873-4aa2-b225-cf8fd3466e0d" providerId="ADAL" clId="{A30A5C05-46CF-4F03-AB5B-503FD66274CE}" dt="2022-06-13T10:02:21.072" v="6737" actId="14100"/>
          <ac:grpSpMkLst>
            <pc:docMk/>
            <pc:sldMk cId="2317412309" sldId="2145705761"/>
            <ac:grpSpMk id="102" creationId="{698B611D-2C74-47C7-8681-8CCB09FA9001}"/>
          </ac:grpSpMkLst>
        </pc:grpChg>
        <pc:grpChg chg="mod">
          <ac:chgData name="Ying Yang" userId="f1527f9b-a873-4aa2-b225-cf8fd3466e0d" providerId="ADAL" clId="{A30A5C05-46CF-4F03-AB5B-503FD66274CE}" dt="2022-06-13T10:01:54.880" v="6727"/>
          <ac:grpSpMkLst>
            <pc:docMk/>
            <pc:sldMk cId="2317412309" sldId="2145705761"/>
            <ac:grpSpMk id="103" creationId="{08ABC7DA-3E35-4449-BA65-10BDB376E942}"/>
          </ac:grpSpMkLst>
        </pc:grpChg>
        <pc:grpChg chg="add mod">
          <ac:chgData name="Ying Yang" userId="f1527f9b-a873-4aa2-b225-cf8fd3466e0d" providerId="ADAL" clId="{A30A5C05-46CF-4F03-AB5B-503FD66274CE}" dt="2022-06-13T10:02:53.913" v="6746" actId="196"/>
          <ac:grpSpMkLst>
            <pc:docMk/>
            <pc:sldMk cId="2317412309" sldId="2145705761"/>
            <ac:grpSpMk id="107" creationId="{67AEA438-D6A8-4FE9-8771-4B84E25FE1C7}"/>
          </ac:grpSpMkLst>
        </pc:grpChg>
        <pc:grpChg chg="mod">
          <ac:chgData name="Ying Yang" userId="f1527f9b-a873-4aa2-b225-cf8fd3466e0d" providerId="ADAL" clId="{A30A5C05-46CF-4F03-AB5B-503FD66274CE}" dt="2022-06-13T10:02:48.235" v="6744"/>
          <ac:grpSpMkLst>
            <pc:docMk/>
            <pc:sldMk cId="2317412309" sldId="2145705761"/>
            <ac:grpSpMk id="108" creationId="{852A271B-F108-40EF-B87E-8B262E989CA8}"/>
          </ac:grpSpMkLst>
        </pc:grpChg>
        <pc:grpChg chg="add mod">
          <ac:chgData name="Ying Yang" userId="f1527f9b-a873-4aa2-b225-cf8fd3466e0d" providerId="ADAL" clId="{A30A5C05-46CF-4F03-AB5B-503FD66274CE}" dt="2022-06-13T10:05:10.573" v="6816" actId="14100"/>
          <ac:grpSpMkLst>
            <pc:docMk/>
            <pc:sldMk cId="2317412309" sldId="2145705761"/>
            <ac:grpSpMk id="112" creationId="{31CF4720-4821-4A18-A998-76B5D03486E0}"/>
          </ac:grpSpMkLst>
        </pc:grpChg>
        <pc:grpChg chg="mod">
          <ac:chgData name="Ying Yang" userId="f1527f9b-a873-4aa2-b225-cf8fd3466e0d" providerId="ADAL" clId="{A30A5C05-46CF-4F03-AB5B-503FD66274CE}" dt="2022-06-13T10:03:35.490" v="6766"/>
          <ac:grpSpMkLst>
            <pc:docMk/>
            <pc:sldMk cId="2317412309" sldId="2145705761"/>
            <ac:grpSpMk id="113" creationId="{1A6B75C3-55E1-4FC3-ADFF-9E46877CABF8}"/>
          </ac:grpSpMkLst>
        </pc:grpChg>
        <pc:picChg chg="mod">
          <ac:chgData name="Ying Yang" userId="f1527f9b-a873-4aa2-b225-cf8fd3466e0d" providerId="ADAL" clId="{A30A5C05-46CF-4F03-AB5B-503FD66274CE}" dt="2022-06-13T09:55:55.782" v="6298"/>
          <ac:picMkLst>
            <pc:docMk/>
            <pc:sldMk cId="2317412309" sldId="2145705761"/>
            <ac:picMk id="50" creationId="{D5CB5A55-933F-445E-A037-993FF79E68C0}"/>
          </ac:picMkLst>
        </pc:picChg>
        <pc:picChg chg="mod">
          <ac:chgData name="Ying Yang" userId="f1527f9b-a873-4aa2-b225-cf8fd3466e0d" providerId="ADAL" clId="{A30A5C05-46CF-4F03-AB5B-503FD66274CE}" dt="2022-06-13T09:55:55.782" v="6298"/>
          <ac:picMkLst>
            <pc:docMk/>
            <pc:sldMk cId="2317412309" sldId="2145705761"/>
            <ac:picMk id="51" creationId="{3DCB4D08-B107-42AB-A6C2-768CF7D029F7}"/>
          </ac:picMkLst>
        </pc:picChg>
        <pc:picChg chg="mod">
          <ac:chgData name="Ying Yang" userId="f1527f9b-a873-4aa2-b225-cf8fd3466e0d" providerId="ADAL" clId="{A30A5C05-46CF-4F03-AB5B-503FD66274CE}" dt="2022-06-13T09:55:55.782" v="6298"/>
          <ac:picMkLst>
            <pc:docMk/>
            <pc:sldMk cId="2317412309" sldId="2145705761"/>
            <ac:picMk id="52" creationId="{82333FAB-79C8-41D1-BB1E-FAAAD7051F75}"/>
          </ac:picMkLst>
        </pc:picChg>
        <pc:picChg chg="mod topLvl">
          <ac:chgData name="Ying Yang" userId="f1527f9b-a873-4aa2-b225-cf8fd3466e0d" providerId="ADAL" clId="{A30A5C05-46CF-4F03-AB5B-503FD66274CE}" dt="2022-06-13T09:59:12.150" v="6670" actId="165"/>
          <ac:picMkLst>
            <pc:docMk/>
            <pc:sldMk cId="2317412309" sldId="2145705761"/>
            <ac:picMk id="70" creationId="{58477DCE-47B6-41BE-9C36-60BF50910AF4}"/>
          </ac:picMkLst>
        </pc:picChg>
        <pc:picChg chg="mod topLvl">
          <ac:chgData name="Ying Yang" userId="f1527f9b-a873-4aa2-b225-cf8fd3466e0d" providerId="ADAL" clId="{A30A5C05-46CF-4F03-AB5B-503FD66274CE}" dt="2022-06-13T09:59:12.150" v="6670" actId="165"/>
          <ac:picMkLst>
            <pc:docMk/>
            <pc:sldMk cId="2317412309" sldId="2145705761"/>
            <ac:picMk id="71" creationId="{403E62B3-87E7-451A-9858-78723A2C2134}"/>
          </ac:picMkLst>
        </pc:picChg>
        <pc:picChg chg="mod topLvl">
          <ac:chgData name="Ying Yang" userId="f1527f9b-a873-4aa2-b225-cf8fd3466e0d" providerId="ADAL" clId="{A30A5C05-46CF-4F03-AB5B-503FD66274CE}" dt="2022-06-13T09:59:12.150" v="6670" actId="165"/>
          <ac:picMkLst>
            <pc:docMk/>
            <pc:sldMk cId="2317412309" sldId="2145705761"/>
            <ac:picMk id="72" creationId="{51051099-02C4-4C64-ABE5-73F9C02744B1}"/>
          </ac:picMkLst>
        </pc:picChg>
        <pc:cxnChg chg="mod">
          <ac:chgData name="Ying Yang" userId="f1527f9b-a873-4aa2-b225-cf8fd3466e0d" providerId="ADAL" clId="{A30A5C05-46CF-4F03-AB5B-503FD66274CE}" dt="2022-06-13T09:53:51.955" v="6267" actId="1076"/>
          <ac:cxnSpMkLst>
            <pc:docMk/>
            <pc:sldMk cId="2317412309" sldId="2145705761"/>
            <ac:cxnSpMk id="7" creationId="{B9C74FA9-A706-46B0-8EE2-051626F9B7FB}"/>
          </ac:cxnSpMkLst>
        </pc:cxnChg>
        <pc:cxnChg chg="mod">
          <ac:chgData name="Ying Yang" userId="f1527f9b-a873-4aa2-b225-cf8fd3466e0d" providerId="ADAL" clId="{A30A5C05-46CF-4F03-AB5B-503FD66274CE}" dt="2022-06-13T09:53:49.506" v="6266" actId="1076"/>
          <ac:cxnSpMkLst>
            <pc:docMk/>
            <pc:sldMk cId="2317412309" sldId="2145705761"/>
            <ac:cxnSpMk id="8" creationId="{66F415AD-0B4E-4174-96BF-F49095165BDC}"/>
          </ac:cxnSpMkLst>
        </pc:cxnChg>
        <pc:cxnChg chg="mod">
          <ac:chgData name="Ying Yang" userId="f1527f9b-a873-4aa2-b225-cf8fd3466e0d" providerId="ADAL" clId="{A30A5C05-46CF-4F03-AB5B-503FD66274CE}" dt="2022-06-13T09:54:53.937" v="6288" actId="165"/>
          <ac:cxnSpMkLst>
            <pc:docMk/>
            <pc:sldMk cId="2317412309" sldId="2145705761"/>
            <ac:cxnSpMk id="41" creationId="{29EF706F-1850-4EF0-A030-A57E6287B391}"/>
          </ac:cxnSpMkLst>
        </pc:cxnChg>
        <pc:cxnChg chg="mod">
          <ac:chgData name="Ying Yang" userId="f1527f9b-a873-4aa2-b225-cf8fd3466e0d" providerId="ADAL" clId="{A30A5C05-46CF-4F03-AB5B-503FD66274CE}" dt="2022-06-13T09:54:53.937" v="6288" actId="165"/>
          <ac:cxnSpMkLst>
            <pc:docMk/>
            <pc:sldMk cId="2317412309" sldId="2145705761"/>
            <ac:cxnSpMk id="42" creationId="{D1AB119B-4D6F-4034-8B67-FCF141F22F10}"/>
          </ac:cxnSpMkLst>
        </pc:cxnChg>
      </pc:sldChg>
      <pc:sldChg chg="addSp delSp modSp new mod ord">
        <pc:chgData name="Ying Yang" userId="f1527f9b-a873-4aa2-b225-cf8fd3466e0d" providerId="ADAL" clId="{A30A5C05-46CF-4F03-AB5B-503FD66274CE}" dt="2022-06-13T10:08:58.407" v="6890" actId="1076"/>
        <pc:sldMkLst>
          <pc:docMk/>
          <pc:sldMk cId="744449952" sldId="2145705762"/>
        </pc:sldMkLst>
        <pc:spChg chg="del">
          <ac:chgData name="Ying Yang" userId="f1527f9b-a873-4aa2-b225-cf8fd3466e0d" providerId="ADAL" clId="{A30A5C05-46CF-4F03-AB5B-503FD66274CE}" dt="2022-06-13T10:08:55.699" v="6889" actId="478"/>
          <ac:spMkLst>
            <pc:docMk/>
            <pc:sldMk cId="744449952" sldId="2145705762"/>
            <ac:spMk id="2" creationId="{8B69597A-BD73-4746-8A39-712E96451F27}"/>
          </ac:spMkLst>
        </pc:spChg>
        <pc:spChg chg="mod">
          <ac:chgData name="Ying Yang" userId="f1527f9b-a873-4aa2-b225-cf8fd3466e0d" providerId="ADAL" clId="{A30A5C05-46CF-4F03-AB5B-503FD66274CE}" dt="2022-06-13T10:08:46.370" v="6874" actId="20577"/>
          <ac:spMkLst>
            <pc:docMk/>
            <pc:sldMk cId="744449952" sldId="2145705762"/>
            <ac:spMk id="4" creationId="{91B6954B-5367-40F7-8D1D-498375E43421}"/>
          </ac:spMkLst>
        </pc:spChg>
        <pc:spChg chg="mod">
          <ac:chgData name="Ying Yang" userId="f1527f9b-a873-4aa2-b225-cf8fd3466e0d" providerId="ADAL" clId="{A30A5C05-46CF-4F03-AB5B-503FD66274CE}" dt="2022-06-13T10:08:51.694" v="6888" actId="20577"/>
          <ac:spMkLst>
            <pc:docMk/>
            <pc:sldMk cId="744449952" sldId="2145705762"/>
            <ac:spMk id="9" creationId="{0D15D4DC-E5B2-44F8-B29C-F1F3BF8B9758}"/>
          </ac:spMkLst>
        </pc:spChg>
        <pc:spChg chg="mod">
          <ac:chgData name="Ying Yang" userId="f1527f9b-a873-4aa2-b225-cf8fd3466e0d" providerId="ADAL" clId="{A30A5C05-46CF-4F03-AB5B-503FD66274CE}" dt="2022-06-13T10:08:48.652" v="6881" actId="20577"/>
          <ac:spMkLst>
            <pc:docMk/>
            <pc:sldMk cId="744449952" sldId="2145705762"/>
            <ac:spMk id="10" creationId="{1A1C642D-079C-4CFD-A722-3CECEEAB1FA7}"/>
          </ac:spMkLst>
        </pc:spChg>
        <pc:grpChg chg="add mod">
          <ac:chgData name="Ying Yang" userId="f1527f9b-a873-4aa2-b225-cf8fd3466e0d" providerId="ADAL" clId="{A30A5C05-46CF-4F03-AB5B-503FD66274CE}" dt="2022-06-13T10:08:58.407" v="6890" actId="1076"/>
          <ac:grpSpMkLst>
            <pc:docMk/>
            <pc:sldMk cId="744449952" sldId="2145705762"/>
            <ac:grpSpMk id="3" creationId="{298BA425-B455-4A39-87A3-0B66B4FDC137}"/>
          </ac:grpSpMkLst>
        </pc:grpChg>
        <pc:grpChg chg="mod">
          <ac:chgData name="Ying Yang" userId="f1527f9b-a873-4aa2-b225-cf8fd3466e0d" providerId="ADAL" clId="{A30A5C05-46CF-4F03-AB5B-503FD66274CE}" dt="2022-06-13T10:08:40.848" v="6872"/>
          <ac:grpSpMkLst>
            <pc:docMk/>
            <pc:sldMk cId="744449952" sldId="2145705762"/>
            <ac:grpSpMk id="5" creationId="{3C499010-FF60-48DC-A435-1703FE8239F4}"/>
          </ac:grpSpMkLst>
        </pc:grpChg>
        <pc:grpChg chg="mod">
          <ac:chgData name="Ying Yang" userId="f1527f9b-a873-4aa2-b225-cf8fd3466e0d" providerId="ADAL" clId="{A30A5C05-46CF-4F03-AB5B-503FD66274CE}" dt="2022-06-13T10:08:40.848" v="6872"/>
          <ac:grpSpMkLst>
            <pc:docMk/>
            <pc:sldMk cId="744449952" sldId="2145705762"/>
            <ac:grpSpMk id="6" creationId="{711ADCDA-4BA1-4D99-AD23-986C76E76AD0}"/>
          </ac:grpSpMkLst>
        </pc:grpChg>
        <pc:cxnChg chg="mod">
          <ac:chgData name="Ying Yang" userId="f1527f9b-a873-4aa2-b225-cf8fd3466e0d" providerId="ADAL" clId="{A30A5C05-46CF-4F03-AB5B-503FD66274CE}" dt="2022-06-13T10:08:40.848" v="6872"/>
          <ac:cxnSpMkLst>
            <pc:docMk/>
            <pc:sldMk cId="744449952" sldId="2145705762"/>
            <ac:cxnSpMk id="7" creationId="{5A1596AC-F725-42CF-BB8A-F8056AE96877}"/>
          </ac:cxnSpMkLst>
        </pc:cxnChg>
        <pc:cxnChg chg="mod">
          <ac:chgData name="Ying Yang" userId="f1527f9b-a873-4aa2-b225-cf8fd3466e0d" providerId="ADAL" clId="{A30A5C05-46CF-4F03-AB5B-503FD66274CE}" dt="2022-06-13T10:08:40.848" v="6872"/>
          <ac:cxnSpMkLst>
            <pc:docMk/>
            <pc:sldMk cId="744449952" sldId="2145705762"/>
            <ac:cxnSpMk id="8" creationId="{87D5DA2A-6F0A-409A-BF55-D9C29D717AB5}"/>
          </ac:cxnSpMkLst>
        </pc:cxnChg>
      </pc:sldChg>
      <pc:sldMasterChg chg="delSldLayout modSldLayout">
        <pc:chgData name="Ying Yang" userId="f1527f9b-a873-4aa2-b225-cf8fd3466e0d" providerId="ADAL" clId="{A30A5C05-46CF-4F03-AB5B-503FD66274CE}" dt="2022-06-13T02:15:06.563" v="4221" actId="1076"/>
        <pc:sldMasterMkLst>
          <pc:docMk/>
          <pc:sldMasterMk cId="3281785214" sldId="2147483660"/>
        </pc:sldMasterMkLst>
        <pc:sldLayoutChg chg="del">
          <pc:chgData name="Ying Yang" userId="f1527f9b-a873-4aa2-b225-cf8fd3466e0d" providerId="ADAL" clId="{A30A5C05-46CF-4F03-AB5B-503FD66274CE}" dt="2022-06-08T07:53:44.389" v="1108" actId="47"/>
          <pc:sldLayoutMkLst>
            <pc:docMk/>
            <pc:sldMasterMk cId="3281785214" sldId="2147483660"/>
            <pc:sldLayoutMk cId="4048346562" sldId="2147483666"/>
          </pc:sldLayoutMkLst>
        </pc:sldLayoutChg>
        <pc:sldLayoutChg chg="addSp delSp modSp mod">
          <pc:chgData name="Ying Yang" userId="f1527f9b-a873-4aa2-b225-cf8fd3466e0d" providerId="ADAL" clId="{A30A5C05-46CF-4F03-AB5B-503FD66274CE}" dt="2022-06-13T02:15:06.563" v="4221" actId="1076"/>
          <pc:sldLayoutMkLst>
            <pc:docMk/>
            <pc:sldMasterMk cId="3281785214" sldId="2147483660"/>
            <pc:sldLayoutMk cId="453657622" sldId="2147483677"/>
          </pc:sldLayoutMkLst>
          <pc:picChg chg="del">
            <ac:chgData name="Ying Yang" userId="f1527f9b-a873-4aa2-b225-cf8fd3466e0d" providerId="ADAL" clId="{A30A5C05-46CF-4F03-AB5B-503FD66274CE}" dt="2022-06-13T02:14:42.766" v="4213" actId="478"/>
            <ac:picMkLst>
              <pc:docMk/>
              <pc:sldMasterMk cId="3281785214" sldId="2147483660"/>
              <pc:sldLayoutMk cId="453657622" sldId="2147483677"/>
              <ac:picMk id="7" creationId="{86B71DDE-CBD8-43C0-B02A-E2AB729635B3}"/>
            </ac:picMkLst>
          </pc:picChg>
          <pc:picChg chg="add mod">
            <ac:chgData name="Ying Yang" userId="f1527f9b-a873-4aa2-b225-cf8fd3466e0d" providerId="ADAL" clId="{A30A5C05-46CF-4F03-AB5B-503FD66274CE}" dt="2022-06-13T02:15:06.563" v="4221" actId="1076"/>
            <ac:picMkLst>
              <pc:docMk/>
              <pc:sldMasterMk cId="3281785214" sldId="2147483660"/>
              <pc:sldLayoutMk cId="453657622" sldId="2147483677"/>
              <ac:picMk id="8" creationId="{E7CB231F-1B55-47FE-A841-580C2B451F48}"/>
            </ac:picMkLst>
          </pc:picChg>
        </pc:sldLayoutChg>
      </pc:sldMasterChg>
      <pc:sldMasterChg chg="delSldLayout">
        <pc:chgData name="Ying Yang" userId="f1527f9b-a873-4aa2-b225-cf8fd3466e0d" providerId="ADAL" clId="{A30A5C05-46CF-4F03-AB5B-503FD66274CE}" dt="2022-06-09T03:24:23.532" v="4068" actId="47"/>
        <pc:sldMasterMkLst>
          <pc:docMk/>
          <pc:sldMasterMk cId="1534913859" sldId="2147483679"/>
        </pc:sldMasterMkLst>
        <pc:sldLayoutChg chg="del">
          <pc:chgData name="Ying Yang" userId="f1527f9b-a873-4aa2-b225-cf8fd3466e0d" providerId="ADAL" clId="{A30A5C05-46CF-4F03-AB5B-503FD66274CE}" dt="2022-06-09T03:24:23.532" v="4068" actId="47"/>
          <pc:sldLayoutMkLst>
            <pc:docMk/>
            <pc:sldMasterMk cId="1534913859" sldId="2147483679"/>
            <pc:sldLayoutMk cId="2522904831" sldId="2147483697"/>
          </pc:sldLayoutMkLst>
        </pc:sldLayoutChg>
      </pc:sldMasterChg>
      <pc:sldMasterChg chg="delSldLayout">
        <pc:chgData name="Ying Yang" userId="f1527f9b-a873-4aa2-b225-cf8fd3466e0d" providerId="ADAL" clId="{A30A5C05-46CF-4F03-AB5B-503FD66274CE}" dt="2022-06-09T03:02:22.872" v="3704" actId="47"/>
        <pc:sldMasterMkLst>
          <pc:docMk/>
          <pc:sldMasterMk cId="1586503415" sldId="2147483700"/>
        </pc:sldMasterMkLst>
        <pc:sldLayoutChg chg="del">
          <pc:chgData name="Ying Yang" userId="f1527f9b-a873-4aa2-b225-cf8fd3466e0d" providerId="ADAL" clId="{A30A5C05-46CF-4F03-AB5B-503FD66274CE}" dt="2022-06-09T03:02:22.872" v="3704" actId="47"/>
          <pc:sldLayoutMkLst>
            <pc:docMk/>
            <pc:sldMasterMk cId="1586503415" sldId="2147483700"/>
            <pc:sldLayoutMk cId="1982211664" sldId="2147483725"/>
          </pc:sldLayoutMkLst>
        </pc:sldLayoutChg>
      </pc:sldMasterChg>
      <pc:sldMasterChg chg="modSldLayout">
        <pc:chgData name="Ying Yang" userId="f1527f9b-a873-4aa2-b225-cf8fd3466e0d" providerId="ADAL" clId="{A30A5C05-46CF-4F03-AB5B-503FD66274CE}" dt="2022-06-13T08:03:42.639" v="4732" actId="14100"/>
        <pc:sldMasterMkLst>
          <pc:docMk/>
          <pc:sldMasterMk cId="1438359549" sldId="2147483736"/>
        </pc:sldMasterMkLst>
        <pc:sldLayoutChg chg="addSp delSp modSp mod">
          <pc:chgData name="Ying Yang" userId="f1527f9b-a873-4aa2-b225-cf8fd3466e0d" providerId="ADAL" clId="{A30A5C05-46CF-4F03-AB5B-503FD66274CE}" dt="2022-06-13T08:03:42.639" v="4732" actId="14100"/>
          <pc:sldLayoutMkLst>
            <pc:docMk/>
            <pc:sldMasterMk cId="1438359549" sldId="2147483736"/>
            <pc:sldLayoutMk cId="1017771730" sldId="2147483741"/>
          </pc:sldLayoutMkLst>
          <pc:picChg chg="del">
            <ac:chgData name="Ying Yang" userId="f1527f9b-a873-4aa2-b225-cf8fd3466e0d" providerId="ADAL" clId="{A30A5C05-46CF-4F03-AB5B-503FD66274CE}" dt="2022-06-08T09:58:03.737" v="2617" actId="478"/>
            <ac:picMkLst>
              <pc:docMk/>
              <pc:sldMasterMk cId="1438359549" sldId="2147483736"/>
              <pc:sldLayoutMk cId="1017771730" sldId="2147483741"/>
              <ac:picMk id="3" creationId="{00000000-0000-0000-0000-000000000000}"/>
            </ac:picMkLst>
          </pc:picChg>
          <pc:picChg chg="add del">
            <ac:chgData name="Ying Yang" userId="f1527f9b-a873-4aa2-b225-cf8fd3466e0d" providerId="ADAL" clId="{A30A5C05-46CF-4F03-AB5B-503FD66274CE}" dt="2022-06-08T09:58:50.447" v="2624" actId="478"/>
            <ac:picMkLst>
              <pc:docMk/>
              <pc:sldMasterMk cId="1438359549" sldId="2147483736"/>
              <pc:sldLayoutMk cId="1017771730" sldId="2147483741"/>
              <ac:picMk id="4" creationId="{00000000-0000-0000-0000-000000000000}"/>
            </ac:picMkLst>
          </pc:picChg>
          <pc:picChg chg="add mod">
            <ac:chgData name="Ying Yang" userId="f1527f9b-a873-4aa2-b225-cf8fd3466e0d" providerId="ADAL" clId="{A30A5C05-46CF-4F03-AB5B-503FD66274CE}" dt="2022-06-13T08:03:42.639" v="4732" actId="14100"/>
            <ac:picMkLst>
              <pc:docMk/>
              <pc:sldMasterMk cId="1438359549" sldId="2147483736"/>
              <pc:sldLayoutMk cId="1017771730" sldId="2147483741"/>
              <ac:picMk id="4" creationId="{D54849F8-F0F7-4754-821F-F314521498F4}"/>
            </ac:picMkLst>
          </pc:picChg>
        </pc:sldLayoutChg>
      </pc:sldMasterChg>
    </pc:docChg>
  </pc:docChgLst>
  <pc:docChgLst>
    <pc:chgData name="Ying Yang" userId="f1527f9b-a873-4aa2-b225-cf8fd3466e0d" providerId="ADAL" clId="{A11C78AC-DC75-447B-B78D-FA5B1F5D213F}"/>
    <pc:docChg chg="undo redo custSel addSld delSld modSld sldOrd addSection modSection">
      <pc:chgData name="Ying Yang" userId="f1527f9b-a873-4aa2-b225-cf8fd3466e0d" providerId="ADAL" clId="{A11C78AC-DC75-447B-B78D-FA5B1F5D213F}" dt="2022-06-14T03:30:22.316" v="1567" actId="13926"/>
      <pc:docMkLst>
        <pc:docMk/>
      </pc:docMkLst>
      <pc:sldChg chg="ord">
        <pc:chgData name="Ying Yang" userId="f1527f9b-a873-4aa2-b225-cf8fd3466e0d" providerId="ADAL" clId="{A11C78AC-DC75-447B-B78D-FA5B1F5D213F}" dt="2022-06-14T02:53:53.298" v="1220"/>
        <pc:sldMkLst>
          <pc:docMk/>
          <pc:sldMk cId="0" sldId="304"/>
        </pc:sldMkLst>
      </pc:sldChg>
      <pc:sldChg chg="modSp mod">
        <pc:chgData name="Ying Yang" userId="f1527f9b-a873-4aa2-b225-cf8fd3466e0d" providerId="ADAL" clId="{A11C78AC-DC75-447B-B78D-FA5B1F5D213F}" dt="2022-06-14T02:13:17.090" v="49" actId="2710"/>
        <pc:sldMkLst>
          <pc:docMk/>
          <pc:sldMk cId="2871959503" sldId="881"/>
        </pc:sldMkLst>
        <pc:spChg chg="mod">
          <ac:chgData name="Ying Yang" userId="f1527f9b-a873-4aa2-b225-cf8fd3466e0d" providerId="ADAL" clId="{A11C78AC-DC75-447B-B78D-FA5B1F5D213F}" dt="2022-06-14T02:13:17.090" v="49" actId="2710"/>
          <ac:spMkLst>
            <pc:docMk/>
            <pc:sldMk cId="2871959503" sldId="881"/>
            <ac:spMk id="4" creationId="{E7129326-A5E8-40CA-ADF8-8E4D8332632C}"/>
          </ac:spMkLst>
        </pc:spChg>
      </pc:sldChg>
      <pc:sldChg chg="ord">
        <pc:chgData name="Ying Yang" userId="f1527f9b-a873-4aa2-b225-cf8fd3466e0d" providerId="ADAL" clId="{A11C78AC-DC75-447B-B78D-FA5B1F5D213F}" dt="2022-06-14T02:18:19.804" v="199"/>
        <pc:sldMkLst>
          <pc:docMk/>
          <pc:sldMk cId="0" sldId="2050181"/>
        </pc:sldMkLst>
      </pc:sldChg>
      <pc:sldChg chg="addSp delSp modSp mod ord addCm modCm">
        <pc:chgData name="Ying Yang" userId="f1527f9b-a873-4aa2-b225-cf8fd3466e0d" providerId="ADAL" clId="{A11C78AC-DC75-447B-B78D-FA5B1F5D213F}" dt="2022-06-14T02:59:15.148" v="1241"/>
        <pc:sldMkLst>
          <pc:docMk/>
          <pc:sldMk cId="1411220885" sldId="2145705747"/>
        </pc:sldMkLst>
        <pc:spChg chg="mod">
          <ac:chgData name="Ying Yang" userId="f1527f9b-a873-4aa2-b225-cf8fd3466e0d" providerId="ADAL" clId="{A11C78AC-DC75-447B-B78D-FA5B1F5D213F}" dt="2022-06-14T02:42:47.316" v="944" actId="404"/>
          <ac:spMkLst>
            <pc:docMk/>
            <pc:sldMk cId="1411220885" sldId="2145705747"/>
            <ac:spMk id="18" creationId="{00000000-0000-0000-0000-000000000000}"/>
          </ac:spMkLst>
        </pc:spChg>
        <pc:spChg chg="mod">
          <ac:chgData name="Ying Yang" userId="f1527f9b-a873-4aa2-b225-cf8fd3466e0d" providerId="ADAL" clId="{A11C78AC-DC75-447B-B78D-FA5B1F5D213F}" dt="2022-06-14T02:47:16.398" v="1113" actId="404"/>
          <ac:spMkLst>
            <pc:docMk/>
            <pc:sldMk cId="1411220885" sldId="2145705747"/>
            <ac:spMk id="61" creationId="{5FD5F2DC-5621-48EF-9287-F94F0B976095}"/>
          </ac:spMkLst>
        </pc:spChg>
        <pc:spChg chg="mod">
          <ac:chgData name="Ying Yang" userId="f1527f9b-a873-4aa2-b225-cf8fd3466e0d" providerId="ADAL" clId="{A11C78AC-DC75-447B-B78D-FA5B1F5D213F}" dt="2022-06-14T02:43:28.094" v="961" actId="1037"/>
          <ac:spMkLst>
            <pc:docMk/>
            <pc:sldMk cId="1411220885" sldId="2145705747"/>
            <ac:spMk id="65" creationId="{0BAAB9D5-D39F-4006-BDC7-C901F31EC1FA}"/>
          </ac:spMkLst>
        </pc:spChg>
        <pc:spChg chg="mod">
          <ac:chgData name="Ying Yang" userId="f1527f9b-a873-4aa2-b225-cf8fd3466e0d" providerId="ADAL" clId="{A11C78AC-DC75-447B-B78D-FA5B1F5D213F}" dt="2022-06-14T02:45:45.051" v="1089" actId="14100"/>
          <ac:spMkLst>
            <pc:docMk/>
            <pc:sldMk cId="1411220885" sldId="2145705747"/>
            <ac:spMk id="79" creationId="{A6077C0E-0110-47FC-9CBD-93563BE9061D}"/>
          </ac:spMkLst>
        </pc:spChg>
        <pc:spChg chg="mod">
          <ac:chgData name="Ying Yang" userId="f1527f9b-a873-4aa2-b225-cf8fd3466e0d" providerId="ADAL" clId="{A11C78AC-DC75-447B-B78D-FA5B1F5D213F}" dt="2022-06-14T02:43:35.167" v="963" actId="1038"/>
          <ac:spMkLst>
            <pc:docMk/>
            <pc:sldMk cId="1411220885" sldId="2145705747"/>
            <ac:spMk id="80" creationId="{4A0B538E-45DE-4A74-89AF-A206EEFC7157}"/>
          </ac:spMkLst>
        </pc:spChg>
        <pc:spChg chg="mod">
          <ac:chgData name="Ying Yang" userId="f1527f9b-a873-4aa2-b225-cf8fd3466e0d" providerId="ADAL" clId="{A11C78AC-DC75-447B-B78D-FA5B1F5D213F}" dt="2022-06-14T02:41:40.824" v="927" actId="20577"/>
          <ac:spMkLst>
            <pc:docMk/>
            <pc:sldMk cId="1411220885" sldId="2145705747"/>
            <ac:spMk id="88" creationId="{4A6427BD-7EC1-4DB5-88FB-AC5832F7215F}"/>
          </ac:spMkLst>
        </pc:spChg>
        <pc:spChg chg="mod">
          <ac:chgData name="Ying Yang" userId="f1527f9b-a873-4aa2-b225-cf8fd3466e0d" providerId="ADAL" clId="{A11C78AC-DC75-447B-B78D-FA5B1F5D213F}" dt="2022-06-14T02:48:43.724" v="1141" actId="404"/>
          <ac:spMkLst>
            <pc:docMk/>
            <pc:sldMk cId="1411220885" sldId="2145705747"/>
            <ac:spMk id="90" creationId="{2BEDCB81-43DC-4B68-8905-565B26543044}"/>
          </ac:spMkLst>
        </pc:spChg>
        <pc:spChg chg="mod">
          <ac:chgData name="Ying Yang" userId="f1527f9b-a873-4aa2-b225-cf8fd3466e0d" providerId="ADAL" clId="{A11C78AC-DC75-447B-B78D-FA5B1F5D213F}" dt="2022-06-14T02:42:00.961" v="932" actId="1076"/>
          <ac:spMkLst>
            <pc:docMk/>
            <pc:sldMk cId="1411220885" sldId="2145705747"/>
            <ac:spMk id="98" creationId="{31C22B4F-40F2-4505-B398-43BC3ED5289E}"/>
          </ac:spMkLst>
        </pc:spChg>
        <pc:spChg chg="mod">
          <ac:chgData name="Ying Yang" userId="f1527f9b-a873-4aa2-b225-cf8fd3466e0d" providerId="ADAL" clId="{A11C78AC-DC75-447B-B78D-FA5B1F5D213F}" dt="2022-06-14T02:47:40.849" v="1125" actId="403"/>
          <ac:spMkLst>
            <pc:docMk/>
            <pc:sldMk cId="1411220885" sldId="2145705747"/>
            <ac:spMk id="100" creationId="{4C5C3D9D-A04F-48CB-9BB8-5AB5CBD836F0}"/>
          </ac:spMkLst>
        </pc:spChg>
        <pc:spChg chg="mod">
          <ac:chgData name="Ying Yang" userId="f1527f9b-a873-4aa2-b225-cf8fd3466e0d" providerId="ADAL" clId="{A11C78AC-DC75-447B-B78D-FA5B1F5D213F}" dt="2022-06-14T02:47:40.849" v="1125" actId="403"/>
          <ac:spMkLst>
            <pc:docMk/>
            <pc:sldMk cId="1411220885" sldId="2145705747"/>
            <ac:spMk id="101" creationId="{A3F71D35-B0AE-4243-9AE6-EB5D24629396}"/>
          </ac:spMkLst>
        </pc:spChg>
        <pc:spChg chg="mod">
          <ac:chgData name="Ying Yang" userId="f1527f9b-a873-4aa2-b225-cf8fd3466e0d" providerId="ADAL" clId="{A11C78AC-DC75-447B-B78D-FA5B1F5D213F}" dt="2022-06-14T02:47:40.849" v="1125" actId="403"/>
          <ac:spMkLst>
            <pc:docMk/>
            <pc:sldMk cId="1411220885" sldId="2145705747"/>
            <ac:spMk id="102" creationId="{CE7E2D97-09D5-451D-9CAC-3E58F9365430}"/>
          </ac:spMkLst>
        </pc:spChg>
        <pc:spChg chg="mod">
          <ac:chgData name="Ying Yang" userId="f1527f9b-a873-4aa2-b225-cf8fd3466e0d" providerId="ADAL" clId="{A11C78AC-DC75-447B-B78D-FA5B1F5D213F}" dt="2022-06-14T02:47:55.619" v="1131" actId="20577"/>
          <ac:spMkLst>
            <pc:docMk/>
            <pc:sldMk cId="1411220885" sldId="2145705747"/>
            <ac:spMk id="103" creationId="{669BEC9C-2FD7-4001-B497-BA66D4BF0327}"/>
          </ac:spMkLst>
        </pc:spChg>
        <pc:spChg chg="mod">
          <ac:chgData name="Ying Yang" userId="f1527f9b-a873-4aa2-b225-cf8fd3466e0d" providerId="ADAL" clId="{A11C78AC-DC75-447B-B78D-FA5B1F5D213F}" dt="2022-06-14T02:47:53.569" v="1130" actId="20577"/>
          <ac:spMkLst>
            <pc:docMk/>
            <pc:sldMk cId="1411220885" sldId="2145705747"/>
            <ac:spMk id="104" creationId="{4D80035D-B679-48BD-9D79-AC87B216E103}"/>
          </ac:spMkLst>
        </pc:spChg>
        <pc:spChg chg="mod">
          <ac:chgData name="Ying Yang" userId="f1527f9b-a873-4aa2-b225-cf8fd3466e0d" providerId="ADAL" clId="{A11C78AC-DC75-447B-B78D-FA5B1F5D213F}" dt="2022-06-14T02:47:50.912" v="1129" actId="20577"/>
          <ac:spMkLst>
            <pc:docMk/>
            <pc:sldMk cId="1411220885" sldId="2145705747"/>
            <ac:spMk id="105" creationId="{26F9B3E7-1853-4BBC-9BC2-760E6D5FA1EA}"/>
          </ac:spMkLst>
        </pc:spChg>
        <pc:spChg chg="mod">
          <ac:chgData name="Ying Yang" userId="f1527f9b-a873-4aa2-b225-cf8fd3466e0d" providerId="ADAL" clId="{A11C78AC-DC75-447B-B78D-FA5B1F5D213F}" dt="2022-06-14T02:47:40.849" v="1125" actId="403"/>
          <ac:spMkLst>
            <pc:docMk/>
            <pc:sldMk cId="1411220885" sldId="2145705747"/>
            <ac:spMk id="107" creationId="{05E2B0A6-0E38-453A-8878-07049121FD62}"/>
          </ac:spMkLst>
        </pc:spChg>
        <pc:spChg chg="mod">
          <ac:chgData name="Ying Yang" userId="f1527f9b-a873-4aa2-b225-cf8fd3466e0d" providerId="ADAL" clId="{A11C78AC-DC75-447B-B78D-FA5B1F5D213F}" dt="2022-06-14T02:47:40.849" v="1125" actId="403"/>
          <ac:spMkLst>
            <pc:docMk/>
            <pc:sldMk cId="1411220885" sldId="2145705747"/>
            <ac:spMk id="116" creationId="{848C55FF-BBE0-4668-B10C-60E8AD8D1237}"/>
          </ac:spMkLst>
        </pc:spChg>
        <pc:spChg chg="mod">
          <ac:chgData name="Ying Yang" userId="f1527f9b-a873-4aa2-b225-cf8fd3466e0d" providerId="ADAL" clId="{A11C78AC-DC75-447B-B78D-FA5B1F5D213F}" dt="2022-06-14T02:47:40.849" v="1125" actId="403"/>
          <ac:spMkLst>
            <pc:docMk/>
            <pc:sldMk cId="1411220885" sldId="2145705747"/>
            <ac:spMk id="117" creationId="{83569C3A-C08F-445C-886B-9A76A87D4060}"/>
          </ac:spMkLst>
        </pc:spChg>
        <pc:spChg chg="mod">
          <ac:chgData name="Ying Yang" userId="f1527f9b-a873-4aa2-b225-cf8fd3466e0d" providerId="ADAL" clId="{A11C78AC-DC75-447B-B78D-FA5B1F5D213F}" dt="2022-06-14T02:42:47.316" v="944" actId="404"/>
          <ac:spMkLst>
            <pc:docMk/>
            <pc:sldMk cId="1411220885" sldId="2145705747"/>
            <ac:spMk id="127" creationId="{8209E7C8-5484-43CF-8A19-42C6EC298A42}"/>
          </ac:spMkLst>
        </pc:spChg>
        <pc:spChg chg="mod">
          <ac:chgData name="Ying Yang" userId="f1527f9b-a873-4aa2-b225-cf8fd3466e0d" providerId="ADAL" clId="{A11C78AC-DC75-447B-B78D-FA5B1F5D213F}" dt="2022-06-14T02:43:06.588" v="952" actId="1035"/>
          <ac:spMkLst>
            <pc:docMk/>
            <pc:sldMk cId="1411220885" sldId="2145705747"/>
            <ac:spMk id="130" creationId="{4101535D-F7D2-4168-84DF-D9954F61F2DF}"/>
          </ac:spMkLst>
        </pc:spChg>
        <pc:spChg chg="mod">
          <ac:chgData name="Ying Yang" userId="f1527f9b-a873-4aa2-b225-cf8fd3466e0d" providerId="ADAL" clId="{A11C78AC-DC75-447B-B78D-FA5B1F5D213F}" dt="2022-06-14T02:46:24.300" v="1093"/>
          <ac:spMkLst>
            <pc:docMk/>
            <pc:sldMk cId="1411220885" sldId="2145705747"/>
            <ac:spMk id="136" creationId="{5D1789AC-B385-43EC-A0F3-217665EBB82D}"/>
          </ac:spMkLst>
        </pc:spChg>
        <pc:spChg chg="mod">
          <ac:chgData name="Ying Yang" userId="f1527f9b-a873-4aa2-b225-cf8fd3466e0d" providerId="ADAL" clId="{A11C78AC-DC75-447B-B78D-FA5B1F5D213F}" dt="2022-06-14T02:42:47.316" v="944" actId="404"/>
          <ac:spMkLst>
            <pc:docMk/>
            <pc:sldMk cId="1411220885" sldId="2145705747"/>
            <ac:spMk id="138" creationId="{06041D1F-D7DE-43E4-9505-03EF5671DE35}"/>
          </ac:spMkLst>
        </pc:spChg>
        <pc:spChg chg="mod">
          <ac:chgData name="Ying Yang" userId="f1527f9b-a873-4aa2-b225-cf8fd3466e0d" providerId="ADAL" clId="{A11C78AC-DC75-447B-B78D-FA5B1F5D213F}" dt="2022-06-14T02:42:47.316" v="944" actId="404"/>
          <ac:spMkLst>
            <pc:docMk/>
            <pc:sldMk cId="1411220885" sldId="2145705747"/>
            <ac:spMk id="140" creationId="{1980133A-127E-439C-87CF-89DABA4ED9E9}"/>
          </ac:spMkLst>
        </pc:spChg>
        <pc:spChg chg="mod">
          <ac:chgData name="Ying Yang" userId="f1527f9b-a873-4aa2-b225-cf8fd3466e0d" providerId="ADAL" clId="{A11C78AC-DC75-447B-B78D-FA5B1F5D213F}" dt="2022-06-14T02:45:44.887" v="1088" actId="14100"/>
          <ac:spMkLst>
            <pc:docMk/>
            <pc:sldMk cId="1411220885" sldId="2145705747"/>
            <ac:spMk id="141" creationId="{85BE35D5-06D6-4605-859D-FEE231653297}"/>
          </ac:spMkLst>
        </pc:spChg>
        <pc:spChg chg="mod">
          <ac:chgData name="Ying Yang" userId="f1527f9b-a873-4aa2-b225-cf8fd3466e0d" providerId="ADAL" clId="{A11C78AC-DC75-447B-B78D-FA5B1F5D213F}" dt="2022-06-14T02:42:47.316" v="944" actId="404"/>
          <ac:spMkLst>
            <pc:docMk/>
            <pc:sldMk cId="1411220885" sldId="2145705747"/>
            <ac:spMk id="142" creationId="{93D1F527-0B2D-4452-8460-C2C16CEED821}"/>
          </ac:spMkLst>
        </pc:spChg>
        <pc:spChg chg="mod">
          <ac:chgData name="Ying Yang" userId="f1527f9b-a873-4aa2-b225-cf8fd3466e0d" providerId="ADAL" clId="{A11C78AC-DC75-447B-B78D-FA5B1F5D213F}" dt="2022-06-14T02:43:38.199" v="964" actId="14100"/>
          <ac:spMkLst>
            <pc:docMk/>
            <pc:sldMk cId="1411220885" sldId="2145705747"/>
            <ac:spMk id="143" creationId="{B75006F0-6FA3-4CB9-AE4B-3EAB5BA3E5A7}"/>
          </ac:spMkLst>
        </pc:spChg>
        <pc:spChg chg="mod">
          <ac:chgData name="Ying Yang" userId="f1527f9b-a873-4aa2-b225-cf8fd3466e0d" providerId="ADAL" clId="{A11C78AC-DC75-447B-B78D-FA5B1F5D213F}" dt="2022-06-14T02:45:45.225" v="1090" actId="14100"/>
          <ac:spMkLst>
            <pc:docMk/>
            <pc:sldMk cId="1411220885" sldId="2145705747"/>
            <ac:spMk id="144" creationId="{8F7CED72-8C73-46BC-82E9-3406DF9FEE7D}"/>
          </ac:spMkLst>
        </pc:spChg>
        <pc:spChg chg="mod">
          <ac:chgData name="Ying Yang" userId="f1527f9b-a873-4aa2-b225-cf8fd3466e0d" providerId="ADAL" clId="{A11C78AC-DC75-447B-B78D-FA5B1F5D213F}" dt="2022-06-14T02:42:57.277" v="947" actId="404"/>
          <ac:spMkLst>
            <pc:docMk/>
            <pc:sldMk cId="1411220885" sldId="2145705747"/>
            <ac:spMk id="145" creationId="{453CE3A9-7BE1-43CE-B709-570E0C0DDA89}"/>
          </ac:spMkLst>
        </pc:spChg>
        <pc:spChg chg="mod">
          <ac:chgData name="Ying Yang" userId="f1527f9b-a873-4aa2-b225-cf8fd3466e0d" providerId="ADAL" clId="{A11C78AC-DC75-447B-B78D-FA5B1F5D213F}" dt="2022-06-14T02:42:57.277" v="947" actId="404"/>
          <ac:spMkLst>
            <pc:docMk/>
            <pc:sldMk cId="1411220885" sldId="2145705747"/>
            <ac:spMk id="146" creationId="{E2835BDD-6E6E-4C3F-9FA7-8C4063B401C7}"/>
          </ac:spMkLst>
        </pc:spChg>
        <pc:spChg chg="mod">
          <ac:chgData name="Ying Yang" userId="f1527f9b-a873-4aa2-b225-cf8fd3466e0d" providerId="ADAL" clId="{A11C78AC-DC75-447B-B78D-FA5B1F5D213F}" dt="2022-06-14T02:42:57.277" v="947" actId="404"/>
          <ac:spMkLst>
            <pc:docMk/>
            <pc:sldMk cId="1411220885" sldId="2145705747"/>
            <ac:spMk id="147" creationId="{89FE1198-D02E-4985-9264-481942239519}"/>
          </ac:spMkLst>
        </pc:spChg>
        <pc:spChg chg="mod">
          <ac:chgData name="Ying Yang" userId="f1527f9b-a873-4aa2-b225-cf8fd3466e0d" providerId="ADAL" clId="{A11C78AC-DC75-447B-B78D-FA5B1F5D213F}" dt="2022-06-14T02:43:17.779" v="960" actId="1076"/>
          <ac:spMkLst>
            <pc:docMk/>
            <pc:sldMk cId="1411220885" sldId="2145705747"/>
            <ac:spMk id="148" creationId="{970FEEF1-9962-47C5-8655-1796C6113DEF}"/>
          </ac:spMkLst>
        </pc:spChg>
        <pc:spChg chg="mod">
          <ac:chgData name="Ying Yang" userId="f1527f9b-a873-4aa2-b225-cf8fd3466e0d" providerId="ADAL" clId="{A11C78AC-DC75-447B-B78D-FA5B1F5D213F}" dt="2022-06-14T02:46:24.300" v="1093"/>
          <ac:spMkLst>
            <pc:docMk/>
            <pc:sldMk cId="1411220885" sldId="2145705747"/>
            <ac:spMk id="149" creationId="{B13011DA-2069-4F06-A289-D7B65B0B42F3}"/>
          </ac:spMkLst>
        </pc:spChg>
        <pc:spChg chg="mod">
          <ac:chgData name="Ying Yang" userId="f1527f9b-a873-4aa2-b225-cf8fd3466e0d" providerId="ADAL" clId="{A11C78AC-DC75-447B-B78D-FA5B1F5D213F}" dt="2022-06-14T02:42:47.316" v="944" actId="404"/>
          <ac:spMkLst>
            <pc:docMk/>
            <pc:sldMk cId="1411220885" sldId="2145705747"/>
            <ac:spMk id="151" creationId="{430684F2-9646-4929-AE24-8604859EAB98}"/>
          </ac:spMkLst>
        </pc:spChg>
        <pc:spChg chg="mod">
          <ac:chgData name="Ying Yang" userId="f1527f9b-a873-4aa2-b225-cf8fd3466e0d" providerId="ADAL" clId="{A11C78AC-DC75-447B-B78D-FA5B1F5D213F}" dt="2022-06-14T02:42:47.316" v="944" actId="404"/>
          <ac:spMkLst>
            <pc:docMk/>
            <pc:sldMk cId="1411220885" sldId="2145705747"/>
            <ac:spMk id="152" creationId="{BB6DF802-AF6B-4724-891A-E56915A7B5F8}"/>
          </ac:spMkLst>
        </pc:spChg>
        <pc:spChg chg="mod">
          <ac:chgData name="Ying Yang" userId="f1527f9b-a873-4aa2-b225-cf8fd3466e0d" providerId="ADAL" clId="{A11C78AC-DC75-447B-B78D-FA5B1F5D213F}" dt="2022-06-14T02:42:47.316" v="944" actId="404"/>
          <ac:spMkLst>
            <pc:docMk/>
            <pc:sldMk cId="1411220885" sldId="2145705747"/>
            <ac:spMk id="153" creationId="{F77438BE-B997-4CAB-B47D-B3ADBE3ACD82}"/>
          </ac:spMkLst>
        </pc:spChg>
        <pc:spChg chg="mod">
          <ac:chgData name="Ying Yang" userId="f1527f9b-a873-4aa2-b225-cf8fd3466e0d" providerId="ADAL" clId="{A11C78AC-DC75-447B-B78D-FA5B1F5D213F}" dt="2022-06-14T02:46:24.300" v="1093"/>
          <ac:spMkLst>
            <pc:docMk/>
            <pc:sldMk cId="1411220885" sldId="2145705747"/>
            <ac:spMk id="155" creationId="{77A7B24F-17BF-4B05-BEE6-067BAC11A236}"/>
          </ac:spMkLst>
        </pc:spChg>
        <pc:spChg chg="mod">
          <ac:chgData name="Ying Yang" userId="f1527f9b-a873-4aa2-b225-cf8fd3466e0d" providerId="ADAL" clId="{A11C78AC-DC75-447B-B78D-FA5B1F5D213F}" dt="2022-06-14T02:46:24.300" v="1093"/>
          <ac:spMkLst>
            <pc:docMk/>
            <pc:sldMk cId="1411220885" sldId="2145705747"/>
            <ac:spMk id="156" creationId="{9EABCAF7-06E7-4BEF-B05E-502A63864B43}"/>
          </ac:spMkLst>
        </pc:spChg>
        <pc:spChg chg="mod">
          <ac:chgData name="Ying Yang" userId="f1527f9b-a873-4aa2-b225-cf8fd3466e0d" providerId="ADAL" clId="{A11C78AC-DC75-447B-B78D-FA5B1F5D213F}" dt="2022-06-14T02:46:24.300" v="1093"/>
          <ac:spMkLst>
            <pc:docMk/>
            <pc:sldMk cId="1411220885" sldId="2145705747"/>
            <ac:spMk id="157" creationId="{46E40A85-28D0-4CC8-8C6D-9E7F89BDFEA8}"/>
          </ac:spMkLst>
        </pc:spChg>
        <pc:spChg chg="mod">
          <ac:chgData name="Ying Yang" userId="f1527f9b-a873-4aa2-b225-cf8fd3466e0d" providerId="ADAL" clId="{A11C78AC-DC75-447B-B78D-FA5B1F5D213F}" dt="2022-06-14T02:46:24.300" v="1093"/>
          <ac:spMkLst>
            <pc:docMk/>
            <pc:sldMk cId="1411220885" sldId="2145705747"/>
            <ac:spMk id="158" creationId="{E98DCCA9-0227-42B4-A965-D6A4F84D2363}"/>
          </ac:spMkLst>
        </pc:spChg>
        <pc:spChg chg="mod">
          <ac:chgData name="Ying Yang" userId="f1527f9b-a873-4aa2-b225-cf8fd3466e0d" providerId="ADAL" clId="{A11C78AC-DC75-447B-B78D-FA5B1F5D213F}" dt="2022-06-14T02:46:24.300" v="1093"/>
          <ac:spMkLst>
            <pc:docMk/>
            <pc:sldMk cId="1411220885" sldId="2145705747"/>
            <ac:spMk id="159" creationId="{A87D55EB-E5E6-47B0-9E82-8AB3C23C08A4}"/>
          </ac:spMkLst>
        </pc:spChg>
        <pc:spChg chg="mod">
          <ac:chgData name="Ying Yang" userId="f1527f9b-a873-4aa2-b225-cf8fd3466e0d" providerId="ADAL" clId="{A11C78AC-DC75-447B-B78D-FA5B1F5D213F}" dt="2022-06-14T02:46:24.300" v="1093"/>
          <ac:spMkLst>
            <pc:docMk/>
            <pc:sldMk cId="1411220885" sldId="2145705747"/>
            <ac:spMk id="160" creationId="{67A73406-49A2-4726-A8AF-5E9B0E2E85EC}"/>
          </ac:spMkLst>
        </pc:spChg>
        <pc:spChg chg="mod">
          <ac:chgData name="Ying Yang" userId="f1527f9b-a873-4aa2-b225-cf8fd3466e0d" providerId="ADAL" clId="{A11C78AC-DC75-447B-B78D-FA5B1F5D213F}" dt="2022-06-14T02:46:24.300" v="1093"/>
          <ac:spMkLst>
            <pc:docMk/>
            <pc:sldMk cId="1411220885" sldId="2145705747"/>
            <ac:spMk id="161" creationId="{EFC833AC-2882-4D7A-B917-BD046BA2F495}"/>
          </ac:spMkLst>
        </pc:spChg>
        <pc:spChg chg="mod">
          <ac:chgData name="Ying Yang" userId="f1527f9b-a873-4aa2-b225-cf8fd3466e0d" providerId="ADAL" clId="{A11C78AC-DC75-447B-B78D-FA5B1F5D213F}" dt="2022-06-14T02:46:24.300" v="1093"/>
          <ac:spMkLst>
            <pc:docMk/>
            <pc:sldMk cId="1411220885" sldId="2145705747"/>
            <ac:spMk id="162" creationId="{1F80DD15-CCBA-46F6-96A2-F50BFFEA1DAD}"/>
          </ac:spMkLst>
        </pc:spChg>
        <pc:spChg chg="mod">
          <ac:chgData name="Ying Yang" userId="f1527f9b-a873-4aa2-b225-cf8fd3466e0d" providerId="ADAL" clId="{A11C78AC-DC75-447B-B78D-FA5B1F5D213F}" dt="2022-06-14T02:42:47.316" v="944" actId="404"/>
          <ac:spMkLst>
            <pc:docMk/>
            <pc:sldMk cId="1411220885" sldId="2145705747"/>
            <ac:spMk id="166" creationId="{F9BD7898-F2B1-4EE7-B7BC-202ACDAECF30}"/>
          </ac:spMkLst>
        </pc:spChg>
        <pc:spChg chg="mod">
          <ac:chgData name="Ying Yang" userId="f1527f9b-a873-4aa2-b225-cf8fd3466e0d" providerId="ADAL" clId="{A11C78AC-DC75-447B-B78D-FA5B1F5D213F}" dt="2022-06-14T02:42:47.316" v="944" actId="404"/>
          <ac:spMkLst>
            <pc:docMk/>
            <pc:sldMk cId="1411220885" sldId="2145705747"/>
            <ac:spMk id="167" creationId="{34830E61-1FA6-4E58-9F62-C93B39440512}"/>
          </ac:spMkLst>
        </pc:spChg>
        <pc:spChg chg="mod">
          <ac:chgData name="Ying Yang" userId="f1527f9b-a873-4aa2-b225-cf8fd3466e0d" providerId="ADAL" clId="{A11C78AC-DC75-447B-B78D-FA5B1F5D213F}" dt="2022-06-14T02:43:33.413" v="962" actId="14100"/>
          <ac:spMkLst>
            <pc:docMk/>
            <pc:sldMk cId="1411220885" sldId="2145705747"/>
            <ac:spMk id="169" creationId="{CABD4C30-CF42-49F2-BC1C-08E5817DD20C}"/>
          </ac:spMkLst>
        </pc:spChg>
        <pc:spChg chg="mod">
          <ac:chgData name="Ying Yang" userId="f1527f9b-a873-4aa2-b225-cf8fd3466e0d" providerId="ADAL" clId="{A11C78AC-DC75-447B-B78D-FA5B1F5D213F}" dt="2022-06-14T02:43:09.986" v="957" actId="1035"/>
          <ac:spMkLst>
            <pc:docMk/>
            <pc:sldMk cId="1411220885" sldId="2145705747"/>
            <ac:spMk id="172" creationId="{D8DB1E6D-DB05-4167-8ADE-0F72D863B364}"/>
          </ac:spMkLst>
        </pc:spChg>
        <pc:spChg chg="mod">
          <ac:chgData name="Ying Yang" userId="f1527f9b-a873-4aa2-b225-cf8fd3466e0d" providerId="ADAL" clId="{A11C78AC-DC75-447B-B78D-FA5B1F5D213F}" dt="2022-06-14T02:42:57.277" v="947" actId="404"/>
          <ac:spMkLst>
            <pc:docMk/>
            <pc:sldMk cId="1411220885" sldId="2145705747"/>
            <ac:spMk id="175" creationId="{8CACE16E-0E73-4B40-9ACF-25FA815436E1}"/>
          </ac:spMkLst>
        </pc:spChg>
        <pc:spChg chg="mod">
          <ac:chgData name="Ying Yang" userId="f1527f9b-a873-4aa2-b225-cf8fd3466e0d" providerId="ADAL" clId="{A11C78AC-DC75-447B-B78D-FA5B1F5D213F}" dt="2022-06-14T02:42:57.277" v="947" actId="404"/>
          <ac:spMkLst>
            <pc:docMk/>
            <pc:sldMk cId="1411220885" sldId="2145705747"/>
            <ac:spMk id="176" creationId="{BECE1249-832C-412E-9E02-32ED97D2628D}"/>
          </ac:spMkLst>
        </pc:spChg>
        <pc:spChg chg="mod">
          <ac:chgData name="Ying Yang" userId="f1527f9b-a873-4aa2-b225-cf8fd3466e0d" providerId="ADAL" clId="{A11C78AC-DC75-447B-B78D-FA5B1F5D213F}" dt="2022-06-14T02:42:57.277" v="947" actId="404"/>
          <ac:spMkLst>
            <pc:docMk/>
            <pc:sldMk cId="1411220885" sldId="2145705747"/>
            <ac:spMk id="177" creationId="{42EEBD69-3A70-4E35-9144-AC0BDC6B0F20}"/>
          </ac:spMkLst>
        </pc:spChg>
        <pc:spChg chg="mod">
          <ac:chgData name="Ying Yang" userId="f1527f9b-a873-4aa2-b225-cf8fd3466e0d" providerId="ADAL" clId="{A11C78AC-DC75-447B-B78D-FA5B1F5D213F}" dt="2022-06-14T02:42:57.277" v="947" actId="404"/>
          <ac:spMkLst>
            <pc:docMk/>
            <pc:sldMk cId="1411220885" sldId="2145705747"/>
            <ac:spMk id="178" creationId="{6D62E806-F7CD-4073-BF5A-D8E141F5F248}"/>
          </ac:spMkLst>
        </pc:spChg>
        <pc:spChg chg="mod">
          <ac:chgData name="Ying Yang" userId="f1527f9b-a873-4aa2-b225-cf8fd3466e0d" providerId="ADAL" clId="{A11C78AC-DC75-447B-B78D-FA5B1F5D213F}" dt="2022-06-14T02:42:57.277" v="947" actId="404"/>
          <ac:spMkLst>
            <pc:docMk/>
            <pc:sldMk cId="1411220885" sldId="2145705747"/>
            <ac:spMk id="179" creationId="{A51D554D-C5A7-4659-8B19-1A766528D890}"/>
          </ac:spMkLst>
        </pc:spChg>
        <pc:spChg chg="mod">
          <ac:chgData name="Ying Yang" userId="f1527f9b-a873-4aa2-b225-cf8fd3466e0d" providerId="ADAL" clId="{A11C78AC-DC75-447B-B78D-FA5B1F5D213F}" dt="2022-06-14T02:42:57.277" v="947" actId="404"/>
          <ac:spMkLst>
            <pc:docMk/>
            <pc:sldMk cId="1411220885" sldId="2145705747"/>
            <ac:spMk id="180" creationId="{57DE5CBB-0D1B-4815-B5B7-AB5F458DD6AB}"/>
          </ac:spMkLst>
        </pc:spChg>
        <pc:spChg chg="mod">
          <ac:chgData name="Ying Yang" userId="f1527f9b-a873-4aa2-b225-cf8fd3466e0d" providerId="ADAL" clId="{A11C78AC-DC75-447B-B78D-FA5B1F5D213F}" dt="2022-06-14T02:42:57.277" v="947" actId="404"/>
          <ac:spMkLst>
            <pc:docMk/>
            <pc:sldMk cId="1411220885" sldId="2145705747"/>
            <ac:spMk id="181" creationId="{14A5F119-AD7E-44A5-9D7D-4D14449445B1}"/>
          </ac:spMkLst>
        </pc:spChg>
        <pc:spChg chg="mod">
          <ac:chgData name="Ying Yang" userId="f1527f9b-a873-4aa2-b225-cf8fd3466e0d" providerId="ADAL" clId="{A11C78AC-DC75-447B-B78D-FA5B1F5D213F}" dt="2022-06-14T02:42:57.277" v="947" actId="404"/>
          <ac:spMkLst>
            <pc:docMk/>
            <pc:sldMk cId="1411220885" sldId="2145705747"/>
            <ac:spMk id="182" creationId="{CFDDA6E5-EE34-4979-B8B5-1300542C6128}"/>
          </ac:spMkLst>
        </pc:spChg>
        <pc:spChg chg="mod">
          <ac:chgData name="Ying Yang" userId="f1527f9b-a873-4aa2-b225-cf8fd3466e0d" providerId="ADAL" clId="{A11C78AC-DC75-447B-B78D-FA5B1F5D213F}" dt="2022-06-14T02:47:40.849" v="1125" actId="403"/>
          <ac:spMkLst>
            <pc:docMk/>
            <pc:sldMk cId="1411220885" sldId="2145705747"/>
            <ac:spMk id="184" creationId="{17BC35AA-2143-4FBB-AC21-4ABCBF51CB46}"/>
          </ac:spMkLst>
        </pc:spChg>
        <pc:spChg chg="mod">
          <ac:chgData name="Ying Yang" userId="f1527f9b-a873-4aa2-b225-cf8fd3466e0d" providerId="ADAL" clId="{A11C78AC-DC75-447B-B78D-FA5B1F5D213F}" dt="2022-06-14T02:50:37.365" v="1175" actId="207"/>
          <ac:spMkLst>
            <pc:docMk/>
            <pc:sldMk cId="1411220885" sldId="2145705747"/>
            <ac:spMk id="187" creationId="{2E84FE7E-59AF-4C97-B981-5D88E0918B0C}"/>
          </ac:spMkLst>
        </pc:spChg>
        <pc:spChg chg="mod">
          <ac:chgData name="Ying Yang" userId="f1527f9b-a873-4aa2-b225-cf8fd3466e0d" providerId="ADAL" clId="{A11C78AC-DC75-447B-B78D-FA5B1F5D213F}" dt="2022-06-14T02:47:40.849" v="1125" actId="403"/>
          <ac:spMkLst>
            <pc:docMk/>
            <pc:sldMk cId="1411220885" sldId="2145705747"/>
            <ac:spMk id="190" creationId="{14E1E423-D6C6-481D-875A-73E10C9431A6}"/>
          </ac:spMkLst>
        </pc:spChg>
        <pc:spChg chg="mod">
          <ac:chgData name="Ying Yang" userId="f1527f9b-a873-4aa2-b225-cf8fd3466e0d" providerId="ADAL" clId="{A11C78AC-DC75-447B-B78D-FA5B1F5D213F}" dt="2022-06-14T02:47:40.849" v="1125" actId="403"/>
          <ac:spMkLst>
            <pc:docMk/>
            <pc:sldMk cId="1411220885" sldId="2145705747"/>
            <ac:spMk id="191" creationId="{E9C8C8FA-0948-49B5-996B-493463390088}"/>
          </ac:spMkLst>
        </pc:spChg>
        <pc:spChg chg="mod">
          <ac:chgData name="Ying Yang" userId="f1527f9b-a873-4aa2-b225-cf8fd3466e0d" providerId="ADAL" clId="{A11C78AC-DC75-447B-B78D-FA5B1F5D213F}" dt="2022-06-14T02:47:40.849" v="1125" actId="403"/>
          <ac:spMkLst>
            <pc:docMk/>
            <pc:sldMk cId="1411220885" sldId="2145705747"/>
            <ac:spMk id="192" creationId="{51EC2520-707D-48E5-86A7-5681F1A84E3D}"/>
          </ac:spMkLst>
        </pc:spChg>
        <pc:spChg chg="mod">
          <ac:chgData name="Ying Yang" userId="f1527f9b-a873-4aa2-b225-cf8fd3466e0d" providerId="ADAL" clId="{A11C78AC-DC75-447B-B78D-FA5B1F5D213F}" dt="2022-06-14T02:47:40.849" v="1125" actId="403"/>
          <ac:spMkLst>
            <pc:docMk/>
            <pc:sldMk cId="1411220885" sldId="2145705747"/>
            <ac:spMk id="193" creationId="{7054AF00-6634-4E5B-9DE1-1CE89C53979A}"/>
          </ac:spMkLst>
        </pc:spChg>
        <pc:spChg chg="mod">
          <ac:chgData name="Ying Yang" userId="f1527f9b-a873-4aa2-b225-cf8fd3466e0d" providerId="ADAL" clId="{A11C78AC-DC75-447B-B78D-FA5B1F5D213F}" dt="2022-06-14T02:47:40.849" v="1125" actId="403"/>
          <ac:spMkLst>
            <pc:docMk/>
            <pc:sldMk cId="1411220885" sldId="2145705747"/>
            <ac:spMk id="194" creationId="{907B5F77-ACB3-4CC2-A6FF-B9C0BC27A61B}"/>
          </ac:spMkLst>
        </pc:spChg>
        <pc:spChg chg="mod">
          <ac:chgData name="Ying Yang" userId="f1527f9b-a873-4aa2-b225-cf8fd3466e0d" providerId="ADAL" clId="{A11C78AC-DC75-447B-B78D-FA5B1F5D213F}" dt="2022-06-14T02:47:40.849" v="1125" actId="403"/>
          <ac:spMkLst>
            <pc:docMk/>
            <pc:sldMk cId="1411220885" sldId="2145705747"/>
            <ac:spMk id="195" creationId="{A62D8135-D6C2-4CC7-8AE5-33D394139922}"/>
          </ac:spMkLst>
        </pc:spChg>
        <pc:spChg chg="mod">
          <ac:chgData name="Ying Yang" userId="f1527f9b-a873-4aa2-b225-cf8fd3466e0d" providerId="ADAL" clId="{A11C78AC-DC75-447B-B78D-FA5B1F5D213F}" dt="2022-06-14T02:47:40.849" v="1125" actId="403"/>
          <ac:spMkLst>
            <pc:docMk/>
            <pc:sldMk cId="1411220885" sldId="2145705747"/>
            <ac:spMk id="196" creationId="{151F9C2C-0E0D-4151-8AD8-483A0C042402}"/>
          </ac:spMkLst>
        </pc:spChg>
        <pc:spChg chg="mod">
          <ac:chgData name="Ying Yang" userId="f1527f9b-a873-4aa2-b225-cf8fd3466e0d" providerId="ADAL" clId="{A11C78AC-DC75-447B-B78D-FA5B1F5D213F}" dt="2022-06-14T02:47:40.849" v="1125" actId="403"/>
          <ac:spMkLst>
            <pc:docMk/>
            <pc:sldMk cId="1411220885" sldId="2145705747"/>
            <ac:spMk id="197" creationId="{4FD8AC32-5F58-4022-9CED-2C030107A6A1}"/>
          </ac:spMkLst>
        </pc:spChg>
        <pc:spChg chg="mod">
          <ac:chgData name="Ying Yang" userId="f1527f9b-a873-4aa2-b225-cf8fd3466e0d" providerId="ADAL" clId="{A11C78AC-DC75-447B-B78D-FA5B1F5D213F}" dt="2022-06-14T02:46:24.300" v="1093"/>
          <ac:spMkLst>
            <pc:docMk/>
            <pc:sldMk cId="1411220885" sldId="2145705747"/>
            <ac:spMk id="198" creationId="{E8750E06-4A8B-4640-8521-6934F8EA7AEA}"/>
          </ac:spMkLst>
        </pc:spChg>
        <pc:spChg chg="mod">
          <ac:chgData name="Ying Yang" userId="f1527f9b-a873-4aa2-b225-cf8fd3466e0d" providerId="ADAL" clId="{A11C78AC-DC75-447B-B78D-FA5B1F5D213F}" dt="2022-06-14T02:46:24.300" v="1093"/>
          <ac:spMkLst>
            <pc:docMk/>
            <pc:sldMk cId="1411220885" sldId="2145705747"/>
            <ac:spMk id="205" creationId="{2DBA1E06-C399-4487-9C3B-3A4BC9189F2C}"/>
          </ac:spMkLst>
        </pc:spChg>
        <pc:spChg chg="mod">
          <ac:chgData name="Ying Yang" userId="f1527f9b-a873-4aa2-b225-cf8fd3466e0d" providerId="ADAL" clId="{A11C78AC-DC75-447B-B78D-FA5B1F5D213F}" dt="2022-06-14T02:46:24.300" v="1093"/>
          <ac:spMkLst>
            <pc:docMk/>
            <pc:sldMk cId="1411220885" sldId="2145705747"/>
            <ac:spMk id="206" creationId="{7044B88F-7705-4108-8379-07695F661B3F}"/>
          </ac:spMkLst>
        </pc:spChg>
        <pc:spChg chg="mod">
          <ac:chgData name="Ying Yang" userId="f1527f9b-a873-4aa2-b225-cf8fd3466e0d" providerId="ADAL" clId="{A11C78AC-DC75-447B-B78D-FA5B1F5D213F}" dt="2022-06-14T02:46:24.300" v="1093"/>
          <ac:spMkLst>
            <pc:docMk/>
            <pc:sldMk cId="1411220885" sldId="2145705747"/>
            <ac:spMk id="207" creationId="{4614AFDA-2639-43C2-BD09-D077C5DF4021}"/>
          </ac:spMkLst>
        </pc:spChg>
        <pc:spChg chg="mod">
          <ac:chgData name="Ying Yang" userId="f1527f9b-a873-4aa2-b225-cf8fd3466e0d" providerId="ADAL" clId="{A11C78AC-DC75-447B-B78D-FA5B1F5D213F}" dt="2022-06-14T02:46:24.300" v="1093"/>
          <ac:spMkLst>
            <pc:docMk/>
            <pc:sldMk cId="1411220885" sldId="2145705747"/>
            <ac:spMk id="208" creationId="{D3824677-0545-4CA3-9041-AD81B0B4C29C}"/>
          </ac:spMkLst>
        </pc:spChg>
        <pc:spChg chg="mod">
          <ac:chgData name="Ying Yang" userId="f1527f9b-a873-4aa2-b225-cf8fd3466e0d" providerId="ADAL" clId="{A11C78AC-DC75-447B-B78D-FA5B1F5D213F}" dt="2022-06-14T02:46:24.300" v="1093"/>
          <ac:spMkLst>
            <pc:docMk/>
            <pc:sldMk cId="1411220885" sldId="2145705747"/>
            <ac:spMk id="209" creationId="{AD6A7385-7D7D-481F-B83C-4774E6D29778}"/>
          </ac:spMkLst>
        </pc:spChg>
        <pc:spChg chg="mod">
          <ac:chgData name="Ying Yang" userId="f1527f9b-a873-4aa2-b225-cf8fd3466e0d" providerId="ADAL" clId="{A11C78AC-DC75-447B-B78D-FA5B1F5D213F}" dt="2022-06-14T02:46:24.300" v="1093"/>
          <ac:spMkLst>
            <pc:docMk/>
            <pc:sldMk cId="1411220885" sldId="2145705747"/>
            <ac:spMk id="210" creationId="{3D0D1C3E-059A-40CD-8C0A-D115F8C17DFC}"/>
          </ac:spMkLst>
        </pc:spChg>
        <pc:spChg chg="mod">
          <ac:chgData name="Ying Yang" userId="f1527f9b-a873-4aa2-b225-cf8fd3466e0d" providerId="ADAL" clId="{A11C78AC-DC75-447B-B78D-FA5B1F5D213F}" dt="2022-06-14T02:46:24.300" v="1093"/>
          <ac:spMkLst>
            <pc:docMk/>
            <pc:sldMk cId="1411220885" sldId="2145705747"/>
            <ac:spMk id="211" creationId="{B043AD79-E6DD-4A5F-94BF-AF0AC6282E19}"/>
          </ac:spMkLst>
        </pc:spChg>
        <pc:spChg chg="mod">
          <ac:chgData name="Ying Yang" userId="f1527f9b-a873-4aa2-b225-cf8fd3466e0d" providerId="ADAL" clId="{A11C78AC-DC75-447B-B78D-FA5B1F5D213F}" dt="2022-06-14T02:46:24.300" v="1093"/>
          <ac:spMkLst>
            <pc:docMk/>
            <pc:sldMk cId="1411220885" sldId="2145705747"/>
            <ac:spMk id="212" creationId="{0B5E2896-4100-4B55-9477-EC41CD08CCFB}"/>
          </ac:spMkLst>
        </pc:spChg>
        <pc:spChg chg="mod">
          <ac:chgData name="Ying Yang" userId="f1527f9b-a873-4aa2-b225-cf8fd3466e0d" providerId="ADAL" clId="{A11C78AC-DC75-447B-B78D-FA5B1F5D213F}" dt="2022-06-14T02:46:44.827" v="1094"/>
          <ac:spMkLst>
            <pc:docMk/>
            <pc:sldMk cId="1411220885" sldId="2145705747"/>
            <ac:spMk id="214" creationId="{964591F0-117E-4632-B2D6-974D52F80880}"/>
          </ac:spMkLst>
        </pc:spChg>
        <pc:spChg chg="mod">
          <ac:chgData name="Ying Yang" userId="f1527f9b-a873-4aa2-b225-cf8fd3466e0d" providerId="ADAL" clId="{A11C78AC-DC75-447B-B78D-FA5B1F5D213F}" dt="2022-06-14T02:51:16.738" v="1193" actId="14100"/>
          <ac:spMkLst>
            <pc:docMk/>
            <pc:sldMk cId="1411220885" sldId="2145705747"/>
            <ac:spMk id="217" creationId="{1FE9F52A-2C1B-47C7-9AAC-92E56B2AF9DE}"/>
          </ac:spMkLst>
        </pc:spChg>
        <pc:spChg chg="mod">
          <ac:chgData name="Ying Yang" userId="f1527f9b-a873-4aa2-b225-cf8fd3466e0d" providerId="ADAL" clId="{A11C78AC-DC75-447B-B78D-FA5B1F5D213F}" dt="2022-06-14T02:51:16.738" v="1193" actId="14100"/>
          <ac:spMkLst>
            <pc:docMk/>
            <pc:sldMk cId="1411220885" sldId="2145705747"/>
            <ac:spMk id="220" creationId="{77865170-45AA-49C6-901F-622807651858}"/>
          </ac:spMkLst>
        </pc:spChg>
        <pc:spChg chg="mod">
          <ac:chgData name="Ying Yang" userId="f1527f9b-a873-4aa2-b225-cf8fd3466e0d" providerId="ADAL" clId="{A11C78AC-DC75-447B-B78D-FA5B1F5D213F}" dt="2022-06-14T02:51:16.738" v="1193" actId="14100"/>
          <ac:spMkLst>
            <pc:docMk/>
            <pc:sldMk cId="1411220885" sldId="2145705747"/>
            <ac:spMk id="221" creationId="{CC8E2621-8F96-4A9D-8725-8EF50DA4A39B}"/>
          </ac:spMkLst>
        </pc:spChg>
        <pc:spChg chg="mod">
          <ac:chgData name="Ying Yang" userId="f1527f9b-a873-4aa2-b225-cf8fd3466e0d" providerId="ADAL" clId="{A11C78AC-DC75-447B-B78D-FA5B1F5D213F}" dt="2022-06-14T02:58:28.834" v="1239" actId="14100"/>
          <ac:spMkLst>
            <pc:docMk/>
            <pc:sldMk cId="1411220885" sldId="2145705747"/>
            <ac:spMk id="222" creationId="{AEA4DE7A-C151-4F06-81D5-301FC4355126}"/>
          </ac:spMkLst>
        </pc:spChg>
        <pc:spChg chg="mod">
          <ac:chgData name="Ying Yang" userId="f1527f9b-a873-4aa2-b225-cf8fd3466e0d" providerId="ADAL" clId="{A11C78AC-DC75-447B-B78D-FA5B1F5D213F}" dt="2022-06-14T02:51:16.738" v="1193" actId="14100"/>
          <ac:spMkLst>
            <pc:docMk/>
            <pc:sldMk cId="1411220885" sldId="2145705747"/>
            <ac:spMk id="225" creationId="{E938300E-E5D8-45A0-8E65-183C7DAF2732}"/>
          </ac:spMkLst>
        </pc:spChg>
        <pc:spChg chg="mod">
          <ac:chgData name="Ying Yang" userId="f1527f9b-a873-4aa2-b225-cf8fd3466e0d" providerId="ADAL" clId="{A11C78AC-DC75-447B-B78D-FA5B1F5D213F}" dt="2022-06-14T02:51:16.738" v="1193" actId="14100"/>
          <ac:spMkLst>
            <pc:docMk/>
            <pc:sldMk cId="1411220885" sldId="2145705747"/>
            <ac:spMk id="227" creationId="{5E8B74F0-868B-44E5-AECB-C89694F25B0F}"/>
          </ac:spMkLst>
        </pc:spChg>
        <pc:spChg chg="mod">
          <ac:chgData name="Ying Yang" userId="f1527f9b-a873-4aa2-b225-cf8fd3466e0d" providerId="ADAL" clId="{A11C78AC-DC75-447B-B78D-FA5B1F5D213F}" dt="2022-06-14T02:51:16.738" v="1193" actId="14100"/>
          <ac:spMkLst>
            <pc:docMk/>
            <pc:sldMk cId="1411220885" sldId="2145705747"/>
            <ac:spMk id="228" creationId="{99787189-7FE4-4B61-97AB-4ABEB9864CBB}"/>
          </ac:spMkLst>
        </pc:spChg>
        <pc:spChg chg="mod">
          <ac:chgData name="Ying Yang" userId="f1527f9b-a873-4aa2-b225-cf8fd3466e0d" providerId="ADAL" clId="{A11C78AC-DC75-447B-B78D-FA5B1F5D213F}" dt="2022-06-14T02:51:16.738" v="1193" actId="14100"/>
          <ac:spMkLst>
            <pc:docMk/>
            <pc:sldMk cId="1411220885" sldId="2145705747"/>
            <ac:spMk id="229" creationId="{9878576B-F129-4C72-90C6-7945B228CFE1}"/>
          </ac:spMkLst>
        </pc:spChg>
        <pc:spChg chg="mod">
          <ac:chgData name="Ying Yang" userId="f1527f9b-a873-4aa2-b225-cf8fd3466e0d" providerId="ADAL" clId="{A11C78AC-DC75-447B-B78D-FA5B1F5D213F}" dt="2022-06-14T02:51:16.738" v="1193" actId="14100"/>
          <ac:spMkLst>
            <pc:docMk/>
            <pc:sldMk cId="1411220885" sldId="2145705747"/>
            <ac:spMk id="230" creationId="{85168F8C-6DB4-4388-BB9A-2108E045F18E}"/>
          </ac:spMkLst>
        </pc:spChg>
        <pc:spChg chg="mod">
          <ac:chgData name="Ying Yang" userId="f1527f9b-a873-4aa2-b225-cf8fd3466e0d" providerId="ADAL" clId="{A11C78AC-DC75-447B-B78D-FA5B1F5D213F}" dt="2022-06-14T02:51:16.738" v="1193" actId="14100"/>
          <ac:spMkLst>
            <pc:docMk/>
            <pc:sldMk cId="1411220885" sldId="2145705747"/>
            <ac:spMk id="231" creationId="{BEF3F3FD-04A6-4AA0-8A07-53558306A85F}"/>
          </ac:spMkLst>
        </pc:spChg>
        <pc:spChg chg="mod">
          <ac:chgData name="Ying Yang" userId="f1527f9b-a873-4aa2-b225-cf8fd3466e0d" providerId="ADAL" clId="{A11C78AC-DC75-447B-B78D-FA5B1F5D213F}" dt="2022-06-14T02:51:16.738" v="1193" actId="14100"/>
          <ac:spMkLst>
            <pc:docMk/>
            <pc:sldMk cId="1411220885" sldId="2145705747"/>
            <ac:spMk id="234" creationId="{EB16F718-58FC-4F91-9A32-8E9FFE4E376D}"/>
          </ac:spMkLst>
        </pc:spChg>
        <pc:spChg chg="mod">
          <ac:chgData name="Ying Yang" userId="f1527f9b-a873-4aa2-b225-cf8fd3466e0d" providerId="ADAL" clId="{A11C78AC-DC75-447B-B78D-FA5B1F5D213F}" dt="2022-06-14T02:51:16.738" v="1193" actId="14100"/>
          <ac:spMkLst>
            <pc:docMk/>
            <pc:sldMk cId="1411220885" sldId="2145705747"/>
            <ac:spMk id="237" creationId="{147F8A9F-AFA5-4132-9576-20823B3F68F4}"/>
          </ac:spMkLst>
        </pc:spChg>
        <pc:spChg chg="mod">
          <ac:chgData name="Ying Yang" userId="f1527f9b-a873-4aa2-b225-cf8fd3466e0d" providerId="ADAL" clId="{A11C78AC-DC75-447B-B78D-FA5B1F5D213F}" dt="2022-06-14T02:51:16.738" v="1193" actId="14100"/>
          <ac:spMkLst>
            <pc:docMk/>
            <pc:sldMk cId="1411220885" sldId="2145705747"/>
            <ac:spMk id="238" creationId="{DCD422F6-D9B1-41DA-8CDA-11E23675353C}"/>
          </ac:spMkLst>
        </pc:spChg>
        <pc:spChg chg="mod">
          <ac:chgData name="Ying Yang" userId="f1527f9b-a873-4aa2-b225-cf8fd3466e0d" providerId="ADAL" clId="{A11C78AC-DC75-447B-B78D-FA5B1F5D213F}" dt="2022-06-14T02:51:16.738" v="1193" actId="14100"/>
          <ac:spMkLst>
            <pc:docMk/>
            <pc:sldMk cId="1411220885" sldId="2145705747"/>
            <ac:spMk id="239" creationId="{2C09D632-60B4-4107-BFB9-30C55AB3BDC6}"/>
          </ac:spMkLst>
        </pc:spChg>
        <pc:spChg chg="mod">
          <ac:chgData name="Ying Yang" userId="f1527f9b-a873-4aa2-b225-cf8fd3466e0d" providerId="ADAL" clId="{A11C78AC-DC75-447B-B78D-FA5B1F5D213F}" dt="2022-06-14T02:51:16.738" v="1193" actId="14100"/>
          <ac:spMkLst>
            <pc:docMk/>
            <pc:sldMk cId="1411220885" sldId="2145705747"/>
            <ac:spMk id="240" creationId="{51BCBE6C-D81E-4372-B89A-7EF9FDF81CBF}"/>
          </ac:spMkLst>
        </pc:spChg>
        <pc:spChg chg="mod">
          <ac:chgData name="Ying Yang" userId="f1527f9b-a873-4aa2-b225-cf8fd3466e0d" providerId="ADAL" clId="{A11C78AC-DC75-447B-B78D-FA5B1F5D213F}" dt="2022-06-14T02:51:16.738" v="1193" actId="14100"/>
          <ac:spMkLst>
            <pc:docMk/>
            <pc:sldMk cId="1411220885" sldId="2145705747"/>
            <ac:spMk id="241" creationId="{B904423B-6B4A-4C5F-8A03-F3F9D9364D6C}"/>
          </ac:spMkLst>
        </pc:spChg>
        <pc:spChg chg="mod">
          <ac:chgData name="Ying Yang" userId="f1527f9b-a873-4aa2-b225-cf8fd3466e0d" providerId="ADAL" clId="{A11C78AC-DC75-447B-B78D-FA5B1F5D213F}" dt="2022-06-14T02:51:16.738" v="1193" actId="14100"/>
          <ac:spMkLst>
            <pc:docMk/>
            <pc:sldMk cId="1411220885" sldId="2145705747"/>
            <ac:spMk id="242" creationId="{E30D6C4B-1967-4DEA-8074-5C2BA87EF766}"/>
          </ac:spMkLst>
        </pc:spChg>
        <pc:spChg chg="mod">
          <ac:chgData name="Ying Yang" userId="f1527f9b-a873-4aa2-b225-cf8fd3466e0d" providerId="ADAL" clId="{A11C78AC-DC75-447B-B78D-FA5B1F5D213F}" dt="2022-06-14T02:51:16.738" v="1193" actId="14100"/>
          <ac:spMkLst>
            <pc:docMk/>
            <pc:sldMk cId="1411220885" sldId="2145705747"/>
            <ac:spMk id="243" creationId="{AC26B6F2-1F5C-4168-9EF5-2D42B16FB3B6}"/>
          </ac:spMkLst>
        </pc:spChg>
        <pc:spChg chg="mod">
          <ac:chgData name="Ying Yang" userId="f1527f9b-a873-4aa2-b225-cf8fd3466e0d" providerId="ADAL" clId="{A11C78AC-DC75-447B-B78D-FA5B1F5D213F}" dt="2022-06-14T02:51:16.738" v="1193" actId="14100"/>
          <ac:spMkLst>
            <pc:docMk/>
            <pc:sldMk cId="1411220885" sldId="2145705747"/>
            <ac:spMk id="244" creationId="{FFAECAD2-EC26-4160-AAF2-5BE5FE8529EE}"/>
          </ac:spMkLst>
        </pc:spChg>
        <pc:spChg chg="mod">
          <ac:chgData name="Ying Yang" userId="f1527f9b-a873-4aa2-b225-cf8fd3466e0d" providerId="ADAL" clId="{A11C78AC-DC75-447B-B78D-FA5B1F5D213F}" dt="2022-06-14T02:51:16.738" v="1193" actId="14100"/>
          <ac:spMkLst>
            <pc:docMk/>
            <pc:sldMk cId="1411220885" sldId="2145705747"/>
            <ac:spMk id="247" creationId="{E3503F55-8BF4-45D8-9239-47296935505A}"/>
          </ac:spMkLst>
        </pc:spChg>
        <pc:spChg chg="mod">
          <ac:chgData name="Ying Yang" userId="f1527f9b-a873-4aa2-b225-cf8fd3466e0d" providerId="ADAL" clId="{A11C78AC-DC75-447B-B78D-FA5B1F5D213F}" dt="2022-06-14T02:51:16.738" v="1193" actId="14100"/>
          <ac:spMkLst>
            <pc:docMk/>
            <pc:sldMk cId="1411220885" sldId="2145705747"/>
            <ac:spMk id="248" creationId="{6D22D407-77E4-4B4B-8017-0A10E0F65EE7}"/>
          </ac:spMkLst>
        </pc:spChg>
        <pc:spChg chg="mod">
          <ac:chgData name="Ying Yang" userId="f1527f9b-a873-4aa2-b225-cf8fd3466e0d" providerId="ADAL" clId="{A11C78AC-DC75-447B-B78D-FA5B1F5D213F}" dt="2022-06-14T02:51:16.738" v="1193" actId="14100"/>
          <ac:spMkLst>
            <pc:docMk/>
            <pc:sldMk cId="1411220885" sldId="2145705747"/>
            <ac:spMk id="251" creationId="{048CB4BC-5965-401E-94C6-399E737D7045}"/>
          </ac:spMkLst>
        </pc:spChg>
        <pc:spChg chg="mod">
          <ac:chgData name="Ying Yang" userId="f1527f9b-a873-4aa2-b225-cf8fd3466e0d" providerId="ADAL" clId="{A11C78AC-DC75-447B-B78D-FA5B1F5D213F}" dt="2022-06-14T02:51:16.738" v="1193" actId="14100"/>
          <ac:spMkLst>
            <pc:docMk/>
            <pc:sldMk cId="1411220885" sldId="2145705747"/>
            <ac:spMk id="252" creationId="{BBA16678-4F26-49BF-86FD-8EAFE5EA8671}"/>
          </ac:spMkLst>
        </pc:spChg>
        <pc:spChg chg="mod">
          <ac:chgData name="Ying Yang" userId="f1527f9b-a873-4aa2-b225-cf8fd3466e0d" providerId="ADAL" clId="{A11C78AC-DC75-447B-B78D-FA5B1F5D213F}" dt="2022-06-14T02:51:16.738" v="1193" actId="14100"/>
          <ac:spMkLst>
            <pc:docMk/>
            <pc:sldMk cId="1411220885" sldId="2145705747"/>
            <ac:spMk id="253" creationId="{A1419E7D-7E22-4953-812C-543CDBB6F0B4}"/>
          </ac:spMkLst>
        </pc:spChg>
        <pc:spChg chg="mod">
          <ac:chgData name="Ying Yang" userId="f1527f9b-a873-4aa2-b225-cf8fd3466e0d" providerId="ADAL" clId="{A11C78AC-DC75-447B-B78D-FA5B1F5D213F}" dt="2022-06-14T02:51:16.738" v="1193" actId="14100"/>
          <ac:spMkLst>
            <pc:docMk/>
            <pc:sldMk cId="1411220885" sldId="2145705747"/>
            <ac:spMk id="254" creationId="{ABDE5755-5E3F-48F2-8FC0-50D340BCB430}"/>
          </ac:spMkLst>
        </pc:spChg>
        <pc:spChg chg="mod">
          <ac:chgData name="Ying Yang" userId="f1527f9b-a873-4aa2-b225-cf8fd3466e0d" providerId="ADAL" clId="{A11C78AC-DC75-447B-B78D-FA5B1F5D213F}" dt="2022-06-14T02:51:16.738" v="1193" actId="14100"/>
          <ac:spMkLst>
            <pc:docMk/>
            <pc:sldMk cId="1411220885" sldId="2145705747"/>
            <ac:spMk id="255" creationId="{B4FDE86E-63F3-41E4-A3FC-32A800C799FB}"/>
          </ac:spMkLst>
        </pc:spChg>
        <pc:spChg chg="mod">
          <ac:chgData name="Ying Yang" userId="f1527f9b-a873-4aa2-b225-cf8fd3466e0d" providerId="ADAL" clId="{A11C78AC-DC75-447B-B78D-FA5B1F5D213F}" dt="2022-06-14T02:51:16.738" v="1193" actId="14100"/>
          <ac:spMkLst>
            <pc:docMk/>
            <pc:sldMk cId="1411220885" sldId="2145705747"/>
            <ac:spMk id="256" creationId="{E7FFD7F0-FFCA-4E1B-A153-8076F3E4E718}"/>
          </ac:spMkLst>
        </pc:spChg>
        <pc:spChg chg="mod">
          <ac:chgData name="Ying Yang" userId="f1527f9b-a873-4aa2-b225-cf8fd3466e0d" providerId="ADAL" clId="{A11C78AC-DC75-447B-B78D-FA5B1F5D213F}" dt="2022-06-14T02:51:16.738" v="1193" actId="14100"/>
          <ac:spMkLst>
            <pc:docMk/>
            <pc:sldMk cId="1411220885" sldId="2145705747"/>
            <ac:spMk id="257" creationId="{9DF382B4-A845-45D0-AAAE-C518997B3F12}"/>
          </ac:spMkLst>
        </pc:spChg>
        <pc:spChg chg="mod">
          <ac:chgData name="Ying Yang" userId="f1527f9b-a873-4aa2-b225-cf8fd3466e0d" providerId="ADAL" clId="{A11C78AC-DC75-447B-B78D-FA5B1F5D213F}" dt="2022-06-14T02:51:16.738" v="1193" actId="14100"/>
          <ac:spMkLst>
            <pc:docMk/>
            <pc:sldMk cId="1411220885" sldId="2145705747"/>
            <ac:spMk id="258" creationId="{15C76905-D380-4D4D-BA03-AFA70ADC2854}"/>
          </ac:spMkLst>
        </pc:spChg>
        <pc:spChg chg="mod">
          <ac:chgData name="Ying Yang" userId="f1527f9b-a873-4aa2-b225-cf8fd3466e0d" providerId="ADAL" clId="{A11C78AC-DC75-447B-B78D-FA5B1F5D213F}" dt="2022-06-14T02:51:16.738" v="1193" actId="14100"/>
          <ac:spMkLst>
            <pc:docMk/>
            <pc:sldMk cId="1411220885" sldId="2145705747"/>
            <ac:spMk id="263" creationId="{45D4095E-1048-42BD-96B3-AAF4074B1B5F}"/>
          </ac:spMkLst>
        </pc:spChg>
        <pc:spChg chg="mod">
          <ac:chgData name="Ying Yang" userId="f1527f9b-a873-4aa2-b225-cf8fd3466e0d" providerId="ADAL" clId="{A11C78AC-DC75-447B-B78D-FA5B1F5D213F}" dt="2022-06-14T02:51:16.738" v="1193" actId="14100"/>
          <ac:spMkLst>
            <pc:docMk/>
            <pc:sldMk cId="1411220885" sldId="2145705747"/>
            <ac:spMk id="264" creationId="{1C6B06B7-30C1-412F-9BAF-94707E30CEC8}"/>
          </ac:spMkLst>
        </pc:spChg>
        <pc:spChg chg="mod">
          <ac:chgData name="Ying Yang" userId="f1527f9b-a873-4aa2-b225-cf8fd3466e0d" providerId="ADAL" clId="{A11C78AC-DC75-447B-B78D-FA5B1F5D213F}" dt="2022-06-14T02:51:19.191" v="1194" actId="14100"/>
          <ac:spMkLst>
            <pc:docMk/>
            <pc:sldMk cId="1411220885" sldId="2145705747"/>
            <ac:spMk id="265" creationId="{EC986AFB-52C8-46A5-BCAB-821D873FFFCF}"/>
          </ac:spMkLst>
        </pc:spChg>
        <pc:spChg chg="mod">
          <ac:chgData name="Ying Yang" userId="f1527f9b-a873-4aa2-b225-cf8fd3466e0d" providerId="ADAL" clId="{A11C78AC-DC75-447B-B78D-FA5B1F5D213F}" dt="2022-06-14T02:51:20.991" v="1195" actId="14100"/>
          <ac:spMkLst>
            <pc:docMk/>
            <pc:sldMk cId="1411220885" sldId="2145705747"/>
            <ac:spMk id="266" creationId="{DB7BFEF9-31E6-4E9C-B836-B837979F2DC0}"/>
          </ac:spMkLst>
        </pc:spChg>
        <pc:spChg chg="mod">
          <ac:chgData name="Ying Yang" userId="f1527f9b-a873-4aa2-b225-cf8fd3466e0d" providerId="ADAL" clId="{A11C78AC-DC75-447B-B78D-FA5B1F5D213F}" dt="2022-06-14T02:51:35.351" v="1199" actId="1076"/>
          <ac:spMkLst>
            <pc:docMk/>
            <pc:sldMk cId="1411220885" sldId="2145705747"/>
            <ac:spMk id="267" creationId="{55BAF9AA-74C8-4768-9B9C-643B89FCF793}"/>
          </ac:spMkLst>
        </pc:spChg>
        <pc:spChg chg="mod">
          <ac:chgData name="Ying Yang" userId="f1527f9b-a873-4aa2-b225-cf8fd3466e0d" providerId="ADAL" clId="{A11C78AC-DC75-447B-B78D-FA5B1F5D213F}" dt="2022-06-14T02:51:38.134" v="1200" actId="1076"/>
          <ac:spMkLst>
            <pc:docMk/>
            <pc:sldMk cId="1411220885" sldId="2145705747"/>
            <ac:spMk id="268" creationId="{7F819196-30FD-4485-8A8B-5BBA52C27236}"/>
          </ac:spMkLst>
        </pc:spChg>
        <pc:spChg chg="mod">
          <ac:chgData name="Ying Yang" userId="f1527f9b-a873-4aa2-b225-cf8fd3466e0d" providerId="ADAL" clId="{A11C78AC-DC75-447B-B78D-FA5B1F5D213F}" dt="2022-06-14T02:51:31.334" v="1198" actId="1076"/>
          <ac:spMkLst>
            <pc:docMk/>
            <pc:sldMk cId="1411220885" sldId="2145705747"/>
            <ac:spMk id="269" creationId="{C1EBABDD-1076-4C0D-A178-96D313DA5277}"/>
          </ac:spMkLst>
        </pc:spChg>
        <pc:spChg chg="mod">
          <ac:chgData name="Ying Yang" userId="f1527f9b-a873-4aa2-b225-cf8fd3466e0d" providerId="ADAL" clId="{A11C78AC-DC75-447B-B78D-FA5B1F5D213F}" dt="2022-06-14T02:51:45.245" v="1201" actId="1076"/>
          <ac:spMkLst>
            <pc:docMk/>
            <pc:sldMk cId="1411220885" sldId="2145705747"/>
            <ac:spMk id="270" creationId="{2ECAD92A-B3E2-40C2-97D6-E6012A52D246}"/>
          </ac:spMkLst>
        </pc:spChg>
        <pc:spChg chg="add mod">
          <ac:chgData name="Ying Yang" userId="f1527f9b-a873-4aa2-b225-cf8fd3466e0d" providerId="ADAL" clId="{A11C78AC-DC75-447B-B78D-FA5B1F5D213F}" dt="2022-06-14T02:52:24.909" v="1209" actId="108"/>
          <ac:spMkLst>
            <pc:docMk/>
            <pc:sldMk cId="1411220885" sldId="2145705747"/>
            <ac:spMk id="271" creationId="{BFAFB770-96A3-41E0-9FDF-57741607D61A}"/>
          </ac:spMkLst>
        </pc:spChg>
        <pc:grpChg chg="add mod">
          <ac:chgData name="Ying Yang" userId="f1527f9b-a873-4aa2-b225-cf8fd3466e0d" providerId="ADAL" clId="{A11C78AC-DC75-447B-B78D-FA5B1F5D213F}" dt="2022-06-14T02:48:07.065" v="1140" actId="1035"/>
          <ac:grpSpMkLst>
            <pc:docMk/>
            <pc:sldMk cId="1411220885" sldId="2145705747"/>
            <ac:grpSpMk id="3" creationId="{4199B95D-C4F5-41AB-BF1E-4E420C564CAD}"/>
          </ac:grpSpMkLst>
        </pc:grpChg>
        <pc:grpChg chg="add mod">
          <ac:chgData name="Ying Yang" userId="f1527f9b-a873-4aa2-b225-cf8fd3466e0d" providerId="ADAL" clId="{A11C78AC-DC75-447B-B78D-FA5B1F5D213F}" dt="2022-06-14T02:48:07.065" v="1140" actId="1035"/>
          <ac:grpSpMkLst>
            <pc:docMk/>
            <pc:sldMk cId="1411220885" sldId="2145705747"/>
            <ac:grpSpMk id="4" creationId="{B6A88257-F06C-42F0-B71D-5083D2E4363A}"/>
          </ac:grpSpMkLst>
        </pc:grpChg>
        <pc:grpChg chg="add del mod">
          <ac:chgData name="Ying Yang" userId="f1527f9b-a873-4aa2-b225-cf8fd3466e0d" providerId="ADAL" clId="{A11C78AC-DC75-447B-B78D-FA5B1F5D213F}" dt="2022-06-14T02:48:07.065" v="1140" actId="1035"/>
          <ac:grpSpMkLst>
            <pc:docMk/>
            <pc:sldMk cId="1411220885" sldId="2145705747"/>
            <ac:grpSpMk id="5" creationId="{A81FFFEE-E3B7-495E-A895-7F74EA038F8C}"/>
          </ac:grpSpMkLst>
        </pc:grpChg>
        <pc:grpChg chg="mod">
          <ac:chgData name="Ying Yang" userId="f1527f9b-a873-4aa2-b225-cf8fd3466e0d" providerId="ADAL" clId="{A11C78AC-DC75-447B-B78D-FA5B1F5D213F}" dt="2022-06-14T02:43:54.296" v="988" actId="164"/>
          <ac:grpSpMkLst>
            <pc:docMk/>
            <pc:sldMk cId="1411220885" sldId="2145705747"/>
            <ac:grpSpMk id="12" creationId="{9DD93AB4-E486-4C7A-BD5D-1893AE30B25D}"/>
          </ac:grpSpMkLst>
        </pc:grpChg>
        <pc:grpChg chg="mod">
          <ac:chgData name="Ying Yang" userId="f1527f9b-a873-4aa2-b225-cf8fd3466e0d" providerId="ADAL" clId="{A11C78AC-DC75-447B-B78D-FA5B1F5D213F}" dt="2022-06-14T02:47:14.329" v="1112" actId="1035"/>
          <ac:grpSpMkLst>
            <pc:docMk/>
            <pc:sldMk cId="1411220885" sldId="2145705747"/>
            <ac:grpSpMk id="22" creationId="{C1706697-BE78-4F66-AA05-B3269B4024A1}"/>
          </ac:grpSpMkLst>
        </pc:grpChg>
        <pc:grpChg chg="mod">
          <ac:chgData name="Ying Yang" userId="f1527f9b-a873-4aa2-b225-cf8fd3466e0d" providerId="ADAL" clId="{A11C78AC-DC75-447B-B78D-FA5B1F5D213F}" dt="2022-06-14T02:48:07.065" v="1140" actId="1035"/>
          <ac:grpSpMkLst>
            <pc:docMk/>
            <pc:sldMk cId="1411220885" sldId="2145705747"/>
            <ac:grpSpMk id="23" creationId="{BFCEAB18-ACBE-429D-9870-D119FDA1E54B}"/>
          </ac:grpSpMkLst>
        </pc:grpChg>
        <pc:grpChg chg="mod">
          <ac:chgData name="Ying Yang" userId="f1527f9b-a873-4aa2-b225-cf8fd3466e0d" providerId="ADAL" clId="{A11C78AC-DC75-447B-B78D-FA5B1F5D213F}" dt="2022-06-14T02:42:26.476" v="938" actId="164"/>
          <ac:grpSpMkLst>
            <pc:docMk/>
            <pc:sldMk cId="1411220885" sldId="2145705747"/>
            <ac:grpSpMk id="29" creationId="{EFDA74A9-1318-4C32-81AD-1EEEBBB8F4EC}"/>
          </ac:grpSpMkLst>
        </pc:grpChg>
        <pc:grpChg chg="mod">
          <ac:chgData name="Ying Yang" userId="f1527f9b-a873-4aa2-b225-cf8fd3466e0d" providerId="ADAL" clId="{A11C78AC-DC75-447B-B78D-FA5B1F5D213F}" dt="2022-06-14T02:41:52.532" v="928" actId="164"/>
          <ac:grpSpMkLst>
            <pc:docMk/>
            <pc:sldMk cId="1411220885" sldId="2145705747"/>
            <ac:grpSpMk id="64" creationId="{64D0D190-560B-4F74-9336-884552D946DE}"/>
          </ac:grpSpMkLst>
        </pc:grpChg>
        <pc:grpChg chg="mod">
          <ac:chgData name="Ying Yang" userId="f1527f9b-a873-4aa2-b225-cf8fd3466e0d" providerId="ADAL" clId="{A11C78AC-DC75-447B-B78D-FA5B1F5D213F}" dt="2022-06-14T02:41:52.532" v="928" actId="164"/>
          <ac:grpSpMkLst>
            <pc:docMk/>
            <pc:sldMk cId="1411220885" sldId="2145705747"/>
            <ac:grpSpMk id="94" creationId="{77D8A3B9-45DE-433D-9328-E08C2CD69A98}"/>
          </ac:grpSpMkLst>
        </pc:grpChg>
        <pc:grpChg chg="mod">
          <ac:chgData name="Ying Yang" userId="f1527f9b-a873-4aa2-b225-cf8fd3466e0d" providerId="ADAL" clId="{A11C78AC-DC75-447B-B78D-FA5B1F5D213F}" dt="2022-06-14T02:42:26.476" v="938" actId="164"/>
          <ac:grpSpMkLst>
            <pc:docMk/>
            <pc:sldMk cId="1411220885" sldId="2145705747"/>
            <ac:grpSpMk id="126" creationId="{E26653E1-E8F3-44C0-8E2C-52468C1C65FA}"/>
          </ac:grpSpMkLst>
        </pc:grpChg>
        <pc:grpChg chg="add del mod">
          <ac:chgData name="Ying Yang" userId="f1527f9b-a873-4aa2-b225-cf8fd3466e0d" providerId="ADAL" clId="{A11C78AC-DC75-447B-B78D-FA5B1F5D213F}" dt="2022-06-14T02:47:05.774" v="1098"/>
          <ac:grpSpMkLst>
            <pc:docMk/>
            <pc:sldMk cId="1411220885" sldId="2145705747"/>
            <ac:grpSpMk id="131" creationId="{24A731BE-BFB8-48AE-A702-BB7E9A7737F4}"/>
          </ac:grpSpMkLst>
        </pc:grpChg>
        <pc:grpChg chg="mod">
          <ac:chgData name="Ying Yang" userId="f1527f9b-a873-4aa2-b225-cf8fd3466e0d" providerId="ADAL" clId="{A11C78AC-DC75-447B-B78D-FA5B1F5D213F}" dt="2022-06-14T02:46:24.300" v="1093"/>
          <ac:grpSpMkLst>
            <pc:docMk/>
            <pc:sldMk cId="1411220885" sldId="2145705747"/>
            <ac:grpSpMk id="132" creationId="{B332C5B9-EEEC-41AF-9231-36048F07425A}"/>
          </ac:grpSpMkLst>
        </pc:grpChg>
        <pc:grpChg chg="mod">
          <ac:chgData name="Ying Yang" userId="f1527f9b-a873-4aa2-b225-cf8fd3466e0d" providerId="ADAL" clId="{A11C78AC-DC75-447B-B78D-FA5B1F5D213F}" dt="2022-06-14T02:46:24.300" v="1093"/>
          <ac:grpSpMkLst>
            <pc:docMk/>
            <pc:sldMk cId="1411220885" sldId="2145705747"/>
            <ac:grpSpMk id="134" creationId="{F877DDFB-297A-4636-8FE4-1447137112BE}"/>
          </ac:grpSpMkLst>
        </pc:grpChg>
        <pc:grpChg chg="mod">
          <ac:chgData name="Ying Yang" userId="f1527f9b-a873-4aa2-b225-cf8fd3466e0d" providerId="ADAL" clId="{A11C78AC-DC75-447B-B78D-FA5B1F5D213F}" dt="2022-06-14T02:46:24.300" v="1093"/>
          <ac:grpSpMkLst>
            <pc:docMk/>
            <pc:sldMk cId="1411220885" sldId="2145705747"/>
            <ac:grpSpMk id="137" creationId="{76682824-52F6-42F2-BF10-FC973EDBC44D}"/>
          </ac:grpSpMkLst>
        </pc:grpChg>
        <pc:grpChg chg="mod">
          <ac:chgData name="Ying Yang" userId="f1527f9b-a873-4aa2-b225-cf8fd3466e0d" providerId="ADAL" clId="{A11C78AC-DC75-447B-B78D-FA5B1F5D213F}" dt="2022-06-14T02:46:24.300" v="1093"/>
          <ac:grpSpMkLst>
            <pc:docMk/>
            <pc:sldMk cId="1411220885" sldId="2145705747"/>
            <ac:grpSpMk id="139" creationId="{B9645084-E2A2-46E8-B723-57277CFF6B66}"/>
          </ac:grpSpMkLst>
        </pc:grpChg>
        <pc:grpChg chg="mod">
          <ac:chgData name="Ying Yang" userId="f1527f9b-a873-4aa2-b225-cf8fd3466e0d" providerId="ADAL" clId="{A11C78AC-DC75-447B-B78D-FA5B1F5D213F}" dt="2022-06-14T02:46:24.300" v="1093"/>
          <ac:grpSpMkLst>
            <pc:docMk/>
            <pc:sldMk cId="1411220885" sldId="2145705747"/>
            <ac:grpSpMk id="150" creationId="{0A49CD44-ECF4-4594-9BC4-EF016641465F}"/>
          </ac:grpSpMkLst>
        </pc:grpChg>
        <pc:grpChg chg="mod">
          <ac:chgData name="Ying Yang" userId="f1527f9b-a873-4aa2-b225-cf8fd3466e0d" providerId="ADAL" clId="{A11C78AC-DC75-447B-B78D-FA5B1F5D213F}" dt="2022-06-14T02:46:24.300" v="1093"/>
          <ac:grpSpMkLst>
            <pc:docMk/>
            <pc:sldMk cId="1411220885" sldId="2145705747"/>
            <ac:grpSpMk id="154" creationId="{AF8A2259-901F-41C3-94C4-FBAFF5A2851E}"/>
          </ac:grpSpMkLst>
        </pc:grpChg>
        <pc:grpChg chg="mod">
          <ac:chgData name="Ying Yang" userId="f1527f9b-a873-4aa2-b225-cf8fd3466e0d" providerId="ADAL" clId="{A11C78AC-DC75-447B-B78D-FA5B1F5D213F}" dt="2022-06-14T02:46:24.300" v="1093"/>
          <ac:grpSpMkLst>
            <pc:docMk/>
            <pc:sldMk cId="1411220885" sldId="2145705747"/>
            <ac:grpSpMk id="163" creationId="{FD5C83E4-1E97-40FC-9F3E-3AED8B6F8102}"/>
          </ac:grpSpMkLst>
        </pc:grpChg>
        <pc:grpChg chg="mod">
          <ac:chgData name="Ying Yang" userId="f1527f9b-a873-4aa2-b225-cf8fd3466e0d" providerId="ADAL" clId="{A11C78AC-DC75-447B-B78D-FA5B1F5D213F}" dt="2022-06-14T02:46:24.300" v="1093"/>
          <ac:grpSpMkLst>
            <pc:docMk/>
            <pc:sldMk cId="1411220885" sldId="2145705747"/>
            <ac:grpSpMk id="164" creationId="{3058D407-E71E-449C-B9DB-C7F988FD6EE6}"/>
          </ac:grpSpMkLst>
        </pc:grpChg>
        <pc:grpChg chg="mod">
          <ac:chgData name="Ying Yang" userId="f1527f9b-a873-4aa2-b225-cf8fd3466e0d" providerId="ADAL" clId="{A11C78AC-DC75-447B-B78D-FA5B1F5D213F}" dt="2022-06-14T02:46:24.300" v="1093"/>
          <ac:grpSpMkLst>
            <pc:docMk/>
            <pc:sldMk cId="1411220885" sldId="2145705747"/>
            <ac:grpSpMk id="165" creationId="{1DA5ADA3-1180-4660-BD72-58CB457D09B1}"/>
          </ac:grpSpMkLst>
        </pc:grpChg>
        <pc:grpChg chg="mod">
          <ac:chgData name="Ying Yang" userId="f1527f9b-a873-4aa2-b225-cf8fd3466e0d" providerId="ADAL" clId="{A11C78AC-DC75-447B-B78D-FA5B1F5D213F}" dt="2022-06-14T02:43:54.296" v="988" actId="164"/>
          <ac:grpSpMkLst>
            <pc:docMk/>
            <pc:sldMk cId="1411220885" sldId="2145705747"/>
            <ac:grpSpMk id="183" creationId="{5AD0BB73-1D20-40DA-85BE-D1B01B4D8783}"/>
          </ac:grpSpMkLst>
        </pc:grpChg>
        <pc:grpChg chg="add del mod">
          <ac:chgData name="Ying Yang" userId="f1527f9b-a873-4aa2-b225-cf8fd3466e0d" providerId="ADAL" clId="{A11C78AC-DC75-447B-B78D-FA5B1F5D213F}" dt="2022-06-14T02:47:05.355" v="1097"/>
          <ac:grpSpMkLst>
            <pc:docMk/>
            <pc:sldMk cId="1411220885" sldId="2145705747"/>
            <ac:grpSpMk id="213" creationId="{E7617BC6-480A-43FB-BECB-1E6EC6B4FBCA}"/>
          </ac:grpSpMkLst>
        </pc:grpChg>
        <pc:grpChg chg="add mod">
          <ac:chgData name="Ying Yang" userId="f1527f9b-a873-4aa2-b225-cf8fd3466e0d" providerId="ADAL" clId="{A11C78AC-DC75-447B-B78D-FA5B1F5D213F}" dt="2022-06-14T02:51:16.738" v="1193" actId="14100"/>
          <ac:grpSpMkLst>
            <pc:docMk/>
            <pc:sldMk cId="1411220885" sldId="2145705747"/>
            <ac:grpSpMk id="216" creationId="{4B665014-8935-4686-B682-F1DE72430536}"/>
          </ac:grpSpMkLst>
        </pc:grpChg>
        <pc:grpChg chg="mod">
          <ac:chgData name="Ying Yang" userId="f1527f9b-a873-4aa2-b225-cf8fd3466e0d" providerId="ADAL" clId="{A11C78AC-DC75-447B-B78D-FA5B1F5D213F}" dt="2022-06-14T02:51:16.738" v="1193" actId="14100"/>
          <ac:grpSpMkLst>
            <pc:docMk/>
            <pc:sldMk cId="1411220885" sldId="2145705747"/>
            <ac:grpSpMk id="218" creationId="{D6D341D1-E41A-435A-95D5-70F13932D140}"/>
          </ac:grpSpMkLst>
        </pc:grpChg>
        <pc:grpChg chg="mod">
          <ac:chgData name="Ying Yang" userId="f1527f9b-a873-4aa2-b225-cf8fd3466e0d" providerId="ADAL" clId="{A11C78AC-DC75-447B-B78D-FA5B1F5D213F}" dt="2022-06-14T02:51:16.738" v="1193" actId="14100"/>
          <ac:grpSpMkLst>
            <pc:docMk/>
            <pc:sldMk cId="1411220885" sldId="2145705747"/>
            <ac:grpSpMk id="219" creationId="{243E4BDD-0EB1-485B-85EC-4229704E6222}"/>
          </ac:grpSpMkLst>
        </pc:grpChg>
        <pc:grpChg chg="mod">
          <ac:chgData name="Ying Yang" userId="f1527f9b-a873-4aa2-b225-cf8fd3466e0d" providerId="ADAL" clId="{A11C78AC-DC75-447B-B78D-FA5B1F5D213F}" dt="2022-06-14T02:51:16.738" v="1193" actId="14100"/>
          <ac:grpSpMkLst>
            <pc:docMk/>
            <pc:sldMk cId="1411220885" sldId="2145705747"/>
            <ac:grpSpMk id="223" creationId="{A26CFD2E-FB65-4E3F-BFDD-7DD7B0E81B30}"/>
          </ac:grpSpMkLst>
        </pc:grpChg>
        <pc:grpChg chg="mod">
          <ac:chgData name="Ying Yang" userId="f1527f9b-a873-4aa2-b225-cf8fd3466e0d" providerId="ADAL" clId="{A11C78AC-DC75-447B-B78D-FA5B1F5D213F}" dt="2022-06-14T02:51:16.738" v="1193" actId="14100"/>
          <ac:grpSpMkLst>
            <pc:docMk/>
            <pc:sldMk cId="1411220885" sldId="2145705747"/>
            <ac:grpSpMk id="224" creationId="{D2DE19DE-81A6-456A-ACFA-EB5BAF3096AC}"/>
          </ac:grpSpMkLst>
        </pc:grpChg>
        <pc:grpChg chg="mod">
          <ac:chgData name="Ying Yang" userId="f1527f9b-a873-4aa2-b225-cf8fd3466e0d" providerId="ADAL" clId="{A11C78AC-DC75-447B-B78D-FA5B1F5D213F}" dt="2022-06-14T02:51:16.738" v="1193" actId="14100"/>
          <ac:grpSpMkLst>
            <pc:docMk/>
            <pc:sldMk cId="1411220885" sldId="2145705747"/>
            <ac:grpSpMk id="226" creationId="{52DFE9AE-5336-4C07-9CD3-7ED4E1BB9519}"/>
          </ac:grpSpMkLst>
        </pc:grpChg>
        <pc:grpChg chg="mod">
          <ac:chgData name="Ying Yang" userId="f1527f9b-a873-4aa2-b225-cf8fd3466e0d" providerId="ADAL" clId="{A11C78AC-DC75-447B-B78D-FA5B1F5D213F}" dt="2022-06-14T02:51:16.738" v="1193" actId="14100"/>
          <ac:grpSpMkLst>
            <pc:docMk/>
            <pc:sldMk cId="1411220885" sldId="2145705747"/>
            <ac:grpSpMk id="232" creationId="{7387AC15-5A24-4A6A-9877-8B4235AFE536}"/>
          </ac:grpSpMkLst>
        </pc:grpChg>
        <pc:grpChg chg="mod">
          <ac:chgData name="Ying Yang" userId="f1527f9b-a873-4aa2-b225-cf8fd3466e0d" providerId="ADAL" clId="{A11C78AC-DC75-447B-B78D-FA5B1F5D213F}" dt="2022-06-14T02:51:16.738" v="1193" actId="14100"/>
          <ac:grpSpMkLst>
            <pc:docMk/>
            <pc:sldMk cId="1411220885" sldId="2145705747"/>
            <ac:grpSpMk id="233" creationId="{22CF25C2-8A3C-4DC3-A6F0-C628D1FDEA18}"/>
          </ac:grpSpMkLst>
        </pc:grpChg>
        <pc:grpChg chg="mod">
          <ac:chgData name="Ying Yang" userId="f1527f9b-a873-4aa2-b225-cf8fd3466e0d" providerId="ADAL" clId="{A11C78AC-DC75-447B-B78D-FA5B1F5D213F}" dt="2022-06-14T02:51:16.738" v="1193" actId="14100"/>
          <ac:grpSpMkLst>
            <pc:docMk/>
            <pc:sldMk cId="1411220885" sldId="2145705747"/>
            <ac:grpSpMk id="235" creationId="{19BA7C25-3AFB-447F-B3DA-AAD4C41D4047}"/>
          </ac:grpSpMkLst>
        </pc:grpChg>
        <pc:grpChg chg="mod">
          <ac:chgData name="Ying Yang" userId="f1527f9b-a873-4aa2-b225-cf8fd3466e0d" providerId="ADAL" clId="{A11C78AC-DC75-447B-B78D-FA5B1F5D213F}" dt="2022-06-14T02:51:16.738" v="1193" actId="14100"/>
          <ac:grpSpMkLst>
            <pc:docMk/>
            <pc:sldMk cId="1411220885" sldId="2145705747"/>
            <ac:grpSpMk id="236" creationId="{4F187894-6683-4826-85C8-DEE8264D08CB}"/>
          </ac:grpSpMkLst>
        </pc:grpChg>
        <pc:grpChg chg="mod">
          <ac:chgData name="Ying Yang" userId="f1527f9b-a873-4aa2-b225-cf8fd3466e0d" providerId="ADAL" clId="{A11C78AC-DC75-447B-B78D-FA5B1F5D213F}" dt="2022-06-14T02:51:16.738" v="1193" actId="14100"/>
          <ac:grpSpMkLst>
            <pc:docMk/>
            <pc:sldMk cId="1411220885" sldId="2145705747"/>
            <ac:grpSpMk id="245" creationId="{455276A8-678C-45DD-8670-EF47FA78706A}"/>
          </ac:grpSpMkLst>
        </pc:grpChg>
        <pc:grpChg chg="mod">
          <ac:chgData name="Ying Yang" userId="f1527f9b-a873-4aa2-b225-cf8fd3466e0d" providerId="ADAL" clId="{A11C78AC-DC75-447B-B78D-FA5B1F5D213F}" dt="2022-06-14T02:51:16.738" v="1193" actId="14100"/>
          <ac:grpSpMkLst>
            <pc:docMk/>
            <pc:sldMk cId="1411220885" sldId="2145705747"/>
            <ac:grpSpMk id="246" creationId="{02FA04D2-F17B-42BC-B2AC-DB3BB0998353}"/>
          </ac:grpSpMkLst>
        </pc:grpChg>
        <pc:grpChg chg="mod">
          <ac:chgData name="Ying Yang" userId="f1527f9b-a873-4aa2-b225-cf8fd3466e0d" providerId="ADAL" clId="{A11C78AC-DC75-447B-B78D-FA5B1F5D213F}" dt="2022-06-14T02:51:16.738" v="1193" actId="14100"/>
          <ac:grpSpMkLst>
            <pc:docMk/>
            <pc:sldMk cId="1411220885" sldId="2145705747"/>
            <ac:grpSpMk id="249" creationId="{75CD95D5-934D-4E0A-B8F1-2424C0E7D17A}"/>
          </ac:grpSpMkLst>
        </pc:grpChg>
        <pc:grpChg chg="mod">
          <ac:chgData name="Ying Yang" userId="f1527f9b-a873-4aa2-b225-cf8fd3466e0d" providerId="ADAL" clId="{A11C78AC-DC75-447B-B78D-FA5B1F5D213F}" dt="2022-06-14T02:51:16.738" v="1193" actId="14100"/>
          <ac:grpSpMkLst>
            <pc:docMk/>
            <pc:sldMk cId="1411220885" sldId="2145705747"/>
            <ac:grpSpMk id="250" creationId="{7441E3D0-885E-4356-8752-F920919904BC}"/>
          </ac:grpSpMkLst>
        </pc:grpChg>
        <pc:picChg chg="mod">
          <ac:chgData name="Ying Yang" userId="f1527f9b-a873-4aa2-b225-cf8fd3466e0d" providerId="ADAL" clId="{A11C78AC-DC75-447B-B78D-FA5B1F5D213F}" dt="2022-06-14T02:46:44.827" v="1094"/>
          <ac:picMkLst>
            <pc:docMk/>
            <pc:sldMk cId="1411220885" sldId="2145705747"/>
            <ac:picMk id="215" creationId="{76267D0C-9009-4FFE-B840-31744444E5FA}"/>
          </ac:picMkLst>
        </pc:picChg>
        <pc:picChg chg="mod">
          <ac:chgData name="Ying Yang" userId="f1527f9b-a873-4aa2-b225-cf8fd3466e0d" providerId="ADAL" clId="{A11C78AC-DC75-447B-B78D-FA5B1F5D213F}" dt="2022-06-14T02:51:16.738" v="1193" actId="14100"/>
          <ac:picMkLst>
            <pc:docMk/>
            <pc:sldMk cId="1411220885" sldId="2145705747"/>
            <ac:picMk id="259" creationId="{C12D88C2-3F45-46C1-9405-35D28A4CD093}"/>
          </ac:picMkLst>
        </pc:picChg>
        <pc:picChg chg="mod">
          <ac:chgData name="Ying Yang" userId="f1527f9b-a873-4aa2-b225-cf8fd3466e0d" providerId="ADAL" clId="{A11C78AC-DC75-447B-B78D-FA5B1F5D213F}" dt="2022-06-14T02:51:16.738" v="1193" actId="14100"/>
          <ac:picMkLst>
            <pc:docMk/>
            <pc:sldMk cId="1411220885" sldId="2145705747"/>
            <ac:picMk id="260" creationId="{67F2ED8B-0861-4523-AE9C-D1E9D39D4203}"/>
          </ac:picMkLst>
        </pc:picChg>
        <pc:picChg chg="mod">
          <ac:chgData name="Ying Yang" userId="f1527f9b-a873-4aa2-b225-cf8fd3466e0d" providerId="ADAL" clId="{A11C78AC-DC75-447B-B78D-FA5B1F5D213F}" dt="2022-06-14T02:51:16.738" v="1193" actId="14100"/>
          <ac:picMkLst>
            <pc:docMk/>
            <pc:sldMk cId="1411220885" sldId="2145705747"/>
            <ac:picMk id="261" creationId="{2D774955-7771-4A9A-9EC3-B4D56A7423B8}"/>
          </ac:picMkLst>
        </pc:picChg>
        <pc:picChg chg="mod">
          <ac:chgData name="Ying Yang" userId="f1527f9b-a873-4aa2-b225-cf8fd3466e0d" providerId="ADAL" clId="{A11C78AC-DC75-447B-B78D-FA5B1F5D213F}" dt="2022-06-14T02:51:16.738" v="1193" actId="14100"/>
          <ac:picMkLst>
            <pc:docMk/>
            <pc:sldMk cId="1411220885" sldId="2145705747"/>
            <ac:picMk id="262" creationId="{6D39A237-9273-49DE-B681-0DBFECD06B31}"/>
          </ac:picMkLst>
        </pc:picChg>
        <pc:cxnChg chg="mod">
          <ac:chgData name="Ying Yang" userId="f1527f9b-a873-4aa2-b225-cf8fd3466e0d" providerId="ADAL" clId="{A11C78AC-DC75-447B-B78D-FA5B1F5D213F}" dt="2022-06-14T02:46:24.300" v="1093"/>
          <ac:cxnSpMkLst>
            <pc:docMk/>
            <pc:sldMk cId="1411220885" sldId="2145705747"/>
            <ac:cxnSpMk id="199" creationId="{8C450FDE-541A-482B-AB77-297BE66CCF0B}"/>
          </ac:cxnSpMkLst>
        </pc:cxnChg>
        <pc:cxnChg chg="mod">
          <ac:chgData name="Ying Yang" userId="f1527f9b-a873-4aa2-b225-cf8fd3466e0d" providerId="ADAL" clId="{A11C78AC-DC75-447B-B78D-FA5B1F5D213F}" dt="2022-06-14T02:46:24.300" v="1093"/>
          <ac:cxnSpMkLst>
            <pc:docMk/>
            <pc:sldMk cId="1411220885" sldId="2145705747"/>
            <ac:cxnSpMk id="200" creationId="{A779D897-8A0A-47F8-B980-AFAAD8530211}"/>
          </ac:cxnSpMkLst>
        </pc:cxnChg>
        <pc:cxnChg chg="mod">
          <ac:chgData name="Ying Yang" userId="f1527f9b-a873-4aa2-b225-cf8fd3466e0d" providerId="ADAL" clId="{A11C78AC-DC75-447B-B78D-FA5B1F5D213F}" dt="2022-06-14T02:46:24.300" v="1093"/>
          <ac:cxnSpMkLst>
            <pc:docMk/>
            <pc:sldMk cId="1411220885" sldId="2145705747"/>
            <ac:cxnSpMk id="201" creationId="{7D68DAA5-2309-49A2-B808-D3F2757CF94D}"/>
          </ac:cxnSpMkLst>
        </pc:cxnChg>
        <pc:cxnChg chg="mod">
          <ac:chgData name="Ying Yang" userId="f1527f9b-a873-4aa2-b225-cf8fd3466e0d" providerId="ADAL" clId="{A11C78AC-DC75-447B-B78D-FA5B1F5D213F}" dt="2022-06-14T02:46:24.300" v="1093"/>
          <ac:cxnSpMkLst>
            <pc:docMk/>
            <pc:sldMk cId="1411220885" sldId="2145705747"/>
            <ac:cxnSpMk id="202" creationId="{69A7C8DC-B261-49C4-9FC3-B0E41F1329C7}"/>
          </ac:cxnSpMkLst>
        </pc:cxnChg>
        <pc:cxnChg chg="mod">
          <ac:chgData name="Ying Yang" userId="f1527f9b-a873-4aa2-b225-cf8fd3466e0d" providerId="ADAL" clId="{A11C78AC-DC75-447B-B78D-FA5B1F5D213F}" dt="2022-06-14T02:46:24.300" v="1093"/>
          <ac:cxnSpMkLst>
            <pc:docMk/>
            <pc:sldMk cId="1411220885" sldId="2145705747"/>
            <ac:cxnSpMk id="203" creationId="{90B2E438-4729-4003-B143-C60109CFF72B}"/>
          </ac:cxnSpMkLst>
        </pc:cxnChg>
        <pc:cxnChg chg="mod">
          <ac:chgData name="Ying Yang" userId="f1527f9b-a873-4aa2-b225-cf8fd3466e0d" providerId="ADAL" clId="{A11C78AC-DC75-447B-B78D-FA5B1F5D213F}" dt="2022-06-14T02:46:24.300" v="1093"/>
          <ac:cxnSpMkLst>
            <pc:docMk/>
            <pc:sldMk cId="1411220885" sldId="2145705747"/>
            <ac:cxnSpMk id="204" creationId="{BF3C9B47-7FB6-43BB-A120-0D67BDDF834F}"/>
          </ac:cxnSpMkLst>
        </pc:cxnChg>
      </pc:sldChg>
      <pc:sldChg chg="modSp mod ord">
        <pc:chgData name="Ying Yang" userId="f1527f9b-a873-4aa2-b225-cf8fd3466e0d" providerId="ADAL" clId="{A11C78AC-DC75-447B-B78D-FA5B1F5D213F}" dt="2022-06-14T02:56:24.349" v="1230" actId="207"/>
        <pc:sldMkLst>
          <pc:docMk/>
          <pc:sldMk cId="696217983" sldId="2145705749"/>
        </pc:sldMkLst>
        <pc:spChg chg="mod">
          <ac:chgData name="Ying Yang" userId="f1527f9b-a873-4aa2-b225-cf8fd3466e0d" providerId="ADAL" clId="{A11C78AC-DC75-447B-B78D-FA5B1F5D213F}" dt="2022-06-14T02:52:37.065" v="1211" actId="20577"/>
          <ac:spMkLst>
            <pc:docMk/>
            <pc:sldMk cId="696217983" sldId="2145705749"/>
            <ac:spMk id="95" creationId="{37670C23-DE49-4A65-AA7D-B176C885C738}"/>
          </ac:spMkLst>
        </pc:spChg>
        <pc:spChg chg="mod">
          <ac:chgData name="Ying Yang" userId="f1527f9b-a873-4aa2-b225-cf8fd3466e0d" providerId="ADAL" clId="{A11C78AC-DC75-447B-B78D-FA5B1F5D213F}" dt="2022-06-14T02:56:19.313" v="1228" actId="207"/>
          <ac:spMkLst>
            <pc:docMk/>
            <pc:sldMk cId="696217983" sldId="2145705749"/>
            <ac:spMk id="295" creationId="{3E1E3054-6DF4-498B-8121-1AD3544FDC62}"/>
          </ac:spMkLst>
        </pc:spChg>
        <pc:spChg chg="mod">
          <ac:chgData name="Ying Yang" userId="f1527f9b-a873-4aa2-b225-cf8fd3466e0d" providerId="ADAL" clId="{A11C78AC-DC75-447B-B78D-FA5B1F5D213F}" dt="2022-06-14T02:56:24.349" v="1230" actId="207"/>
          <ac:spMkLst>
            <pc:docMk/>
            <pc:sldMk cId="696217983" sldId="2145705749"/>
            <ac:spMk id="305" creationId="{3E6E4449-E8C0-4D87-A045-F1EF72BA4AAA}"/>
          </ac:spMkLst>
        </pc:spChg>
      </pc:sldChg>
      <pc:sldChg chg="addSp modSp ord">
        <pc:chgData name="Ying Yang" userId="f1527f9b-a873-4aa2-b225-cf8fd3466e0d" providerId="ADAL" clId="{A11C78AC-DC75-447B-B78D-FA5B1F5D213F}" dt="2022-06-14T02:50:27.997" v="1174"/>
        <pc:sldMkLst>
          <pc:docMk/>
          <pc:sldMk cId="3835900212" sldId="2145705751"/>
        </pc:sldMkLst>
        <pc:spChg chg="mod">
          <ac:chgData name="Ying Yang" userId="f1527f9b-a873-4aa2-b225-cf8fd3466e0d" providerId="ADAL" clId="{A11C78AC-DC75-447B-B78D-FA5B1F5D213F}" dt="2022-06-14T02:48:57.464" v="1142" actId="164"/>
          <ac:spMkLst>
            <pc:docMk/>
            <pc:sldMk cId="3835900212" sldId="2145705751"/>
            <ac:spMk id="15" creationId="{BB5D381A-22C0-4C8B-970E-41F190C1342D}"/>
          </ac:spMkLst>
        </pc:spChg>
        <pc:spChg chg="mod">
          <ac:chgData name="Ying Yang" userId="f1527f9b-a873-4aa2-b225-cf8fd3466e0d" providerId="ADAL" clId="{A11C78AC-DC75-447B-B78D-FA5B1F5D213F}" dt="2022-06-14T02:48:57.464" v="1142" actId="164"/>
          <ac:spMkLst>
            <pc:docMk/>
            <pc:sldMk cId="3835900212" sldId="2145705751"/>
            <ac:spMk id="37" creationId="{00564B4D-A9E0-424A-A810-E1E31BA54446}"/>
          </ac:spMkLst>
        </pc:spChg>
        <pc:spChg chg="mod">
          <ac:chgData name="Ying Yang" userId="f1527f9b-a873-4aa2-b225-cf8fd3466e0d" providerId="ADAL" clId="{A11C78AC-DC75-447B-B78D-FA5B1F5D213F}" dt="2022-06-14T02:48:57.464" v="1142" actId="164"/>
          <ac:spMkLst>
            <pc:docMk/>
            <pc:sldMk cId="3835900212" sldId="2145705751"/>
            <ac:spMk id="70" creationId="{688C1AF8-9E70-4C04-977D-CC0F953A0075}"/>
          </ac:spMkLst>
        </pc:spChg>
        <pc:spChg chg="mod">
          <ac:chgData name="Ying Yang" userId="f1527f9b-a873-4aa2-b225-cf8fd3466e0d" providerId="ADAL" clId="{A11C78AC-DC75-447B-B78D-FA5B1F5D213F}" dt="2022-06-14T02:48:57.464" v="1142" actId="164"/>
          <ac:spMkLst>
            <pc:docMk/>
            <pc:sldMk cId="3835900212" sldId="2145705751"/>
            <ac:spMk id="74" creationId="{D6BAE3DD-C466-4E62-8EF8-96121C82875C}"/>
          </ac:spMkLst>
        </pc:spChg>
        <pc:spChg chg="mod">
          <ac:chgData name="Ying Yang" userId="f1527f9b-a873-4aa2-b225-cf8fd3466e0d" providerId="ADAL" clId="{A11C78AC-DC75-447B-B78D-FA5B1F5D213F}" dt="2022-06-14T02:48:57.464" v="1142" actId="164"/>
          <ac:spMkLst>
            <pc:docMk/>
            <pc:sldMk cId="3835900212" sldId="2145705751"/>
            <ac:spMk id="79" creationId="{B6CA28E3-D089-4626-8119-51BB3B43F3DB}"/>
          </ac:spMkLst>
        </pc:spChg>
        <pc:grpChg chg="add mod">
          <ac:chgData name="Ying Yang" userId="f1527f9b-a873-4aa2-b225-cf8fd3466e0d" providerId="ADAL" clId="{A11C78AC-DC75-447B-B78D-FA5B1F5D213F}" dt="2022-06-14T02:48:57.464" v="1142" actId="164"/>
          <ac:grpSpMkLst>
            <pc:docMk/>
            <pc:sldMk cId="3835900212" sldId="2145705751"/>
            <ac:grpSpMk id="2" creationId="{D2C8B090-F001-40F8-80AE-98FA01833DB5}"/>
          </ac:grpSpMkLst>
        </pc:grpChg>
        <pc:grpChg chg="mod">
          <ac:chgData name="Ying Yang" userId="f1527f9b-a873-4aa2-b225-cf8fd3466e0d" providerId="ADAL" clId="{A11C78AC-DC75-447B-B78D-FA5B1F5D213F}" dt="2022-06-14T02:48:57.464" v="1142" actId="164"/>
          <ac:grpSpMkLst>
            <pc:docMk/>
            <pc:sldMk cId="3835900212" sldId="2145705751"/>
            <ac:grpSpMk id="22" creationId="{EA695346-C57F-4EB3-AD0F-3631D00017EA}"/>
          </ac:grpSpMkLst>
        </pc:grpChg>
        <pc:grpChg chg="mod">
          <ac:chgData name="Ying Yang" userId="f1527f9b-a873-4aa2-b225-cf8fd3466e0d" providerId="ADAL" clId="{A11C78AC-DC75-447B-B78D-FA5B1F5D213F}" dt="2022-06-14T02:48:57.464" v="1142" actId="164"/>
          <ac:grpSpMkLst>
            <pc:docMk/>
            <pc:sldMk cId="3835900212" sldId="2145705751"/>
            <ac:grpSpMk id="40" creationId="{E7291BBC-FDB0-4329-A6D1-C005868F854B}"/>
          </ac:grpSpMkLst>
        </pc:grpChg>
        <pc:grpChg chg="mod">
          <ac:chgData name="Ying Yang" userId="f1527f9b-a873-4aa2-b225-cf8fd3466e0d" providerId="ADAL" clId="{A11C78AC-DC75-447B-B78D-FA5B1F5D213F}" dt="2022-06-14T02:48:57.464" v="1142" actId="164"/>
          <ac:grpSpMkLst>
            <pc:docMk/>
            <pc:sldMk cId="3835900212" sldId="2145705751"/>
            <ac:grpSpMk id="55" creationId="{CB0D76A9-CACA-49F4-887E-3A380C681BF3}"/>
          </ac:grpSpMkLst>
        </pc:grpChg>
        <pc:grpChg chg="mod">
          <ac:chgData name="Ying Yang" userId="f1527f9b-a873-4aa2-b225-cf8fd3466e0d" providerId="ADAL" clId="{A11C78AC-DC75-447B-B78D-FA5B1F5D213F}" dt="2022-06-14T02:48:57.464" v="1142" actId="164"/>
          <ac:grpSpMkLst>
            <pc:docMk/>
            <pc:sldMk cId="3835900212" sldId="2145705751"/>
            <ac:grpSpMk id="75" creationId="{AB74A3B1-B8E2-4F21-A1BB-4589B7F3DC51}"/>
          </ac:grpSpMkLst>
        </pc:grpChg>
        <pc:grpChg chg="mod">
          <ac:chgData name="Ying Yang" userId="f1527f9b-a873-4aa2-b225-cf8fd3466e0d" providerId="ADAL" clId="{A11C78AC-DC75-447B-B78D-FA5B1F5D213F}" dt="2022-06-14T02:48:57.464" v="1142" actId="164"/>
          <ac:grpSpMkLst>
            <pc:docMk/>
            <pc:sldMk cId="3835900212" sldId="2145705751"/>
            <ac:grpSpMk id="76" creationId="{342A2C18-7B03-4CC6-8113-E66EB8604B48}"/>
          </ac:grpSpMkLst>
        </pc:grpChg>
      </pc:sldChg>
      <pc:sldChg chg="addSp delSp modSp mod">
        <pc:chgData name="Ying Yang" userId="f1527f9b-a873-4aa2-b225-cf8fd3466e0d" providerId="ADAL" clId="{A11C78AC-DC75-447B-B78D-FA5B1F5D213F}" dt="2022-06-14T03:05:17.448" v="1432" actId="1038"/>
        <pc:sldMkLst>
          <pc:docMk/>
          <pc:sldMk cId="2833274913" sldId="2145705755"/>
        </pc:sldMkLst>
        <pc:spChg chg="mod">
          <ac:chgData name="Ying Yang" userId="f1527f9b-a873-4aa2-b225-cf8fd3466e0d" providerId="ADAL" clId="{A11C78AC-DC75-447B-B78D-FA5B1F5D213F}" dt="2022-06-14T03:05:17.448" v="1432" actId="1038"/>
          <ac:spMkLst>
            <pc:docMk/>
            <pc:sldMk cId="2833274913" sldId="2145705755"/>
            <ac:spMk id="100" creationId="{44DCE951-04FA-4C72-B38D-D61F3198284E}"/>
          </ac:spMkLst>
        </pc:spChg>
        <pc:spChg chg="mod">
          <ac:chgData name="Ying Yang" userId="f1527f9b-a873-4aa2-b225-cf8fd3466e0d" providerId="ADAL" clId="{A11C78AC-DC75-447B-B78D-FA5B1F5D213F}" dt="2022-06-14T03:04:28.352" v="1387" actId="20577"/>
          <ac:spMkLst>
            <pc:docMk/>
            <pc:sldMk cId="2833274913" sldId="2145705755"/>
            <ac:spMk id="105" creationId="{DD3492D3-BD5A-45CE-B174-4AC9F0298197}"/>
          </ac:spMkLst>
        </pc:spChg>
        <pc:spChg chg="mod">
          <ac:chgData name="Ying Yang" userId="f1527f9b-a873-4aa2-b225-cf8fd3466e0d" providerId="ADAL" clId="{A11C78AC-DC75-447B-B78D-FA5B1F5D213F}" dt="2022-06-14T03:04:32.068" v="1388" actId="14100"/>
          <ac:spMkLst>
            <pc:docMk/>
            <pc:sldMk cId="2833274913" sldId="2145705755"/>
            <ac:spMk id="107" creationId="{BD2D05E8-2B95-4A1F-B4F0-82039FDC0698}"/>
          </ac:spMkLst>
        </pc:spChg>
        <pc:grpChg chg="del">
          <ac:chgData name="Ying Yang" userId="f1527f9b-a873-4aa2-b225-cf8fd3466e0d" providerId="ADAL" clId="{A11C78AC-DC75-447B-B78D-FA5B1F5D213F}" dt="2022-06-14T03:04:05.151" v="1361" actId="478"/>
          <ac:grpSpMkLst>
            <pc:docMk/>
            <pc:sldMk cId="2833274913" sldId="2145705755"/>
            <ac:grpSpMk id="94" creationId="{EB4D82F1-9D98-4225-82C8-30C18610D65F}"/>
          </ac:grpSpMkLst>
        </pc:grpChg>
        <pc:grpChg chg="add mod">
          <ac:chgData name="Ying Yang" userId="f1527f9b-a873-4aa2-b225-cf8fd3466e0d" providerId="ADAL" clId="{A11C78AC-DC75-447B-B78D-FA5B1F5D213F}" dt="2022-06-14T03:04:13.799" v="1363"/>
          <ac:grpSpMkLst>
            <pc:docMk/>
            <pc:sldMk cId="2833274913" sldId="2145705755"/>
            <ac:grpSpMk id="99" creationId="{CCF7D573-CF65-4AEF-BAD3-9417D08E55E8}"/>
          </ac:grpSpMkLst>
        </pc:grpChg>
        <pc:grpChg chg="mod">
          <ac:chgData name="Ying Yang" userId="f1527f9b-a873-4aa2-b225-cf8fd3466e0d" providerId="ADAL" clId="{A11C78AC-DC75-447B-B78D-FA5B1F5D213F}" dt="2022-06-14T03:04:13.799" v="1363"/>
          <ac:grpSpMkLst>
            <pc:docMk/>
            <pc:sldMk cId="2833274913" sldId="2145705755"/>
            <ac:grpSpMk id="101" creationId="{2B7A5375-A4AE-4CB7-96A0-DD823F8A1B75}"/>
          </ac:grpSpMkLst>
        </pc:grpChg>
        <pc:grpChg chg="mod">
          <ac:chgData name="Ying Yang" userId="f1527f9b-a873-4aa2-b225-cf8fd3466e0d" providerId="ADAL" clId="{A11C78AC-DC75-447B-B78D-FA5B1F5D213F}" dt="2022-06-14T03:04:13.799" v="1363"/>
          <ac:grpSpMkLst>
            <pc:docMk/>
            <pc:sldMk cId="2833274913" sldId="2145705755"/>
            <ac:grpSpMk id="102" creationId="{226F21E8-7E75-4B86-9FDD-DB9A302402D3}"/>
          </ac:grpSpMkLst>
        </pc:grpChg>
        <pc:grpChg chg="del">
          <ac:chgData name="Ying Yang" userId="f1527f9b-a873-4aa2-b225-cf8fd3466e0d" providerId="ADAL" clId="{A11C78AC-DC75-447B-B78D-FA5B1F5D213F}" dt="2022-06-14T03:04:06.359" v="1362" actId="478"/>
          <ac:grpSpMkLst>
            <pc:docMk/>
            <pc:sldMk cId="2833274913" sldId="2145705755"/>
            <ac:grpSpMk id="168" creationId="{39E8B584-9D7C-455B-81AA-1A5745EB29DE}"/>
          </ac:grpSpMkLst>
        </pc:grpChg>
        <pc:cxnChg chg="mod">
          <ac:chgData name="Ying Yang" userId="f1527f9b-a873-4aa2-b225-cf8fd3466e0d" providerId="ADAL" clId="{A11C78AC-DC75-447B-B78D-FA5B1F5D213F}" dt="2022-06-14T03:04:13.799" v="1363"/>
          <ac:cxnSpMkLst>
            <pc:docMk/>
            <pc:sldMk cId="2833274913" sldId="2145705755"/>
            <ac:cxnSpMk id="103" creationId="{FB8E4C41-C40A-4850-888C-905CC7B7DA2F}"/>
          </ac:cxnSpMkLst>
        </pc:cxnChg>
        <pc:cxnChg chg="mod">
          <ac:chgData name="Ying Yang" userId="f1527f9b-a873-4aa2-b225-cf8fd3466e0d" providerId="ADAL" clId="{A11C78AC-DC75-447B-B78D-FA5B1F5D213F}" dt="2022-06-14T03:04:13.799" v="1363"/>
          <ac:cxnSpMkLst>
            <pc:docMk/>
            <pc:sldMk cId="2833274913" sldId="2145705755"/>
            <ac:cxnSpMk id="104" creationId="{8F98494B-BD8A-4134-AC17-65474227B70F}"/>
          </ac:cxnSpMkLst>
        </pc:cxnChg>
      </pc:sldChg>
      <pc:sldChg chg="addSp delSp modSp mod ord addCm modCm">
        <pc:chgData name="Ying Yang" userId="f1527f9b-a873-4aa2-b225-cf8fd3466e0d" providerId="ADAL" clId="{A11C78AC-DC75-447B-B78D-FA5B1F5D213F}" dt="2022-06-14T03:05:32.865" v="1466" actId="1038"/>
        <pc:sldMkLst>
          <pc:docMk/>
          <pc:sldMk cId="3340802973" sldId="2145705756"/>
        </pc:sldMkLst>
        <pc:spChg chg="mod">
          <ac:chgData name="Ying Yang" userId="f1527f9b-a873-4aa2-b225-cf8fd3466e0d" providerId="ADAL" clId="{A11C78AC-DC75-447B-B78D-FA5B1F5D213F}" dt="2022-06-14T03:05:32.865" v="1466" actId="1038"/>
          <ac:spMkLst>
            <pc:docMk/>
            <pc:sldMk cId="3340802973" sldId="2145705756"/>
            <ac:spMk id="69" creationId="{A9487FF8-9F58-46D8-90BC-5120E1B0EF93}"/>
          </ac:spMkLst>
        </pc:spChg>
        <pc:spChg chg="mod">
          <ac:chgData name="Ying Yang" userId="f1527f9b-a873-4aa2-b225-cf8fd3466e0d" providerId="ADAL" clId="{A11C78AC-DC75-447B-B78D-FA5B1F5D213F}" dt="2022-06-14T03:02:53.565" v="1336" actId="20577"/>
          <ac:spMkLst>
            <pc:docMk/>
            <pc:sldMk cId="3340802973" sldId="2145705756"/>
            <ac:spMk id="74" creationId="{CBFA81F2-C2D4-464D-8DF4-DFAF02FE1FFF}"/>
          </ac:spMkLst>
        </pc:spChg>
        <pc:spChg chg="mod">
          <ac:chgData name="Ying Yang" userId="f1527f9b-a873-4aa2-b225-cf8fd3466e0d" providerId="ADAL" clId="{A11C78AC-DC75-447B-B78D-FA5B1F5D213F}" dt="2022-06-14T03:02:58.039" v="1337" actId="14100"/>
          <ac:spMkLst>
            <pc:docMk/>
            <pc:sldMk cId="3340802973" sldId="2145705756"/>
            <ac:spMk id="75" creationId="{2341E621-A653-4491-BC9C-A50951571453}"/>
          </ac:spMkLst>
        </pc:spChg>
        <pc:grpChg chg="add mod">
          <ac:chgData name="Ying Yang" userId="f1527f9b-a873-4aa2-b225-cf8fd3466e0d" providerId="ADAL" clId="{A11C78AC-DC75-447B-B78D-FA5B1F5D213F}" dt="2022-06-14T03:02:36.498" v="1303"/>
          <ac:grpSpMkLst>
            <pc:docMk/>
            <pc:sldMk cId="3340802973" sldId="2145705756"/>
            <ac:grpSpMk id="68" creationId="{1CB743FC-70D8-46F3-9D12-8D6C3CC1B451}"/>
          </ac:grpSpMkLst>
        </pc:grpChg>
        <pc:grpChg chg="mod">
          <ac:chgData name="Ying Yang" userId="f1527f9b-a873-4aa2-b225-cf8fd3466e0d" providerId="ADAL" clId="{A11C78AC-DC75-447B-B78D-FA5B1F5D213F}" dt="2022-06-14T03:02:36.498" v="1303"/>
          <ac:grpSpMkLst>
            <pc:docMk/>
            <pc:sldMk cId="3340802973" sldId="2145705756"/>
            <ac:grpSpMk id="70" creationId="{8FB65BF8-58FA-415E-966C-104BCC927B32}"/>
          </ac:grpSpMkLst>
        </pc:grpChg>
        <pc:grpChg chg="mod">
          <ac:chgData name="Ying Yang" userId="f1527f9b-a873-4aa2-b225-cf8fd3466e0d" providerId="ADAL" clId="{A11C78AC-DC75-447B-B78D-FA5B1F5D213F}" dt="2022-06-14T03:02:36.498" v="1303"/>
          <ac:grpSpMkLst>
            <pc:docMk/>
            <pc:sldMk cId="3340802973" sldId="2145705756"/>
            <ac:grpSpMk id="71" creationId="{EBD5D085-8CAC-48B1-A2C6-714AC16E2ECC}"/>
          </ac:grpSpMkLst>
        </pc:grpChg>
        <pc:grpChg chg="del">
          <ac:chgData name="Ying Yang" userId="f1527f9b-a873-4aa2-b225-cf8fd3466e0d" providerId="ADAL" clId="{A11C78AC-DC75-447B-B78D-FA5B1F5D213F}" dt="2022-06-14T03:02:32.958" v="1301" actId="478"/>
          <ac:grpSpMkLst>
            <pc:docMk/>
            <pc:sldMk cId="3340802973" sldId="2145705756"/>
            <ac:grpSpMk id="94" creationId="{EB4D82F1-9D98-4225-82C8-30C18610D65F}"/>
          </ac:grpSpMkLst>
        </pc:grpChg>
        <pc:grpChg chg="del">
          <ac:chgData name="Ying Yang" userId="f1527f9b-a873-4aa2-b225-cf8fd3466e0d" providerId="ADAL" clId="{A11C78AC-DC75-447B-B78D-FA5B1F5D213F}" dt="2022-06-14T03:02:34.303" v="1302" actId="478"/>
          <ac:grpSpMkLst>
            <pc:docMk/>
            <pc:sldMk cId="3340802973" sldId="2145705756"/>
            <ac:grpSpMk id="99" creationId="{E16F5A98-15D4-4204-82B5-0F9E9BD83629}"/>
          </ac:grpSpMkLst>
        </pc:grpChg>
        <pc:cxnChg chg="mod">
          <ac:chgData name="Ying Yang" userId="f1527f9b-a873-4aa2-b225-cf8fd3466e0d" providerId="ADAL" clId="{A11C78AC-DC75-447B-B78D-FA5B1F5D213F}" dt="2022-06-14T03:02:36.498" v="1303"/>
          <ac:cxnSpMkLst>
            <pc:docMk/>
            <pc:sldMk cId="3340802973" sldId="2145705756"/>
            <ac:cxnSpMk id="72" creationId="{80DDAA18-883E-4716-BD72-ADF98603EB3B}"/>
          </ac:cxnSpMkLst>
        </pc:cxnChg>
        <pc:cxnChg chg="mod">
          <ac:chgData name="Ying Yang" userId="f1527f9b-a873-4aa2-b225-cf8fd3466e0d" providerId="ADAL" clId="{A11C78AC-DC75-447B-B78D-FA5B1F5D213F}" dt="2022-06-14T03:02:36.498" v="1303"/>
          <ac:cxnSpMkLst>
            <pc:docMk/>
            <pc:sldMk cId="3340802973" sldId="2145705756"/>
            <ac:cxnSpMk id="73" creationId="{A7B1FC22-2E3D-47A2-8A00-17716DFA3088}"/>
          </ac:cxnSpMkLst>
        </pc:cxnChg>
      </pc:sldChg>
      <pc:sldChg chg="addSp delSp modSp mod ord">
        <pc:chgData name="Ying Yang" userId="f1527f9b-a873-4aa2-b225-cf8fd3466e0d" providerId="ADAL" clId="{A11C78AC-DC75-447B-B78D-FA5B1F5D213F}" dt="2022-06-14T03:05:28.537" v="1456" actId="1038"/>
        <pc:sldMkLst>
          <pc:docMk/>
          <pc:sldMk cId="1945758879" sldId="2145705757"/>
        </pc:sldMkLst>
        <pc:spChg chg="mod">
          <ac:chgData name="Ying Yang" userId="f1527f9b-a873-4aa2-b225-cf8fd3466e0d" providerId="ADAL" clId="{A11C78AC-DC75-447B-B78D-FA5B1F5D213F}" dt="2022-06-14T03:05:28.537" v="1456" actId="1038"/>
          <ac:spMkLst>
            <pc:docMk/>
            <pc:sldMk cId="1945758879" sldId="2145705757"/>
            <ac:spMk id="42" creationId="{796F5D62-EDAF-46AB-AFC9-D6E081481B2E}"/>
          </ac:spMkLst>
        </pc:spChg>
        <pc:spChg chg="mod">
          <ac:chgData name="Ying Yang" userId="f1527f9b-a873-4aa2-b225-cf8fd3466e0d" providerId="ADAL" clId="{A11C78AC-DC75-447B-B78D-FA5B1F5D213F}" dt="2022-06-14T03:03:10.340" v="1339"/>
          <ac:spMkLst>
            <pc:docMk/>
            <pc:sldMk cId="1945758879" sldId="2145705757"/>
            <ac:spMk id="47" creationId="{30E23556-F71A-4B04-9DE1-FD67C251EAF5}"/>
          </ac:spMkLst>
        </pc:spChg>
        <pc:spChg chg="mod">
          <ac:chgData name="Ying Yang" userId="f1527f9b-a873-4aa2-b225-cf8fd3466e0d" providerId="ADAL" clId="{A11C78AC-DC75-447B-B78D-FA5B1F5D213F}" dt="2022-06-14T03:03:10.340" v="1339"/>
          <ac:spMkLst>
            <pc:docMk/>
            <pc:sldMk cId="1945758879" sldId="2145705757"/>
            <ac:spMk id="48" creationId="{4DDBA7DE-F33B-4C3A-A991-BED137F93D1F}"/>
          </ac:spMkLst>
        </pc:spChg>
        <pc:grpChg chg="del">
          <ac:chgData name="Ying Yang" userId="f1527f9b-a873-4aa2-b225-cf8fd3466e0d" providerId="ADAL" clId="{A11C78AC-DC75-447B-B78D-FA5B1F5D213F}" dt="2022-06-14T03:03:04.815" v="1338" actId="478"/>
          <ac:grpSpMkLst>
            <pc:docMk/>
            <pc:sldMk cId="1945758879" sldId="2145705757"/>
            <ac:grpSpMk id="6" creationId="{1A46BAA9-B6B6-4BC3-BA40-54319F7BE4C5}"/>
          </ac:grpSpMkLst>
        </pc:grpChg>
        <pc:grpChg chg="add mod">
          <ac:chgData name="Ying Yang" userId="f1527f9b-a873-4aa2-b225-cf8fd3466e0d" providerId="ADAL" clId="{A11C78AC-DC75-447B-B78D-FA5B1F5D213F}" dt="2022-06-14T03:03:10.340" v="1339"/>
          <ac:grpSpMkLst>
            <pc:docMk/>
            <pc:sldMk cId="1945758879" sldId="2145705757"/>
            <ac:grpSpMk id="41" creationId="{CAEF7DCD-8F21-427C-A9C9-6A337F273C0E}"/>
          </ac:grpSpMkLst>
        </pc:grpChg>
        <pc:grpChg chg="mod">
          <ac:chgData name="Ying Yang" userId="f1527f9b-a873-4aa2-b225-cf8fd3466e0d" providerId="ADAL" clId="{A11C78AC-DC75-447B-B78D-FA5B1F5D213F}" dt="2022-06-14T03:03:10.340" v="1339"/>
          <ac:grpSpMkLst>
            <pc:docMk/>
            <pc:sldMk cId="1945758879" sldId="2145705757"/>
            <ac:grpSpMk id="43" creationId="{C731EFFB-09A2-471A-8608-AD067B40A96F}"/>
          </ac:grpSpMkLst>
        </pc:grpChg>
        <pc:grpChg chg="mod">
          <ac:chgData name="Ying Yang" userId="f1527f9b-a873-4aa2-b225-cf8fd3466e0d" providerId="ADAL" clId="{A11C78AC-DC75-447B-B78D-FA5B1F5D213F}" dt="2022-06-14T03:03:10.340" v="1339"/>
          <ac:grpSpMkLst>
            <pc:docMk/>
            <pc:sldMk cId="1945758879" sldId="2145705757"/>
            <ac:grpSpMk id="44" creationId="{04A35FF2-6C81-42BA-BE30-A82831D3D2C8}"/>
          </ac:grpSpMkLst>
        </pc:grpChg>
        <pc:cxnChg chg="mod">
          <ac:chgData name="Ying Yang" userId="f1527f9b-a873-4aa2-b225-cf8fd3466e0d" providerId="ADAL" clId="{A11C78AC-DC75-447B-B78D-FA5B1F5D213F}" dt="2022-06-14T03:03:10.340" v="1339"/>
          <ac:cxnSpMkLst>
            <pc:docMk/>
            <pc:sldMk cId="1945758879" sldId="2145705757"/>
            <ac:cxnSpMk id="45" creationId="{387511CC-6D84-47D6-9AB5-1BFD9012972F}"/>
          </ac:cxnSpMkLst>
        </pc:cxnChg>
        <pc:cxnChg chg="mod">
          <ac:chgData name="Ying Yang" userId="f1527f9b-a873-4aa2-b225-cf8fd3466e0d" providerId="ADAL" clId="{A11C78AC-DC75-447B-B78D-FA5B1F5D213F}" dt="2022-06-14T03:03:10.340" v="1339"/>
          <ac:cxnSpMkLst>
            <pc:docMk/>
            <pc:sldMk cId="1945758879" sldId="2145705757"/>
            <ac:cxnSpMk id="46" creationId="{38B4ADA2-6374-463C-A5AB-8212C3CA9300}"/>
          </ac:cxnSpMkLst>
        </pc:cxnChg>
      </pc:sldChg>
      <pc:sldChg chg="delSp modSp mod ord addCm modCm">
        <pc:chgData name="Ying Yang" userId="f1527f9b-a873-4aa2-b225-cf8fd3466e0d" providerId="ADAL" clId="{A11C78AC-DC75-447B-B78D-FA5B1F5D213F}" dt="2022-06-14T03:05:41.031" v="1479" actId="1038"/>
        <pc:sldMkLst>
          <pc:docMk/>
          <pc:sldMk cId="2240463748" sldId="2145705758"/>
        </pc:sldMkLst>
        <pc:spChg chg="mod">
          <ac:chgData name="Ying Yang" userId="f1527f9b-a873-4aa2-b225-cf8fd3466e0d" providerId="ADAL" clId="{A11C78AC-DC75-447B-B78D-FA5B1F5D213F}" dt="2022-06-14T03:02:20.932" v="1299" actId="165"/>
          <ac:spMkLst>
            <pc:docMk/>
            <pc:sldMk cId="2240463748" sldId="2145705758"/>
            <ac:spMk id="6" creationId="{C5B08D10-903E-45B4-A397-4C96AAAB6518}"/>
          </ac:spMkLst>
        </pc:spChg>
        <pc:spChg chg="mod">
          <ac:chgData name="Ying Yang" userId="f1527f9b-a873-4aa2-b225-cf8fd3466e0d" providerId="ADAL" clId="{A11C78AC-DC75-447B-B78D-FA5B1F5D213F}" dt="2022-06-14T03:02:20.932" v="1299" actId="165"/>
          <ac:spMkLst>
            <pc:docMk/>
            <pc:sldMk cId="2240463748" sldId="2145705758"/>
            <ac:spMk id="8" creationId="{B9AF3332-CB3E-490A-A494-B9F7DB9B44F1}"/>
          </ac:spMkLst>
        </pc:spChg>
        <pc:spChg chg="mod">
          <ac:chgData name="Ying Yang" userId="f1527f9b-a873-4aa2-b225-cf8fd3466e0d" providerId="ADAL" clId="{A11C78AC-DC75-447B-B78D-FA5B1F5D213F}" dt="2022-06-14T03:02:20.932" v="1299" actId="165"/>
          <ac:spMkLst>
            <pc:docMk/>
            <pc:sldMk cId="2240463748" sldId="2145705758"/>
            <ac:spMk id="9" creationId="{4A2CE596-0194-434F-BC54-1C639626CF5E}"/>
          </ac:spMkLst>
        </pc:spChg>
        <pc:spChg chg="mod">
          <ac:chgData name="Ying Yang" userId="f1527f9b-a873-4aa2-b225-cf8fd3466e0d" providerId="ADAL" clId="{A11C78AC-DC75-447B-B78D-FA5B1F5D213F}" dt="2022-06-14T03:02:20.932" v="1299" actId="165"/>
          <ac:spMkLst>
            <pc:docMk/>
            <pc:sldMk cId="2240463748" sldId="2145705758"/>
            <ac:spMk id="11" creationId="{04D78F9C-7966-4404-9609-A15ACE123E4F}"/>
          </ac:spMkLst>
        </pc:spChg>
        <pc:spChg chg="mod">
          <ac:chgData name="Ying Yang" userId="f1527f9b-a873-4aa2-b225-cf8fd3466e0d" providerId="ADAL" clId="{A11C78AC-DC75-447B-B78D-FA5B1F5D213F}" dt="2022-06-14T03:02:20.932" v="1299" actId="165"/>
          <ac:spMkLst>
            <pc:docMk/>
            <pc:sldMk cId="2240463748" sldId="2145705758"/>
            <ac:spMk id="12" creationId="{1A34DA87-EF1B-488D-B6C6-412E339738CB}"/>
          </ac:spMkLst>
        </pc:spChg>
        <pc:spChg chg="mod">
          <ac:chgData name="Ying Yang" userId="f1527f9b-a873-4aa2-b225-cf8fd3466e0d" providerId="ADAL" clId="{A11C78AC-DC75-447B-B78D-FA5B1F5D213F}" dt="2022-06-14T03:05:38.182" v="1475" actId="1038"/>
          <ac:spMkLst>
            <pc:docMk/>
            <pc:sldMk cId="2240463748" sldId="2145705758"/>
            <ac:spMk id="13" creationId="{AE8CFFC0-C13B-46F1-B762-4A78219B1C17}"/>
          </ac:spMkLst>
        </pc:spChg>
        <pc:spChg chg="mod">
          <ac:chgData name="Ying Yang" userId="f1527f9b-a873-4aa2-b225-cf8fd3466e0d" providerId="ADAL" clId="{A11C78AC-DC75-447B-B78D-FA5B1F5D213F}" dt="2022-06-14T03:02:20.932" v="1299" actId="165"/>
          <ac:spMkLst>
            <pc:docMk/>
            <pc:sldMk cId="2240463748" sldId="2145705758"/>
            <ac:spMk id="18" creationId="{C4E5967D-339B-4581-B938-B7681D62D49A}"/>
          </ac:spMkLst>
        </pc:spChg>
        <pc:spChg chg="mod">
          <ac:chgData name="Ying Yang" userId="f1527f9b-a873-4aa2-b225-cf8fd3466e0d" providerId="ADAL" clId="{A11C78AC-DC75-447B-B78D-FA5B1F5D213F}" dt="2022-06-14T03:05:41.031" v="1479" actId="1038"/>
          <ac:spMkLst>
            <pc:docMk/>
            <pc:sldMk cId="2240463748" sldId="2145705758"/>
            <ac:spMk id="19" creationId="{50EC48FA-5CB7-4201-968C-745372561898}"/>
          </ac:spMkLst>
        </pc:spChg>
        <pc:grpChg chg="del">
          <ac:chgData name="Ying Yang" userId="f1527f9b-a873-4aa2-b225-cf8fd3466e0d" providerId="ADAL" clId="{A11C78AC-DC75-447B-B78D-FA5B1F5D213F}" dt="2022-06-14T03:02:20.932" v="1299" actId="165"/>
          <ac:grpSpMkLst>
            <pc:docMk/>
            <pc:sldMk cId="2240463748" sldId="2145705758"/>
            <ac:grpSpMk id="3" creationId="{7B6644FD-A773-455F-9B74-8C99A1614F48}"/>
          </ac:grpSpMkLst>
        </pc:grpChg>
        <pc:grpChg chg="mod topLvl">
          <ac:chgData name="Ying Yang" userId="f1527f9b-a873-4aa2-b225-cf8fd3466e0d" providerId="ADAL" clId="{A11C78AC-DC75-447B-B78D-FA5B1F5D213F}" dt="2022-06-14T03:02:20.932" v="1299" actId="165"/>
          <ac:grpSpMkLst>
            <pc:docMk/>
            <pc:sldMk cId="2240463748" sldId="2145705758"/>
            <ac:grpSpMk id="4" creationId="{E508A342-2601-4370-8004-50576F6E4632}"/>
          </ac:grpSpMkLst>
        </pc:grpChg>
        <pc:grpChg chg="del mod topLvl">
          <ac:chgData name="Ying Yang" userId="f1527f9b-a873-4aa2-b225-cf8fd3466e0d" providerId="ADAL" clId="{A11C78AC-DC75-447B-B78D-FA5B1F5D213F}" dt="2022-06-14T03:02:23.403" v="1300" actId="478"/>
          <ac:grpSpMkLst>
            <pc:docMk/>
            <pc:sldMk cId="2240463748" sldId="2145705758"/>
            <ac:grpSpMk id="5" creationId="{F7CFB149-4D55-41B2-948E-CBDDE170D1F8}"/>
          </ac:grpSpMkLst>
        </pc:grpChg>
        <pc:grpChg chg="mod">
          <ac:chgData name="Ying Yang" userId="f1527f9b-a873-4aa2-b225-cf8fd3466e0d" providerId="ADAL" clId="{A11C78AC-DC75-447B-B78D-FA5B1F5D213F}" dt="2022-06-14T03:02:20.932" v="1299" actId="165"/>
          <ac:grpSpMkLst>
            <pc:docMk/>
            <pc:sldMk cId="2240463748" sldId="2145705758"/>
            <ac:grpSpMk id="7" creationId="{6182070C-D668-4885-B5BE-956F53F8C904}"/>
          </ac:grpSpMkLst>
        </pc:grpChg>
        <pc:grpChg chg="mod">
          <ac:chgData name="Ying Yang" userId="f1527f9b-a873-4aa2-b225-cf8fd3466e0d" providerId="ADAL" clId="{A11C78AC-DC75-447B-B78D-FA5B1F5D213F}" dt="2022-06-14T03:02:20.932" v="1299" actId="165"/>
          <ac:grpSpMkLst>
            <pc:docMk/>
            <pc:sldMk cId="2240463748" sldId="2145705758"/>
            <ac:grpSpMk id="10" creationId="{DE561708-32BE-497C-B781-139A71CE80E3}"/>
          </ac:grpSpMkLst>
        </pc:grpChg>
        <pc:grpChg chg="mod">
          <ac:chgData name="Ying Yang" userId="f1527f9b-a873-4aa2-b225-cf8fd3466e0d" providerId="ADAL" clId="{A11C78AC-DC75-447B-B78D-FA5B1F5D213F}" dt="2022-06-14T03:02:20.932" v="1299" actId="165"/>
          <ac:grpSpMkLst>
            <pc:docMk/>
            <pc:sldMk cId="2240463748" sldId="2145705758"/>
            <ac:grpSpMk id="14" creationId="{3CBBD8A2-DE3E-4ADD-9CED-B4938FF99EE1}"/>
          </ac:grpSpMkLst>
        </pc:grpChg>
        <pc:grpChg chg="mod">
          <ac:chgData name="Ying Yang" userId="f1527f9b-a873-4aa2-b225-cf8fd3466e0d" providerId="ADAL" clId="{A11C78AC-DC75-447B-B78D-FA5B1F5D213F}" dt="2022-06-14T03:02:20.932" v="1299" actId="165"/>
          <ac:grpSpMkLst>
            <pc:docMk/>
            <pc:sldMk cId="2240463748" sldId="2145705758"/>
            <ac:grpSpMk id="15" creationId="{5E983BA8-1E70-418C-ABE7-45CF443CD8BE}"/>
          </ac:grpSpMkLst>
        </pc:grpChg>
        <pc:cxnChg chg="mod">
          <ac:chgData name="Ying Yang" userId="f1527f9b-a873-4aa2-b225-cf8fd3466e0d" providerId="ADAL" clId="{A11C78AC-DC75-447B-B78D-FA5B1F5D213F}" dt="2022-06-14T03:02:20.932" v="1299" actId="165"/>
          <ac:cxnSpMkLst>
            <pc:docMk/>
            <pc:sldMk cId="2240463748" sldId="2145705758"/>
            <ac:cxnSpMk id="16" creationId="{5EBEA18F-5E19-4EB8-93D2-6ACA63C54FA7}"/>
          </ac:cxnSpMkLst>
        </pc:cxnChg>
        <pc:cxnChg chg="mod">
          <ac:chgData name="Ying Yang" userId="f1527f9b-a873-4aa2-b225-cf8fd3466e0d" providerId="ADAL" clId="{A11C78AC-DC75-447B-B78D-FA5B1F5D213F}" dt="2022-06-14T03:02:20.932" v="1299" actId="165"/>
          <ac:cxnSpMkLst>
            <pc:docMk/>
            <pc:sldMk cId="2240463748" sldId="2145705758"/>
            <ac:cxnSpMk id="17" creationId="{D93B7A56-0C8F-4608-BA55-037963029E1E}"/>
          </ac:cxnSpMkLst>
        </pc:cxnChg>
      </pc:sldChg>
      <pc:sldChg chg="addSp delSp modSp mod addCm delCm modCm">
        <pc:chgData name="Ying Yang" userId="f1527f9b-a873-4aa2-b225-cf8fd3466e0d" providerId="ADAL" clId="{A11C78AC-DC75-447B-B78D-FA5B1F5D213F}" dt="2022-06-14T03:30:22.316" v="1567" actId="13926"/>
        <pc:sldMkLst>
          <pc:docMk/>
          <pc:sldMk cId="1619644282" sldId="2145705759"/>
        </pc:sldMkLst>
        <pc:spChg chg="mod">
          <ac:chgData name="Ying Yang" userId="f1527f9b-a873-4aa2-b225-cf8fd3466e0d" providerId="ADAL" clId="{A11C78AC-DC75-447B-B78D-FA5B1F5D213F}" dt="2022-06-14T03:30:22.316" v="1567" actId="13926"/>
          <ac:spMkLst>
            <pc:docMk/>
            <pc:sldMk cId="1619644282" sldId="2145705759"/>
            <ac:spMk id="48" creationId="{E3C893BB-BAF9-4DF3-BD25-6FCFD4A22F49}"/>
          </ac:spMkLst>
        </pc:spChg>
        <pc:spChg chg="mod">
          <ac:chgData name="Ying Yang" userId="f1527f9b-a873-4aa2-b225-cf8fd3466e0d" providerId="ADAL" clId="{A11C78AC-DC75-447B-B78D-FA5B1F5D213F}" dt="2022-06-14T03:05:11.638" v="1421" actId="1037"/>
          <ac:spMkLst>
            <pc:docMk/>
            <pc:sldMk cId="1619644282" sldId="2145705759"/>
            <ac:spMk id="60" creationId="{B5052045-6FF5-47F0-B554-52BCE4A8D690}"/>
          </ac:spMkLst>
        </pc:spChg>
        <pc:spChg chg="mod">
          <ac:chgData name="Ying Yang" userId="f1527f9b-a873-4aa2-b225-cf8fd3466e0d" providerId="ADAL" clId="{A11C78AC-DC75-447B-B78D-FA5B1F5D213F}" dt="2022-06-14T03:04:59.776" v="1401" actId="20577"/>
          <ac:spMkLst>
            <pc:docMk/>
            <pc:sldMk cId="1619644282" sldId="2145705759"/>
            <ac:spMk id="66" creationId="{B17B93FA-C406-460C-BD85-B9A253EF8EED}"/>
          </ac:spMkLst>
        </pc:spChg>
        <pc:spChg chg="mod">
          <ac:chgData name="Ying Yang" userId="f1527f9b-a873-4aa2-b225-cf8fd3466e0d" providerId="ADAL" clId="{A11C78AC-DC75-447B-B78D-FA5B1F5D213F}" dt="2022-06-14T03:05:02.933" v="1402" actId="14100"/>
          <ac:spMkLst>
            <pc:docMk/>
            <pc:sldMk cId="1619644282" sldId="2145705759"/>
            <ac:spMk id="67" creationId="{1359F605-83C6-4038-8B79-6F8A0C35539F}"/>
          </ac:spMkLst>
        </pc:spChg>
        <pc:spChg chg="mod">
          <ac:chgData name="Ying Yang" userId="f1527f9b-a873-4aa2-b225-cf8fd3466e0d" providerId="ADAL" clId="{A11C78AC-DC75-447B-B78D-FA5B1F5D213F}" dt="2022-06-14T03:09:31.334" v="1494" actId="20577"/>
          <ac:spMkLst>
            <pc:docMk/>
            <pc:sldMk cId="1619644282" sldId="2145705759"/>
            <ac:spMk id="96" creationId="{855B75CA-3D8D-4852-89F4-F3B34A957378}"/>
          </ac:spMkLst>
        </pc:spChg>
        <pc:grpChg chg="del">
          <ac:chgData name="Ying Yang" userId="f1527f9b-a873-4aa2-b225-cf8fd3466e0d" providerId="ADAL" clId="{A11C78AC-DC75-447B-B78D-FA5B1F5D213F}" dt="2022-06-14T03:04:35.912" v="1389" actId="478"/>
          <ac:grpSpMkLst>
            <pc:docMk/>
            <pc:sldMk cId="1619644282" sldId="2145705759"/>
            <ac:grpSpMk id="3" creationId="{B278B6D6-2B68-411C-89E7-B9C819D16C07}"/>
          </ac:grpSpMkLst>
        </pc:grpChg>
        <pc:grpChg chg="add mod">
          <ac:chgData name="Ying Yang" userId="f1527f9b-a873-4aa2-b225-cf8fd3466e0d" providerId="ADAL" clId="{A11C78AC-DC75-447B-B78D-FA5B1F5D213F}" dt="2022-06-14T03:04:45.512" v="1390"/>
          <ac:grpSpMkLst>
            <pc:docMk/>
            <pc:sldMk cId="1619644282" sldId="2145705759"/>
            <ac:grpSpMk id="59" creationId="{04B703C1-5D31-43D8-AA83-CC14ECD3D2A7}"/>
          </ac:grpSpMkLst>
        </pc:grpChg>
        <pc:grpChg chg="mod">
          <ac:chgData name="Ying Yang" userId="f1527f9b-a873-4aa2-b225-cf8fd3466e0d" providerId="ADAL" clId="{A11C78AC-DC75-447B-B78D-FA5B1F5D213F}" dt="2022-06-14T03:04:45.512" v="1390"/>
          <ac:grpSpMkLst>
            <pc:docMk/>
            <pc:sldMk cId="1619644282" sldId="2145705759"/>
            <ac:grpSpMk id="62" creationId="{97E4CC91-C8F6-4644-A670-9A05237E5262}"/>
          </ac:grpSpMkLst>
        </pc:grpChg>
        <pc:grpChg chg="mod">
          <ac:chgData name="Ying Yang" userId="f1527f9b-a873-4aa2-b225-cf8fd3466e0d" providerId="ADAL" clId="{A11C78AC-DC75-447B-B78D-FA5B1F5D213F}" dt="2022-06-14T03:04:45.512" v="1390"/>
          <ac:grpSpMkLst>
            <pc:docMk/>
            <pc:sldMk cId="1619644282" sldId="2145705759"/>
            <ac:grpSpMk id="63" creationId="{36FED81F-51B3-48CF-96D5-419F1DCA928F}"/>
          </ac:grpSpMkLst>
        </pc:grpChg>
        <pc:cxnChg chg="mod">
          <ac:chgData name="Ying Yang" userId="f1527f9b-a873-4aa2-b225-cf8fd3466e0d" providerId="ADAL" clId="{A11C78AC-DC75-447B-B78D-FA5B1F5D213F}" dt="2022-06-14T03:04:45.512" v="1390"/>
          <ac:cxnSpMkLst>
            <pc:docMk/>
            <pc:sldMk cId="1619644282" sldId="2145705759"/>
            <ac:cxnSpMk id="64" creationId="{4B4C3C1E-D8FD-42ED-8B91-FB6649E5AB73}"/>
          </ac:cxnSpMkLst>
        </pc:cxnChg>
        <pc:cxnChg chg="mod">
          <ac:chgData name="Ying Yang" userId="f1527f9b-a873-4aa2-b225-cf8fd3466e0d" providerId="ADAL" clId="{A11C78AC-DC75-447B-B78D-FA5B1F5D213F}" dt="2022-06-14T03:04:45.512" v="1390"/>
          <ac:cxnSpMkLst>
            <pc:docMk/>
            <pc:sldMk cId="1619644282" sldId="2145705759"/>
            <ac:cxnSpMk id="65" creationId="{7E7E3D26-07D9-48D2-9F19-FFB0E9DDF796}"/>
          </ac:cxnSpMkLst>
        </pc:cxnChg>
      </pc:sldChg>
      <pc:sldChg chg="addSp delSp modSp mod ord addCm delCm modCm">
        <pc:chgData name="Ying Yang" userId="f1527f9b-a873-4aa2-b225-cf8fd3466e0d" providerId="ADAL" clId="{A11C78AC-DC75-447B-B78D-FA5B1F5D213F}" dt="2022-06-14T03:05:23.604" v="1446" actId="1038"/>
        <pc:sldMkLst>
          <pc:docMk/>
          <pc:sldMk cId="609159275" sldId="2145705760"/>
        </pc:sldMkLst>
        <pc:spChg chg="mod">
          <ac:chgData name="Ying Yang" userId="f1527f9b-a873-4aa2-b225-cf8fd3466e0d" providerId="ADAL" clId="{A11C78AC-DC75-447B-B78D-FA5B1F5D213F}" dt="2022-06-14T03:05:23.604" v="1446" actId="1038"/>
          <ac:spMkLst>
            <pc:docMk/>
            <pc:sldMk cId="609159275" sldId="2145705760"/>
            <ac:spMk id="66" creationId="{D6CE67D2-0CB0-41CD-9425-AC42126AB86C}"/>
          </ac:spMkLst>
        </pc:spChg>
        <pc:spChg chg="mod">
          <ac:chgData name="Ying Yang" userId="f1527f9b-a873-4aa2-b225-cf8fd3466e0d" providerId="ADAL" clId="{A11C78AC-DC75-447B-B78D-FA5B1F5D213F}" dt="2022-06-14T03:03:54.621" v="1359"/>
          <ac:spMkLst>
            <pc:docMk/>
            <pc:sldMk cId="609159275" sldId="2145705760"/>
            <ac:spMk id="71" creationId="{C6297C7A-4D49-4871-8B92-B407A074FDC8}"/>
          </ac:spMkLst>
        </pc:spChg>
        <pc:spChg chg="mod">
          <ac:chgData name="Ying Yang" userId="f1527f9b-a873-4aa2-b225-cf8fd3466e0d" providerId="ADAL" clId="{A11C78AC-DC75-447B-B78D-FA5B1F5D213F}" dt="2022-06-14T03:03:58.051" v="1360" actId="14100"/>
          <ac:spMkLst>
            <pc:docMk/>
            <pc:sldMk cId="609159275" sldId="2145705760"/>
            <ac:spMk id="72" creationId="{748BDA52-0856-407B-BAF2-57C41355C703}"/>
          </ac:spMkLst>
        </pc:spChg>
        <pc:spChg chg="mod">
          <ac:chgData name="Ying Yang" userId="f1527f9b-a873-4aa2-b225-cf8fd3466e0d" providerId="ADAL" clId="{A11C78AC-DC75-447B-B78D-FA5B1F5D213F}" dt="2022-06-14T02:54:20.324" v="1227" actId="20577"/>
          <ac:spMkLst>
            <pc:docMk/>
            <pc:sldMk cId="609159275" sldId="2145705760"/>
            <ac:spMk id="93" creationId="{08A46F91-5229-41E8-A25C-D35C2C184B20}"/>
          </ac:spMkLst>
        </pc:spChg>
        <pc:grpChg chg="del">
          <ac:chgData name="Ying Yang" userId="f1527f9b-a873-4aa2-b225-cf8fd3466e0d" providerId="ADAL" clId="{A11C78AC-DC75-447B-B78D-FA5B1F5D213F}" dt="2022-06-14T03:03:20.105" v="1340" actId="478"/>
          <ac:grpSpMkLst>
            <pc:docMk/>
            <pc:sldMk cId="609159275" sldId="2145705760"/>
            <ac:grpSpMk id="3" creationId="{5B131605-673D-4446-A4AD-B7E5726CAD8A}"/>
          </ac:grpSpMkLst>
        </pc:grpChg>
        <pc:grpChg chg="add mod">
          <ac:chgData name="Ying Yang" userId="f1527f9b-a873-4aa2-b225-cf8fd3466e0d" providerId="ADAL" clId="{A11C78AC-DC75-447B-B78D-FA5B1F5D213F}" dt="2022-06-14T03:03:22.002" v="1341"/>
          <ac:grpSpMkLst>
            <pc:docMk/>
            <pc:sldMk cId="609159275" sldId="2145705760"/>
            <ac:grpSpMk id="65" creationId="{F34CA5A7-1234-43AB-82BD-F0C3A42910F4}"/>
          </ac:grpSpMkLst>
        </pc:grpChg>
        <pc:grpChg chg="mod">
          <ac:chgData name="Ying Yang" userId="f1527f9b-a873-4aa2-b225-cf8fd3466e0d" providerId="ADAL" clId="{A11C78AC-DC75-447B-B78D-FA5B1F5D213F}" dt="2022-06-14T03:03:22.002" v="1341"/>
          <ac:grpSpMkLst>
            <pc:docMk/>
            <pc:sldMk cId="609159275" sldId="2145705760"/>
            <ac:grpSpMk id="67" creationId="{F73D6450-7DF2-44C3-B2B4-DC213FF4AEE1}"/>
          </ac:grpSpMkLst>
        </pc:grpChg>
        <pc:grpChg chg="mod">
          <ac:chgData name="Ying Yang" userId="f1527f9b-a873-4aa2-b225-cf8fd3466e0d" providerId="ADAL" clId="{A11C78AC-DC75-447B-B78D-FA5B1F5D213F}" dt="2022-06-14T03:03:22.002" v="1341"/>
          <ac:grpSpMkLst>
            <pc:docMk/>
            <pc:sldMk cId="609159275" sldId="2145705760"/>
            <ac:grpSpMk id="68" creationId="{83CECEED-CB9E-4B6A-A91B-C446534D792F}"/>
          </ac:grpSpMkLst>
        </pc:grpChg>
        <pc:cxnChg chg="mod">
          <ac:chgData name="Ying Yang" userId="f1527f9b-a873-4aa2-b225-cf8fd3466e0d" providerId="ADAL" clId="{A11C78AC-DC75-447B-B78D-FA5B1F5D213F}" dt="2022-06-14T03:03:22.002" v="1341"/>
          <ac:cxnSpMkLst>
            <pc:docMk/>
            <pc:sldMk cId="609159275" sldId="2145705760"/>
            <ac:cxnSpMk id="69" creationId="{F719F59C-80D4-4F95-A366-25B526B7C5A1}"/>
          </ac:cxnSpMkLst>
        </pc:cxnChg>
        <pc:cxnChg chg="mod">
          <ac:chgData name="Ying Yang" userId="f1527f9b-a873-4aa2-b225-cf8fd3466e0d" providerId="ADAL" clId="{A11C78AC-DC75-447B-B78D-FA5B1F5D213F}" dt="2022-06-14T03:03:22.002" v="1341"/>
          <ac:cxnSpMkLst>
            <pc:docMk/>
            <pc:sldMk cId="609159275" sldId="2145705760"/>
            <ac:cxnSpMk id="70" creationId="{65F1AB19-3B72-4DC2-B86A-E9A0EC812A2B}"/>
          </ac:cxnSpMkLst>
        </pc:cxnChg>
      </pc:sldChg>
      <pc:sldChg chg="addSp delSp modSp add mod">
        <pc:chgData name="Ying Yang" userId="f1527f9b-a873-4aa2-b225-cf8fd3466e0d" providerId="ADAL" clId="{A11C78AC-DC75-447B-B78D-FA5B1F5D213F}" dt="2022-06-14T03:02:06.342" v="1298" actId="14100"/>
        <pc:sldMkLst>
          <pc:docMk/>
          <pc:sldMk cId="2661643207" sldId="2145705763"/>
        </pc:sldMkLst>
        <pc:spChg chg="mod">
          <ac:chgData name="Ying Yang" userId="f1527f9b-a873-4aa2-b225-cf8fd3466e0d" providerId="ADAL" clId="{A11C78AC-DC75-447B-B78D-FA5B1F5D213F}" dt="2022-06-14T03:02:06.342" v="1298" actId="14100"/>
          <ac:spMkLst>
            <pc:docMk/>
            <pc:sldMk cId="2661643207" sldId="2145705763"/>
            <ac:spMk id="20" creationId="{5644057C-173F-405C-8B13-37E4926472ED}"/>
          </ac:spMkLst>
        </pc:spChg>
        <pc:spChg chg="mod">
          <ac:chgData name="Ying Yang" userId="f1527f9b-a873-4aa2-b225-cf8fd3466e0d" providerId="ADAL" clId="{A11C78AC-DC75-447B-B78D-FA5B1F5D213F}" dt="2022-06-14T03:01:58.635" v="1297" actId="20577"/>
          <ac:spMkLst>
            <pc:docMk/>
            <pc:sldMk cId="2661643207" sldId="2145705763"/>
            <ac:spMk id="24" creationId="{C1A9A750-8885-47B2-8567-708DDB85075D}"/>
          </ac:spMkLst>
        </pc:spChg>
        <pc:spChg chg="mod">
          <ac:chgData name="Ying Yang" userId="f1527f9b-a873-4aa2-b225-cf8fd3466e0d" providerId="ADAL" clId="{A11C78AC-DC75-447B-B78D-FA5B1F5D213F}" dt="2022-06-14T02:14:24.646" v="98" actId="404"/>
          <ac:spMkLst>
            <pc:docMk/>
            <pc:sldMk cId="2661643207" sldId="2145705763"/>
            <ac:spMk id="25" creationId="{F91E01CE-77D7-469F-9FAB-0B5A7DD80331}"/>
          </ac:spMkLst>
        </pc:spChg>
        <pc:spChg chg="del">
          <ac:chgData name="Ying Yang" userId="f1527f9b-a873-4aa2-b225-cf8fd3466e0d" providerId="ADAL" clId="{A11C78AC-DC75-447B-B78D-FA5B1F5D213F}" dt="2022-06-14T02:14:11.001" v="77" actId="478"/>
          <ac:spMkLst>
            <pc:docMk/>
            <pc:sldMk cId="2661643207" sldId="2145705763"/>
            <ac:spMk id="26" creationId="{265593B6-D9B1-449B-A1F4-EF6A30838E10}"/>
          </ac:spMkLst>
        </pc:spChg>
        <pc:spChg chg="mod">
          <ac:chgData name="Ying Yang" userId="f1527f9b-a873-4aa2-b225-cf8fd3466e0d" providerId="ADAL" clId="{A11C78AC-DC75-447B-B78D-FA5B1F5D213F}" dt="2022-06-14T02:15:51.361" v="151" actId="14100"/>
          <ac:spMkLst>
            <pc:docMk/>
            <pc:sldMk cId="2661643207" sldId="2145705763"/>
            <ac:spMk id="28" creationId="{ED68F112-5568-4C21-92AB-194F4B7D0A06}"/>
          </ac:spMkLst>
        </pc:spChg>
        <pc:spChg chg="mod">
          <ac:chgData name="Ying Yang" userId="f1527f9b-a873-4aa2-b225-cf8fd3466e0d" providerId="ADAL" clId="{A11C78AC-DC75-447B-B78D-FA5B1F5D213F}" dt="2022-06-14T02:14:06.203" v="76" actId="20577"/>
          <ac:spMkLst>
            <pc:docMk/>
            <pc:sldMk cId="2661643207" sldId="2145705763"/>
            <ac:spMk id="29" creationId="{F80A0353-2C14-4736-8F33-577FEF4330AA}"/>
          </ac:spMkLst>
        </pc:spChg>
        <pc:spChg chg="mod">
          <ac:chgData name="Ying Yang" userId="f1527f9b-a873-4aa2-b225-cf8fd3466e0d" providerId="ADAL" clId="{A11C78AC-DC75-447B-B78D-FA5B1F5D213F}" dt="2022-06-14T02:15:16.760" v="125" actId="404"/>
          <ac:spMkLst>
            <pc:docMk/>
            <pc:sldMk cId="2661643207" sldId="2145705763"/>
            <ac:spMk id="30" creationId="{5403534A-6307-4334-9151-72335DF3C541}"/>
          </ac:spMkLst>
        </pc:spChg>
        <pc:spChg chg="del">
          <ac:chgData name="Ying Yang" userId="f1527f9b-a873-4aa2-b225-cf8fd3466e0d" providerId="ADAL" clId="{A11C78AC-DC75-447B-B78D-FA5B1F5D213F}" dt="2022-06-14T02:14:32.671" v="99" actId="478"/>
          <ac:spMkLst>
            <pc:docMk/>
            <pc:sldMk cId="2661643207" sldId="2145705763"/>
            <ac:spMk id="31" creationId="{5E80BDEA-FD47-4ADF-AA67-ED3E37D7DFC0}"/>
          </ac:spMkLst>
        </pc:spChg>
        <pc:spChg chg="add del">
          <ac:chgData name="Ying Yang" userId="f1527f9b-a873-4aa2-b225-cf8fd3466e0d" providerId="ADAL" clId="{A11C78AC-DC75-447B-B78D-FA5B1F5D213F}" dt="2022-06-14T02:14:53.600" v="103" actId="22"/>
          <ac:spMkLst>
            <pc:docMk/>
            <pc:sldMk cId="2661643207" sldId="2145705763"/>
            <ac:spMk id="33" creationId="{0E8A5D43-C2CE-4D0E-888D-5565B670F629}"/>
          </ac:spMkLst>
        </pc:spChg>
        <pc:spChg chg="mod">
          <ac:chgData name="Ying Yang" userId="f1527f9b-a873-4aa2-b225-cf8fd3466e0d" providerId="ADAL" clId="{A11C78AC-DC75-447B-B78D-FA5B1F5D213F}" dt="2022-06-14T02:16:27.220" v="162" actId="113"/>
          <ac:spMkLst>
            <pc:docMk/>
            <pc:sldMk cId="2661643207" sldId="2145705763"/>
            <ac:spMk id="35" creationId="{CE729A92-17FD-4422-8B07-E78871EDCF54}"/>
          </ac:spMkLst>
        </pc:spChg>
        <pc:spChg chg="mod">
          <ac:chgData name="Ying Yang" userId="f1527f9b-a873-4aa2-b225-cf8fd3466e0d" providerId="ADAL" clId="{A11C78AC-DC75-447B-B78D-FA5B1F5D213F}" dt="2022-06-14T02:16:04.185" v="155" actId="14100"/>
          <ac:spMkLst>
            <pc:docMk/>
            <pc:sldMk cId="2661643207" sldId="2145705763"/>
            <ac:spMk id="36" creationId="{E3A46846-202D-4A37-AC56-9367D59A9F9F}"/>
          </ac:spMkLst>
        </pc:spChg>
        <pc:spChg chg="mod">
          <ac:chgData name="Ying Yang" userId="f1527f9b-a873-4aa2-b225-cf8fd3466e0d" providerId="ADAL" clId="{A11C78AC-DC75-447B-B78D-FA5B1F5D213F}" dt="2022-06-14T02:16:48.767" v="184" actId="20577"/>
          <ac:spMkLst>
            <pc:docMk/>
            <pc:sldMk cId="2661643207" sldId="2145705763"/>
            <ac:spMk id="37" creationId="{FFE8FFB2-4602-4627-A472-1A72338F0575}"/>
          </ac:spMkLst>
        </pc:spChg>
        <pc:spChg chg="mod">
          <ac:chgData name="Ying Yang" userId="f1527f9b-a873-4aa2-b225-cf8fd3466e0d" providerId="ADAL" clId="{A11C78AC-DC75-447B-B78D-FA5B1F5D213F}" dt="2022-06-14T02:16:56.610" v="188" actId="20577"/>
          <ac:spMkLst>
            <pc:docMk/>
            <pc:sldMk cId="2661643207" sldId="2145705763"/>
            <ac:spMk id="38" creationId="{E4EC338E-47F5-4C34-B770-F604BAEF3C01}"/>
          </ac:spMkLst>
        </pc:spChg>
        <pc:spChg chg="del">
          <ac:chgData name="Ying Yang" userId="f1527f9b-a873-4aa2-b225-cf8fd3466e0d" providerId="ADAL" clId="{A11C78AC-DC75-447B-B78D-FA5B1F5D213F}" dt="2022-06-14T02:14:37.769" v="101" actId="478"/>
          <ac:spMkLst>
            <pc:docMk/>
            <pc:sldMk cId="2661643207" sldId="2145705763"/>
            <ac:spMk id="39" creationId="{F7636748-87BF-456C-A4F0-7341F00B26C2}"/>
          </ac:spMkLst>
        </pc:spChg>
        <pc:spChg chg="mod">
          <ac:chgData name="Ying Yang" userId="f1527f9b-a873-4aa2-b225-cf8fd3466e0d" providerId="ADAL" clId="{A11C78AC-DC75-447B-B78D-FA5B1F5D213F}" dt="2022-06-14T02:16:00.464" v="154" actId="14100"/>
          <ac:spMkLst>
            <pc:docMk/>
            <pc:sldMk cId="2661643207" sldId="2145705763"/>
            <ac:spMk id="41" creationId="{0355A739-2C51-443F-83B2-07ED5741282B}"/>
          </ac:spMkLst>
        </pc:spChg>
        <pc:spChg chg="mod">
          <ac:chgData name="Ying Yang" userId="f1527f9b-a873-4aa2-b225-cf8fd3466e0d" providerId="ADAL" clId="{A11C78AC-DC75-447B-B78D-FA5B1F5D213F}" dt="2022-06-14T02:15:02.419" v="116" actId="20577"/>
          <ac:spMkLst>
            <pc:docMk/>
            <pc:sldMk cId="2661643207" sldId="2145705763"/>
            <ac:spMk id="42" creationId="{89BBBA6C-6E11-44F8-95A4-8883E7C438D2}"/>
          </ac:spMkLst>
        </pc:spChg>
        <pc:spChg chg="mod">
          <ac:chgData name="Ying Yang" userId="f1527f9b-a873-4aa2-b225-cf8fd3466e0d" providerId="ADAL" clId="{A11C78AC-DC75-447B-B78D-FA5B1F5D213F}" dt="2022-06-14T02:15:19.663" v="128" actId="403"/>
          <ac:spMkLst>
            <pc:docMk/>
            <pc:sldMk cId="2661643207" sldId="2145705763"/>
            <ac:spMk id="43" creationId="{C50AFC57-321A-4D47-945F-E9DDB9A996E6}"/>
          </ac:spMkLst>
        </pc:spChg>
        <pc:spChg chg="del">
          <ac:chgData name="Ying Yang" userId="f1527f9b-a873-4aa2-b225-cf8fd3466e0d" providerId="ADAL" clId="{A11C78AC-DC75-447B-B78D-FA5B1F5D213F}" dt="2022-06-14T02:14:36.408" v="100" actId="478"/>
          <ac:spMkLst>
            <pc:docMk/>
            <pc:sldMk cId="2661643207" sldId="2145705763"/>
            <ac:spMk id="44" creationId="{71E9FCAF-C493-4255-AE92-DED671E4C8A8}"/>
          </ac:spMkLst>
        </pc:spChg>
        <pc:spChg chg="mod">
          <ac:chgData name="Ying Yang" userId="f1527f9b-a873-4aa2-b225-cf8fd3466e0d" providerId="ADAL" clId="{A11C78AC-DC75-447B-B78D-FA5B1F5D213F}" dt="2022-06-14T02:16:27.220" v="162" actId="113"/>
          <ac:spMkLst>
            <pc:docMk/>
            <pc:sldMk cId="2661643207" sldId="2145705763"/>
            <ac:spMk id="45" creationId="{BE2A14D8-B0CF-40F4-8DAE-14EFAC6E0CE6}"/>
          </ac:spMkLst>
        </pc:spChg>
        <pc:spChg chg="mod">
          <ac:chgData name="Ying Yang" userId="f1527f9b-a873-4aa2-b225-cf8fd3466e0d" providerId="ADAL" clId="{A11C78AC-DC75-447B-B78D-FA5B1F5D213F}" dt="2022-06-14T02:16:27.220" v="162" actId="113"/>
          <ac:spMkLst>
            <pc:docMk/>
            <pc:sldMk cId="2661643207" sldId="2145705763"/>
            <ac:spMk id="46" creationId="{E9F01C2B-7925-4AF7-B103-CB98FCFE18A7}"/>
          </ac:spMkLst>
        </pc:spChg>
        <pc:spChg chg="mod">
          <ac:chgData name="Ying Yang" userId="f1527f9b-a873-4aa2-b225-cf8fd3466e0d" providerId="ADAL" clId="{A11C78AC-DC75-447B-B78D-FA5B1F5D213F}" dt="2022-06-14T02:16:28.687" v="163"/>
          <ac:spMkLst>
            <pc:docMk/>
            <pc:sldMk cId="2661643207" sldId="2145705763"/>
            <ac:spMk id="48" creationId="{E774103E-EB9B-4CF7-B804-EF2CBCE68BF2}"/>
          </ac:spMkLst>
        </pc:spChg>
        <pc:spChg chg="mod">
          <ac:chgData name="Ying Yang" userId="f1527f9b-a873-4aa2-b225-cf8fd3466e0d" providerId="ADAL" clId="{A11C78AC-DC75-447B-B78D-FA5B1F5D213F}" dt="2022-06-14T02:16:40.114" v="177" actId="20577"/>
          <ac:spMkLst>
            <pc:docMk/>
            <pc:sldMk cId="2661643207" sldId="2145705763"/>
            <ac:spMk id="49" creationId="{BA2AA2ED-1FD1-403A-A32F-29E6748EAA54}"/>
          </ac:spMkLst>
        </pc:spChg>
        <pc:spChg chg="mod">
          <ac:chgData name="Ying Yang" userId="f1527f9b-a873-4aa2-b225-cf8fd3466e0d" providerId="ADAL" clId="{A11C78AC-DC75-447B-B78D-FA5B1F5D213F}" dt="2022-06-14T02:16:42.728" v="179" actId="20577"/>
          <ac:spMkLst>
            <pc:docMk/>
            <pc:sldMk cId="2661643207" sldId="2145705763"/>
            <ac:spMk id="50" creationId="{825283A8-7E1A-4BE9-B293-C766FF2DBF60}"/>
          </ac:spMkLst>
        </pc:spChg>
        <pc:grpChg chg="mod ord">
          <ac:chgData name="Ying Yang" userId="f1527f9b-a873-4aa2-b225-cf8fd3466e0d" providerId="ADAL" clId="{A11C78AC-DC75-447B-B78D-FA5B1F5D213F}" dt="2022-06-14T02:17:24.687" v="194" actId="555"/>
          <ac:grpSpMkLst>
            <pc:docMk/>
            <pc:sldMk cId="2661643207" sldId="2145705763"/>
            <ac:grpSpMk id="19" creationId="{4C5C7398-1E47-480C-AFA9-00365A2FC48C}"/>
          </ac:grpSpMkLst>
        </pc:grpChg>
        <pc:grpChg chg="mod ord">
          <ac:chgData name="Ying Yang" userId="f1527f9b-a873-4aa2-b225-cf8fd3466e0d" providerId="ADAL" clId="{A11C78AC-DC75-447B-B78D-FA5B1F5D213F}" dt="2022-06-14T02:17:44.615" v="196" actId="552"/>
          <ac:grpSpMkLst>
            <pc:docMk/>
            <pc:sldMk cId="2661643207" sldId="2145705763"/>
            <ac:grpSpMk id="27" creationId="{A3DBAF63-CB17-4D2F-B448-A994EEB00547}"/>
          </ac:grpSpMkLst>
        </pc:grpChg>
        <pc:grpChg chg="mod">
          <ac:chgData name="Ying Yang" userId="f1527f9b-a873-4aa2-b225-cf8fd3466e0d" providerId="ADAL" clId="{A11C78AC-DC75-447B-B78D-FA5B1F5D213F}" dt="2022-06-14T02:17:44.615" v="196" actId="552"/>
          <ac:grpSpMkLst>
            <pc:docMk/>
            <pc:sldMk cId="2661643207" sldId="2145705763"/>
            <ac:grpSpMk id="32" creationId="{159D4BB4-359F-4697-9332-CEA90A944902}"/>
          </ac:grpSpMkLst>
        </pc:grpChg>
        <pc:grpChg chg="add mod">
          <ac:chgData name="Ying Yang" userId="f1527f9b-a873-4aa2-b225-cf8fd3466e0d" providerId="ADAL" clId="{A11C78AC-DC75-447B-B78D-FA5B1F5D213F}" dt="2022-06-14T02:17:46.222" v="197" actId="465"/>
          <ac:grpSpMkLst>
            <pc:docMk/>
            <pc:sldMk cId="2661643207" sldId="2145705763"/>
            <ac:grpSpMk id="34" creationId="{43C172C3-F837-4E46-B5A1-B52302B257DA}"/>
          </ac:grpSpMkLst>
        </pc:grpChg>
        <pc:grpChg chg="mod">
          <ac:chgData name="Ying Yang" userId="f1527f9b-a873-4aa2-b225-cf8fd3466e0d" providerId="ADAL" clId="{A11C78AC-DC75-447B-B78D-FA5B1F5D213F}" dt="2022-06-14T02:17:10.004" v="190" actId="465"/>
          <ac:grpSpMkLst>
            <pc:docMk/>
            <pc:sldMk cId="2661643207" sldId="2145705763"/>
            <ac:grpSpMk id="40" creationId="{4E8D0A1E-6B4B-4D9B-87B9-2AF40704599E}"/>
          </ac:grpSpMkLst>
        </pc:grpChg>
        <pc:grpChg chg="add mod">
          <ac:chgData name="Ying Yang" userId="f1527f9b-a873-4aa2-b225-cf8fd3466e0d" providerId="ADAL" clId="{A11C78AC-DC75-447B-B78D-FA5B1F5D213F}" dt="2022-06-14T02:17:35.773" v="195" actId="554"/>
          <ac:grpSpMkLst>
            <pc:docMk/>
            <pc:sldMk cId="2661643207" sldId="2145705763"/>
            <ac:grpSpMk id="47" creationId="{ED655882-656B-425D-81D7-A4224483AA37}"/>
          </ac:grpSpMkLst>
        </pc:grpChg>
      </pc:sldChg>
      <pc:sldChg chg="new del">
        <pc:chgData name="Ying Yang" userId="f1527f9b-a873-4aa2-b225-cf8fd3466e0d" providerId="ADAL" clId="{A11C78AC-DC75-447B-B78D-FA5B1F5D213F}" dt="2022-06-14T02:13:45.865" v="51" actId="680"/>
        <pc:sldMkLst>
          <pc:docMk/>
          <pc:sldMk cId="3399607192" sldId="2145705763"/>
        </pc:sldMkLst>
      </pc:sldChg>
      <pc:sldChg chg="addSp delSp modSp new mod">
        <pc:chgData name="Ying Yang" userId="f1527f9b-a873-4aa2-b225-cf8fd3466e0d" providerId="ADAL" clId="{A11C78AC-DC75-447B-B78D-FA5B1F5D213F}" dt="2022-06-14T02:41:27.867" v="926" actId="465"/>
        <pc:sldMkLst>
          <pc:docMk/>
          <pc:sldMk cId="708246685" sldId="2145705764"/>
        </pc:sldMkLst>
        <pc:spChg chg="del">
          <ac:chgData name="Ying Yang" userId="f1527f9b-a873-4aa2-b225-cf8fd3466e0d" providerId="ADAL" clId="{A11C78AC-DC75-447B-B78D-FA5B1F5D213F}" dt="2022-06-14T02:19:23.953" v="202" actId="478"/>
          <ac:spMkLst>
            <pc:docMk/>
            <pc:sldMk cId="708246685" sldId="2145705764"/>
            <ac:spMk id="2" creationId="{7677985E-86A9-418E-A210-4B3EC2ED6260}"/>
          </ac:spMkLst>
        </pc:spChg>
        <pc:spChg chg="mod">
          <ac:chgData name="Ying Yang" userId="f1527f9b-a873-4aa2-b225-cf8fd3466e0d" providerId="ADAL" clId="{A11C78AC-DC75-447B-B78D-FA5B1F5D213F}" dt="2022-06-14T02:19:21.076" v="201"/>
          <ac:spMkLst>
            <pc:docMk/>
            <pc:sldMk cId="708246685" sldId="2145705764"/>
            <ac:spMk id="4" creationId="{70AF8CA1-3920-4E90-B488-563A3CF1755A}"/>
          </ac:spMkLst>
        </pc:spChg>
        <pc:spChg chg="mod">
          <ac:chgData name="Ying Yang" userId="f1527f9b-a873-4aa2-b225-cf8fd3466e0d" providerId="ADAL" clId="{A11C78AC-DC75-447B-B78D-FA5B1F5D213F}" dt="2022-06-14T02:19:50.262" v="234" actId="20577"/>
          <ac:spMkLst>
            <pc:docMk/>
            <pc:sldMk cId="708246685" sldId="2145705764"/>
            <ac:spMk id="9" creationId="{AD9070D9-2C5A-4BA3-8159-E548F19B7CAC}"/>
          </ac:spMkLst>
        </pc:spChg>
        <pc:spChg chg="mod">
          <ac:chgData name="Ying Yang" userId="f1527f9b-a873-4aa2-b225-cf8fd3466e0d" providerId="ADAL" clId="{A11C78AC-DC75-447B-B78D-FA5B1F5D213F}" dt="2022-06-14T02:19:45.465" v="218" actId="20577"/>
          <ac:spMkLst>
            <pc:docMk/>
            <pc:sldMk cId="708246685" sldId="2145705764"/>
            <ac:spMk id="10" creationId="{B48B34F4-2CDC-4BD5-9FBE-E6DD4E500C95}"/>
          </ac:spMkLst>
        </pc:spChg>
        <pc:spChg chg="mod topLvl">
          <ac:chgData name="Ying Yang" userId="f1527f9b-a873-4aa2-b225-cf8fd3466e0d" providerId="ADAL" clId="{A11C78AC-DC75-447B-B78D-FA5B1F5D213F}" dt="2022-06-14T02:36:53.608" v="824" actId="14100"/>
          <ac:spMkLst>
            <pc:docMk/>
            <pc:sldMk cId="708246685" sldId="2145705764"/>
            <ac:spMk id="12" creationId="{66C47047-053E-4E5D-B5E5-34B26127FDF7}"/>
          </ac:spMkLst>
        </pc:spChg>
        <pc:spChg chg="mod">
          <ac:chgData name="Ying Yang" userId="f1527f9b-a873-4aa2-b225-cf8fd3466e0d" providerId="ADAL" clId="{A11C78AC-DC75-447B-B78D-FA5B1F5D213F}" dt="2022-06-14T02:24:03.132" v="306" actId="165"/>
          <ac:spMkLst>
            <pc:docMk/>
            <pc:sldMk cId="708246685" sldId="2145705764"/>
            <ac:spMk id="20" creationId="{D4517AF9-4617-4870-AE57-66233F21765E}"/>
          </ac:spMkLst>
        </pc:spChg>
        <pc:spChg chg="mod">
          <ac:chgData name="Ying Yang" userId="f1527f9b-a873-4aa2-b225-cf8fd3466e0d" providerId="ADAL" clId="{A11C78AC-DC75-447B-B78D-FA5B1F5D213F}" dt="2022-06-14T02:24:03.132" v="306" actId="165"/>
          <ac:spMkLst>
            <pc:docMk/>
            <pc:sldMk cId="708246685" sldId="2145705764"/>
            <ac:spMk id="23" creationId="{6306B829-CB15-4127-B563-2B2F81E004EF}"/>
          </ac:spMkLst>
        </pc:spChg>
        <pc:spChg chg="del mod">
          <ac:chgData name="Ying Yang" userId="f1527f9b-a873-4aa2-b225-cf8fd3466e0d" providerId="ADAL" clId="{A11C78AC-DC75-447B-B78D-FA5B1F5D213F}" dt="2022-06-14T02:24:41.226" v="321" actId="478"/>
          <ac:spMkLst>
            <pc:docMk/>
            <pc:sldMk cId="708246685" sldId="2145705764"/>
            <ac:spMk id="24" creationId="{3BDD405C-3330-4290-9A79-2EB2C3700DC7}"/>
          </ac:spMkLst>
        </pc:spChg>
        <pc:spChg chg="del mod">
          <ac:chgData name="Ying Yang" userId="f1527f9b-a873-4aa2-b225-cf8fd3466e0d" providerId="ADAL" clId="{A11C78AC-DC75-447B-B78D-FA5B1F5D213F}" dt="2022-06-14T02:24:39.844" v="320" actId="478"/>
          <ac:spMkLst>
            <pc:docMk/>
            <pc:sldMk cId="708246685" sldId="2145705764"/>
            <ac:spMk id="25" creationId="{0F109375-3154-43F2-9F36-81AEAFC21B86}"/>
          </ac:spMkLst>
        </pc:spChg>
        <pc:spChg chg="mod">
          <ac:chgData name="Ying Yang" userId="f1527f9b-a873-4aa2-b225-cf8fd3466e0d" providerId="ADAL" clId="{A11C78AC-DC75-447B-B78D-FA5B1F5D213F}" dt="2022-06-14T02:24:03.132" v="306" actId="165"/>
          <ac:spMkLst>
            <pc:docMk/>
            <pc:sldMk cId="708246685" sldId="2145705764"/>
            <ac:spMk id="26" creationId="{CED5BB20-4DC6-4F4F-93A1-20F1EDE16CBC}"/>
          </ac:spMkLst>
        </pc:spChg>
        <pc:spChg chg="mod">
          <ac:chgData name="Ying Yang" userId="f1527f9b-a873-4aa2-b225-cf8fd3466e0d" providerId="ADAL" clId="{A11C78AC-DC75-447B-B78D-FA5B1F5D213F}" dt="2022-06-14T02:24:03.132" v="306" actId="165"/>
          <ac:spMkLst>
            <pc:docMk/>
            <pc:sldMk cId="708246685" sldId="2145705764"/>
            <ac:spMk id="29" creationId="{AA3098C9-3654-4173-A810-80071FA40FB4}"/>
          </ac:spMkLst>
        </pc:spChg>
        <pc:spChg chg="mod">
          <ac:chgData name="Ying Yang" userId="f1527f9b-a873-4aa2-b225-cf8fd3466e0d" providerId="ADAL" clId="{A11C78AC-DC75-447B-B78D-FA5B1F5D213F}" dt="2022-06-14T02:24:03.132" v="306" actId="165"/>
          <ac:spMkLst>
            <pc:docMk/>
            <pc:sldMk cId="708246685" sldId="2145705764"/>
            <ac:spMk id="30" creationId="{A2B239A3-1032-4372-BFE9-1154EF19C1B4}"/>
          </ac:spMkLst>
        </pc:spChg>
        <pc:spChg chg="del mod">
          <ac:chgData name="Ying Yang" userId="f1527f9b-a873-4aa2-b225-cf8fd3466e0d" providerId="ADAL" clId="{A11C78AC-DC75-447B-B78D-FA5B1F5D213F}" dt="2022-06-14T02:24:43.155" v="322" actId="478"/>
          <ac:spMkLst>
            <pc:docMk/>
            <pc:sldMk cId="708246685" sldId="2145705764"/>
            <ac:spMk id="31" creationId="{C467C7D7-9727-402F-8ED1-7E0FA7527A38}"/>
          </ac:spMkLst>
        </pc:spChg>
        <pc:spChg chg="mod topLvl">
          <ac:chgData name="Ying Yang" userId="f1527f9b-a873-4aa2-b225-cf8fd3466e0d" providerId="ADAL" clId="{A11C78AC-DC75-447B-B78D-FA5B1F5D213F}" dt="2022-06-14T02:38:45.449" v="868" actId="1036"/>
          <ac:spMkLst>
            <pc:docMk/>
            <pc:sldMk cId="708246685" sldId="2145705764"/>
            <ac:spMk id="33" creationId="{60B87B87-6086-4B9D-9B0D-81ABDDAA492F}"/>
          </ac:spMkLst>
        </pc:spChg>
        <pc:spChg chg="mod">
          <ac:chgData name="Ying Yang" userId="f1527f9b-a873-4aa2-b225-cf8fd3466e0d" providerId="ADAL" clId="{A11C78AC-DC75-447B-B78D-FA5B1F5D213F}" dt="2022-06-14T02:31:36.979" v="579" actId="404"/>
          <ac:spMkLst>
            <pc:docMk/>
            <pc:sldMk cId="708246685" sldId="2145705764"/>
            <ac:spMk id="35" creationId="{972F1EA4-8DC3-4AE0-BE8C-16F9A27B2972}"/>
          </ac:spMkLst>
        </pc:spChg>
        <pc:spChg chg="mod">
          <ac:chgData name="Ying Yang" userId="f1527f9b-a873-4aa2-b225-cf8fd3466e0d" providerId="ADAL" clId="{A11C78AC-DC75-447B-B78D-FA5B1F5D213F}" dt="2022-06-14T02:31:36.979" v="579" actId="404"/>
          <ac:spMkLst>
            <pc:docMk/>
            <pc:sldMk cId="708246685" sldId="2145705764"/>
            <ac:spMk id="36" creationId="{C7AA47A0-EA61-4B8C-9114-9B43D5008422}"/>
          </ac:spMkLst>
        </pc:spChg>
        <pc:spChg chg="mod">
          <ac:chgData name="Ying Yang" userId="f1527f9b-a873-4aa2-b225-cf8fd3466e0d" providerId="ADAL" clId="{A11C78AC-DC75-447B-B78D-FA5B1F5D213F}" dt="2022-06-14T02:31:36.979" v="579" actId="404"/>
          <ac:spMkLst>
            <pc:docMk/>
            <pc:sldMk cId="708246685" sldId="2145705764"/>
            <ac:spMk id="37" creationId="{080F692A-2B18-4ABE-B90C-D34B37F22919}"/>
          </ac:spMkLst>
        </pc:spChg>
        <pc:spChg chg="mod">
          <ac:chgData name="Ying Yang" userId="f1527f9b-a873-4aa2-b225-cf8fd3466e0d" providerId="ADAL" clId="{A11C78AC-DC75-447B-B78D-FA5B1F5D213F}" dt="2022-06-14T02:23:53.877" v="305" actId="165"/>
          <ac:spMkLst>
            <pc:docMk/>
            <pc:sldMk cId="708246685" sldId="2145705764"/>
            <ac:spMk id="38" creationId="{55B598EA-5579-4896-B324-8C46B8CCF54F}"/>
          </ac:spMkLst>
        </pc:spChg>
        <pc:spChg chg="mod">
          <ac:chgData name="Ying Yang" userId="f1527f9b-a873-4aa2-b225-cf8fd3466e0d" providerId="ADAL" clId="{A11C78AC-DC75-447B-B78D-FA5B1F5D213F}" dt="2022-06-14T02:23:53.877" v="305" actId="165"/>
          <ac:spMkLst>
            <pc:docMk/>
            <pc:sldMk cId="708246685" sldId="2145705764"/>
            <ac:spMk id="39" creationId="{81074319-E427-4AA7-AA86-976D1230E250}"/>
          </ac:spMkLst>
        </pc:spChg>
        <pc:spChg chg="mod">
          <ac:chgData name="Ying Yang" userId="f1527f9b-a873-4aa2-b225-cf8fd3466e0d" providerId="ADAL" clId="{A11C78AC-DC75-447B-B78D-FA5B1F5D213F}" dt="2022-06-14T02:38:43.557" v="866" actId="1036"/>
          <ac:spMkLst>
            <pc:docMk/>
            <pc:sldMk cId="708246685" sldId="2145705764"/>
            <ac:spMk id="44" creationId="{FBDA38EA-32DA-4433-B9A3-91BEA0ED3CB5}"/>
          </ac:spMkLst>
        </pc:spChg>
        <pc:spChg chg="mod">
          <ac:chgData name="Ying Yang" userId="f1527f9b-a873-4aa2-b225-cf8fd3466e0d" providerId="ADAL" clId="{A11C78AC-DC75-447B-B78D-FA5B1F5D213F}" dt="2022-06-14T02:31:36.979" v="579" actId="404"/>
          <ac:spMkLst>
            <pc:docMk/>
            <pc:sldMk cId="708246685" sldId="2145705764"/>
            <ac:spMk id="46" creationId="{F157D062-E53F-4958-92EE-532F34F010AE}"/>
          </ac:spMkLst>
        </pc:spChg>
        <pc:spChg chg="mod">
          <ac:chgData name="Ying Yang" userId="f1527f9b-a873-4aa2-b225-cf8fd3466e0d" providerId="ADAL" clId="{A11C78AC-DC75-447B-B78D-FA5B1F5D213F}" dt="2022-06-14T02:31:36.979" v="579" actId="404"/>
          <ac:spMkLst>
            <pc:docMk/>
            <pc:sldMk cId="708246685" sldId="2145705764"/>
            <ac:spMk id="47" creationId="{9B0059C6-145C-48E8-B49F-A6500DB6CEE4}"/>
          </ac:spMkLst>
        </pc:spChg>
        <pc:spChg chg="mod">
          <ac:chgData name="Ying Yang" userId="f1527f9b-a873-4aa2-b225-cf8fd3466e0d" providerId="ADAL" clId="{A11C78AC-DC75-447B-B78D-FA5B1F5D213F}" dt="2022-06-14T02:31:36.979" v="579" actId="404"/>
          <ac:spMkLst>
            <pc:docMk/>
            <pc:sldMk cId="708246685" sldId="2145705764"/>
            <ac:spMk id="48" creationId="{3F27CBA6-F555-4A71-B8EA-D6AF86ED0384}"/>
          </ac:spMkLst>
        </pc:spChg>
        <pc:spChg chg="mod">
          <ac:chgData name="Ying Yang" userId="f1527f9b-a873-4aa2-b225-cf8fd3466e0d" providerId="ADAL" clId="{A11C78AC-DC75-447B-B78D-FA5B1F5D213F}" dt="2022-06-14T02:41:14.382" v="924" actId="1036"/>
          <ac:spMkLst>
            <pc:docMk/>
            <pc:sldMk cId="708246685" sldId="2145705764"/>
            <ac:spMk id="52" creationId="{08273F1A-B560-45C5-8975-6668806112AC}"/>
          </ac:spMkLst>
        </pc:spChg>
        <pc:spChg chg="mod">
          <ac:chgData name="Ying Yang" userId="f1527f9b-a873-4aa2-b225-cf8fd3466e0d" providerId="ADAL" clId="{A11C78AC-DC75-447B-B78D-FA5B1F5D213F}" dt="2022-06-14T02:31:36.979" v="579" actId="404"/>
          <ac:spMkLst>
            <pc:docMk/>
            <pc:sldMk cId="708246685" sldId="2145705764"/>
            <ac:spMk id="54" creationId="{68A96F41-CBD8-4E4D-8AA4-1C0A7D2403E7}"/>
          </ac:spMkLst>
        </pc:spChg>
        <pc:spChg chg="mod">
          <ac:chgData name="Ying Yang" userId="f1527f9b-a873-4aa2-b225-cf8fd3466e0d" providerId="ADAL" clId="{A11C78AC-DC75-447B-B78D-FA5B1F5D213F}" dt="2022-06-14T02:31:36.979" v="579" actId="404"/>
          <ac:spMkLst>
            <pc:docMk/>
            <pc:sldMk cId="708246685" sldId="2145705764"/>
            <ac:spMk id="55" creationId="{E40B292F-047D-43FD-B4C3-30AAB5CF710C}"/>
          </ac:spMkLst>
        </pc:spChg>
        <pc:spChg chg="mod">
          <ac:chgData name="Ying Yang" userId="f1527f9b-a873-4aa2-b225-cf8fd3466e0d" providerId="ADAL" clId="{A11C78AC-DC75-447B-B78D-FA5B1F5D213F}" dt="2022-06-14T02:31:36.979" v="579" actId="404"/>
          <ac:spMkLst>
            <pc:docMk/>
            <pc:sldMk cId="708246685" sldId="2145705764"/>
            <ac:spMk id="56" creationId="{414ECADE-4CD7-4DF7-9476-98702FF01377}"/>
          </ac:spMkLst>
        </pc:spChg>
        <pc:spChg chg="mod">
          <ac:chgData name="Ying Yang" userId="f1527f9b-a873-4aa2-b225-cf8fd3466e0d" providerId="ADAL" clId="{A11C78AC-DC75-447B-B78D-FA5B1F5D213F}" dt="2022-06-14T02:41:12.228" v="921" actId="1036"/>
          <ac:spMkLst>
            <pc:docMk/>
            <pc:sldMk cId="708246685" sldId="2145705764"/>
            <ac:spMk id="60" creationId="{7BF7FDD8-4CDE-41FF-80D4-114CEB60F573}"/>
          </ac:spMkLst>
        </pc:spChg>
        <pc:spChg chg="mod">
          <ac:chgData name="Ying Yang" userId="f1527f9b-a873-4aa2-b225-cf8fd3466e0d" providerId="ADAL" clId="{A11C78AC-DC75-447B-B78D-FA5B1F5D213F}" dt="2022-06-14T02:31:36.979" v="579" actId="404"/>
          <ac:spMkLst>
            <pc:docMk/>
            <pc:sldMk cId="708246685" sldId="2145705764"/>
            <ac:spMk id="62" creationId="{1FFFF993-3145-40FF-BD2B-8E4BB091FB14}"/>
          </ac:spMkLst>
        </pc:spChg>
        <pc:spChg chg="mod">
          <ac:chgData name="Ying Yang" userId="f1527f9b-a873-4aa2-b225-cf8fd3466e0d" providerId="ADAL" clId="{A11C78AC-DC75-447B-B78D-FA5B1F5D213F}" dt="2022-06-14T02:31:36.979" v="579" actId="404"/>
          <ac:spMkLst>
            <pc:docMk/>
            <pc:sldMk cId="708246685" sldId="2145705764"/>
            <ac:spMk id="63" creationId="{B5B20C57-1733-4072-B37D-BEC80CDFA315}"/>
          </ac:spMkLst>
        </pc:spChg>
        <pc:spChg chg="mod">
          <ac:chgData name="Ying Yang" userId="f1527f9b-a873-4aa2-b225-cf8fd3466e0d" providerId="ADAL" clId="{A11C78AC-DC75-447B-B78D-FA5B1F5D213F}" dt="2022-06-14T02:31:36.979" v="579" actId="404"/>
          <ac:spMkLst>
            <pc:docMk/>
            <pc:sldMk cId="708246685" sldId="2145705764"/>
            <ac:spMk id="64" creationId="{B78868AF-C18A-40E1-B815-38C75DCFC704}"/>
          </ac:spMkLst>
        </pc:spChg>
        <pc:spChg chg="mod">
          <ac:chgData name="Ying Yang" userId="f1527f9b-a873-4aa2-b225-cf8fd3466e0d" providerId="ADAL" clId="{A11C78AC-DC75-447B-B78D-FA5B1F5D213F}" dt="2022-06-14T02:41:01.574" v="902" actId="1036"/>
          <ac:spMkLst>
            <pc:docMk/>
            <pc:sldMk cId="708246685" sldId="2145705764"/>
            <ac:spMk id="68" creationId="{FBF89B51-8AF7-4504-9153-21F30339B1FB}"/>
          </ac:spMkLst>
        </pc:spChg>
        <pc:spChg chg="mod">
          <ac:chgData name="Ying Yang" userId="f1527f9b-a873-4aa2-b225-cf8fd3466e0d" providerId="ADAL" clId="{A11C78AC-DC75-447B-B78D-FA5B1F5D213F}" dt="2022-06-14T02:31:36.979" v="579" actId="404"/>
          <ac:spMkLst>
            <pc:docMk/>
            <pc:sldMk cId="708246685" sldId="2145705764"/>
            <ac:spMk id="70" creationId="{3E6FD9CF-029E-4354-AF02-1C741ADA9C28}"/>
          </ac:spMkLst>
        </pc:spChg>
        <pc:spChg chg="mod">
          <ac:chgData name="Ying Yang" userId="f1527f9b-a873-4aa2-b225-cf8fd3466e0d" providerId="ADAL" clId="{A11C78AC-DC75-447B-B78D-FA5B1F5D213F}" dt="2022-06-14T02:31:36.979" v="579" actId="404"/>
          <ac:spMkLst>
            <pc:docMk/>
            <pc:sldMk cId="708246685" sldId="2145705764"/>
            <ac:spMk id="71" creationId="{1AF903D4-A25E-4E8A-BCCF-4239DF731A49}"/>
          </ac:spMkLst>
        </pc:spChg>
        <pc:spChg chg="mod">
          <ac:chgData name="Ying Yang" userId="f1527f9b-a873-4aa2-b225-cf8fd3466e0d" providerId="ADAL" clId="{A11C78AC-DC75-447B-B78D-FA5B1F5D213F}" dt="2022-06-14T02:31:36.979" v="579" actId="404"/>
          <ac:spMkLst>
            <pc:docMk/>
            <pc:sldMk cId="708246685" sldId="2145705764"/>
            <ac:spMk id="72" creationId="{A706CE02-AD3C-4D55-BBFF-F16071EE48D8}"/>
          </ac:spMkLst>
        </pc:spChg>
        <pc:spChg chg="mod">
          <ac:chgData name="Ying Yang" userId="f1527f9b-a873-4aa2-b225-cf8fd3466e0d" providerId="ADAL" clId="{A11C78AC-DC75-447B-B78D-FA5B1F5D213F}" dt="2022-06-14T02:41:04.389" v="907" actId="1036"/>
          <ac:spMkLst>
            <pc:docMk/>
            <pc:sldMk cId="708246685" sldId="2145705764"/>
            <ac:spMk id="78" creationId="{B31BA8EE-8DC1-4A02-8341-0B1CD3552867}"/>
          </ac:spMkLst>
        </pc:spChg>
        <pc:spChg chg="mod">
          <ac:chgData name="Ying Yang" userId="f1527f9b-a873-4aa2-b225-cf8fd3466e0d" providerId="ADAL" clId="{A11C78AC-DC75-447B-B78D-FA5B1F5D213F}" dt="2022-06-14T02:33:39.234" v="710"/>
          <ac:spMkLst>
            <pc:docMk/>
            <pc:sldMk cId="708246685" sldId="2145705764"/>
            <ac:spMk id="80" creationId="{630D1F51-3307-48A4-A959-AAF5E46ACD75}"/>
          </ac:spMkLst>
        </pc:spChg>
        <pc:spChg chg="mod">
          <ac:chgData name="Ying Yang" userId="f1527f9b-a873-4aa2-b225-cf8fd3466e0d" providerId="ADAL" clId="{A11C78AC-DC75-447B-B78D-FA5B1F5D213F}" dt="2022-06-14T02:33:39.234" v="710"/>
          <ac:spMkLst>
            <pc:docMk/>
            <pc:sldMk cId="708246685" sldId="2145705764"/>
            <ac:spMk id="81" creationId="{50DA3A9F-B540-4DD8-BE3C-1A12E3A161BD}"/>
          </ac:spMkLst>
        </pc:spChg>
        <pc:spChg chg="mod">
          <ac:chgData name="Ying Yang" userId="f1527f9b-a873-4aa2-b225-cf8fd3466e0d" providerId="ADAL" clId="{A11C78AC-DC75-447B-B78D-FA5B1F5D213F}" dt="2022-06-14T02:33:39.234" v="710"/>
          <ac:spMkLst>
            <pc:docMk/>
            <pc:sldMk cId="708246685" sldId="2145705764"/>
            <ac:spMk id="82" creationId="{1EBC08A4-4649-4173-ADAC-206BA50DD4EE}"/>
          </ac:spMkLst>
        </pc:spChg>
        <pc:spChg chg="mod">
          <ac:chgData name="Ying Yang" userId="f1527f9b-a873-4aa2-b225-cf8fd3466e0d" providerId="ADAL" clId="{A11C78AC-DC75-447B-B78D-FA5B1F5D213F}" dt="2022-06-14T02:41:06.746" v="911" actId="1036"/>
          <ac:spMkLst>
            <pc:docMk/>
            <pc:sldMk cId="708246685" sldId="2145705764"/>
            <ac:spMk id="86" creationId="{973217FE-D24B-45E0-AFB9-8115621A897D}"/>
          </ac:spMkLst>
        </pc:spChg>
        <pc:spChg chg="mod">
          <ac:chgData name="Ying Yang" userId="f1527f9b-a873-4aa2-b225-cf8fd3466e0d" providerId="ADAL" clId="{A11C78AC-DC75-447B-B78D-FA5B1F5D213F}" dt="2022-06-14T02:35:14.124" v="777"/>
          <ac:spMkLst>
            <pc:docMk/>
            <pc:sldMk cId="708246685" sldId="2145705764"/>
            <ac:spMk id="88" creationId="{00A75EE8-DC32-47D8-9D74-F7FEFBBBA003}"/>
          </ac:spMkLst>
        </pc:spChg>
        <pc:spChg chg="mod">
          <ac:chgData name="Ying Yang" userId="f1527f9b-a873-4aa2-b225-cf8fd3466e0d" providerId="ADAL" clId="{A11C78AC-DC75-447B-B78D-FA5B1F5D213F}" dt="2022-06-14T02:35:14.124" v="777"/>
          <ac:spMkLst>
            <pc:docMk/>
            <pc:sldMk cId="708246685" sldId="2145705764"/>
            <ac:spMk id="89" creationId="{E24A908D-F95B-4299-83FE-8862572AE638}"/>
          </ac:spMkLst>
        </pc:spChg>
        <pc:spChg chg="mod">
          <ac:chgData name="Ying Yang" userId="f1527f9b-a873-4aa2-b225-cf8fd3466e0d" providerId="ADAL" clId="{A11C78AC-DC75-447B-B78D-FA5B1F5D213F}" dt="2022-06-14T02:35:14.124" v="777"/>
          <ac:spMkLst>
            <pc:docMk/>
            <pc:sldMk cId="708246685" sldId="2145705764"/>
            <ac:spMk id="90" creationId="{B93FA735-5F0E-4AE3-8663-6049B4912CBC}"/>
          </ac:spMkLst>
        </pc:spChg>
        <pc:spChg chg="mod">
          <ac:chgData name="Ying Yang" userId="f1527f9b-a873-4aa2-b225-cf8fd3466e0d" providerId="ADAL" clId="{A11C78AC-DC75-447B-B78D-FA5B1F5D213F}" dt="2022-06-14T02:41:08.749" v="916" actId="1036"/>
          <ac:spMkLst>
            <pc:docMk/>
            <pc:sldMk cId="708246685" sldId="2145705764"/>
            <ac:spMk id="94" creationId="{D7BFF13B-BF73-403C-8C59-E60363EEB05A}"/>
          </ac:spMkLst>
        </pc:spChg>
        <pc:spChg chg="mod">
          <ac:chgData name="Ying Yang" userId="f1527f9b-a873-4aa2-b225-cf8fd3466e0d" providerId="ADAL" clId="{A11C78AC-DC75-447B-B78D-FA5B1F5D213F}" dt="2022-06-14T02:35:45.200" v="791"/>
          <ac:spMkLst>
            <pc:docMk/>
            <pc:sldMk cId="708246685" sldId="2145705764"/>
            <ac:spMk id="96" creationId="{05B5A64F-67ED-4899-B801-1850A7CD914D}"/>
          </ac:spMkLst>
        </pc:spChg>
        <pc:spChg chg="mod">
          <ac:chgData name="Ying Yang" userId="f1527f9b-a873-4aa2-b225-cf8fd3466e0d" providerId="ADAL" clId="{A11C78AC-DC75-447B-B78D-FA5B1F5D213F}" dt="2022-06-14T02:35:45.200" v="791"/>
          <ac:spMkLst>
            <pc:docMk/>
            <pc:sldMk cId="708246685" sldId="2145705764"/>
            <ac:spMk id="97" creationId="{7B45A81A-ED2F-4609-922C-BD451C3813C1}"/>
          </ac:spMkLst>
        </pc:spChg>
        <pc:spChg chg="mod">
          <ac:chgData name="Ying Yang" userId="f1527f9b-a873-4aa2-b225-cf8fd3466e0d" providerId="ADAL" clId="{A11C78AC-DC75-447B-B78D-FA5B1F5D213F}" dt="2022-06-14T02:35:45.200" v="791"/>
          <ac:spMkLst>
            <pc:docMk/>
            <pc:sldMk cId="708246685" sldId="2145705764"/>
            <ac:spMk id="98" creationId="{176470A9-1AE6-45DE-9C53-3E01D868C915}"/>
          </ac:spMkLst>
        </pc:spChg>
        <pc:grpChg chg="add mod">
          <ac:chgData name="Ying Yang" userId="f1527f9b-a873-4aa2-b225-cf8fd3466e0d" providerId="ADAL" clId="{A11C78AC-DC75-447B-B78D-FA5B1F5D213F}" dt="2022-06-14T02:19:21.076" v="201"/>
          <ac:grpSpMkLst>
            <pc:docMk/>
            <pc:sldMk cId="708246685" sldId="2145705764"/>
            <ac:grpSpMk id="3" creationId="{BF6C2FCA-0FE2-4A12-A494-932593D03A31}"/>
          </ac:grpSpMkLst>
        </pc:grpChg>
        <pc:grpChg chg="mod">
          <ac:chgData name="Ying Yang" userId="f1527f9b-a873-4aa2-b225-cf8fd3466e0d" providerId="ADAL" clId="{A11C78AC-DC75-447B-B78D-FA5B1F5D213F}" dt="2022-06-14T02:19:21.076" v="201"/>
          <ac:grpSpMkLst>
            <pc:docMk/>
            <pc:sldMk cId="708246685" sldId="2145705764"/>
            <ac:grpSpMk id="5" creationId="{E97882E2-1056-478B-A6C8-0FC9CF87DDAB}"/>
          </ac:grpSpMkLst>
        </pc:grpChg>
        <pc:grpChg chg="mod">
          <ac:chgData name="Ying Yang" userId="f1527f9b-a873-4aa2-b225-cf8fd3466e0d" providerId="ADAL" clId="{A11C78AC-DC75-447B-B78D-FA5B1F5D213F}" dt="2022-06-14T02:19:21.076" v="201"/>
          <ac:grpSpMkLst>
            <pc:docMk/>
            <pc:sldMk cId="708246685" sldId="2145705764"/>
            <ac:grpSpMk id="6" creationId="{04FD421D-13A9-4CF8-BCF9-CDF2921A71C1}"/>
          </ac:grpSpMkLst>
        </pc:grpChg>
        <pc:grpChg chg="add del mod">
          <ac:chgData name="Ying Yang" userId="f1527f9b-a873-4aa2-b225-cf8fd3466e0d" providerId="ADAL" clId="{A11C78AC-DC75-447B-B78D-FA5B1F5D213F}" dt="2022-06-14T02:23:53.877" v="305" actId="165"/>
          <ac:grpSpMkLst>
            <pc:docMk/>
            <pc:sldMk cId="708246685" sldId="2145705764"/>
            <ac:grpSpMk id="11" creationId="{C0410EDC-8A42-4E95-B4AF-B44AA38EE275}"/>
          </ac:grpSpMkLst>
        </pc:grpChg>
        <pc:grpChg chg="mod ord topLvl">
          <ac:chgData name="Ying Yang" userId="f1527f9b-a873-4aa2-b225-cf8fd3466e0d" providerId="ADAL" clId="{A11C78AC-DC75-447B-B78D-FA5B1F5D213F}" dt="2022-06-14T02:38:22.935" v="844" actId="167"/>
          <ac:grpSpMkLst>
            <pc:docMk/>
            <pc:sldMk cId="708246685" sldId="2145705764"/>
            <ac:grpSpMk id="13" creationId="{D47600D7-BD9D-44DD-950B-2C388FED07FD}"/>
          </ac:grpSpMkLst>
        </pc:grpChg>
        <pc:grpChg chg="del mod topLvl">
          <ac:chgData name="Ying Yang" userId="f1527f9b-a873-4aa2-b225-cf8fd3466e0d" providerId="ADAL" clId="{A11C78AC-DC75-447B-B78D-FA5B1F5D213F}" dt="2022-06-14T02:24:03.132" v="306" actId="165"/>
          <ac:grpSpMkLst>
            <pc:docMk/>
            <pc:sldMk cId="708246685" sldId="2145705764"/>
            <ac:grpSpMk id="14" creationId="{70F83F07-3FE2-4CDE-86C8-B23018CAF259}"/>
          </ac:grpSpMkLst>
        </pc:grpChg>
        <pc:grpChg chg="del mod topLvl">
          <ac:chgData name="Ying Yang" userId="f1527f9b-a873-4aa2-b225-cf8fd3466e0d" providerId="ADAL" clId="{A11C78AC-DC75-447B-B78D-FA5B1F5D213F}" dt="2022-06-14T02:24:15.238" v="311" actId="165"/>
          <ac:grpSpMkLst>
            <pc:docMk/>
            <pc:sldMk cId="708246685" sldId="2145705764"/>
            <ac:grpSpMk id="16" creationId="{A51D5A27-48BA-4AED-96D9-8059B45D164B}"/>
          </ac:grpSpMkLst>
        </pc:grpChg>
        <pc:grpChg chg="del mod topLvl">
          <ac:chgData name="Ying Yang" userId="f1527f9b-a873-4aa2-b225-cf8fd3466e0d" providerId="ADAL" clId="{A11C78AC-DC75-447B-B78D-FA5B1F5D213F}" dt="2022-06-14T02:24:44.858" v="323" actId="478"/>
          <ac:grpSpMkLst>
            <pc:docMk/>
            <pc:sldMk cId="708246685" sldId="2145705764"/>
            <ac:grpSpMk id="17" creationId="{C09D64F1-CA5B-49CB-97FB-592B23AEEF2B}"/>
          </ac:grpSpMkLst>
        </pc:grpChg>
        <pc:grpChg chg="del mod topLvl">
          <ac:chgData name="Ying Yang" userId="f1527f9b-a873-4aa2-b225-cf8fd3466e0d" providerId="ADAL" clId="{A11C78AC-DC75-447B-B78D-FA5B1F5D213F}" dt="2022-06-14T02:24:59.329" v="327" actId="478"/>
          <ac:grpSpMkLst>
            <pc:docMk/>
            <pc:sldMk cId="708246685" sldId="2145705764"/>
            <ac:grpSpMk id="18" creationId="{29E1B765-4037-48D9-AFF2-E2E793F6D36A}"/>
          </ac:grpSpMkLst>
        </pc:grpChg>
        <pc:grpChg chg="del mod">
          <ac:chgData name="Ying Yang" userId="f1527f9b-a873-4aa2-b225-cf8fd3466e0d" providerId="ADAL" clId="{A11C78AC-DC75-447B-B78D-FA5B1F5D213F}" dt="2022-06-14T02:24:41.226" v="321" actId="478"/>
          <ac:grpSpMkLst>
            <pc:docMk/>
            <pc:sldMk cId="708246685" sldId="2145705764"/>
            <ac:grpSpMk id="21" creationId="{2F4F6338-5D18-4F35-85B7-661ECBEB88CF}"/>
          </ac:grpSpMkLst>
        </pc:grpChg>
        <pc:grpChg chg="del mod">
          <ac:chgData name="Ying Yang" userId="f1527f9b-a873-4aa2-b225-cf8fd3466e0d" providerId="ADAL" clId="{A11C78AC-DC75-447B-B78D-FA5B1F5D213F}" dt="2022-06-14T02:24:39.844" v="320" actId="478"/>
          <ac:grpSpMkLst>
            <pc:docMk/>
            <pc:sldMk cId="708246685" sldId="2145705764"/>
            <ac:grpSpMk id="22" creationId="{5BE36917-00F9-4B28-AB57-BB4A5CC9FC5A}"/>
          </ac:grpSpMkLst>
        </pc:grpChg>
        <pc:grpChg chg="mod">
          <ac:chgData name="Ying Yang" userId="f1527f9b-a873-4aa2-b225-cf8fd3466e0d" providerId="ADAL" clId="{A11C78AC-DC75-447B-B78D-FA5B1F5D213F}" dt="2022-06-14T02:24:03.132" v="306" actId="165"/>
          <ac:grpSpMkLst>
            <pc:docMk/>
            <pc:sldMk cId="708246685" sldId="2145705764"/>
            <ac:grpSpMk id="27" creationId="{E6186476-6FF8-41AB-8496-AB8C971DEF3D}"/>
          </ac:grpSpMkLst>
        </pc:grpChg>
        <pc:grpChg chg="del mod">
          <ac:chgData name="Ying Yang" userId="f1527f9b-a873-4aa2-b225-cf8fd3466e0d" providerId="ADAL" clId="{A11C78AC-DC75-447B-B78D-FA5B1F5D213F}" dt="2022-06-14T02:24:43.155" v="322" actId="478"/>
          <ac:grpSpMkLst>
            <pc:docMk/>
            <pc:sldMk cId="708246685" sldId="2145705764"/>
            <ac:grpSpMk id="28" creationId="{84C40135-446E-4237-818A-BE15646FB9F6}"/>
          </ac:grpSpMkLst>
        </pc:grpChg>
        <pc:grpChg chg="mod topLvl">
          <ac:chgData name="Ying Yang" userId="f1527f9b-a873-4aa2-b225-cf8fd3466e0d" providerId="ADAL" clId="{A11C78AC-DC75-447B-B78D-FA5B1F5D213F}" dt="2022-06-14T02:24:33.087" v="317" actId="164"/>
          <ac:grpSpMkLst>
            <pc:docMk/>
            <pc:sldMk cId="708246685" sldId="2145705764"/>
            <ac:grpSpMk id="32" creationId="{C378CB77-59D5-43A8-AE6B-CC3FB77B47DA}"/>
          </ac:grpSpMkLst>
        </pc:grpChg>
        <pc:grpChg chg="mod">
          <ac:chgData name="Ying Yang" userId="f1527f9b-a873-4aa2-b225-cf8fd3466e0d" providerId="ADAL" clId="{A11C78AC-DC75-447B-B78D-FA5B1F5D213F}" dt="2022-06-14T02:24:15.238" v="311" actId="165"/>
          <ac:grpSpMkLst>
            <pc:docMk/>
            <pc:sldMk cId="708246685" sldId="2145705764"/>
            <ac:grpSpMk id="34" creationId="{6D911055-5663-4332-9492-8BB03DFA45D3}"/>
          </ac:grpSpMkLst>
        </pc:grpChg>
        <pc:grpChg chg="add mod">
          <ac:chgData name="Ying Yang" userId="f1527f9b-a873-4aa2-b225-cf8fd3466e0d" providerId="ADAL" clId="{A11C78AC-DC75-447B-B78D-FA5B1F5D213F}" dt="2022-06-14T02:41:26.356" v="925" actId="552"/>
          <ac:grpSpMkLst>
            <pc:docMk/>
            <pc:sldMk cId="708246685" sldId="2145705764"/>
            <ac:grpSpMk id="40" creationId="{C49C1902-A4B8-4533-92DA-0EAEE0E4298E}"/>
          </ac:grpSpMkLst>
        </pc:grpChg>
        <pc:grpChg chg="add mod">
          <ac:chgData name="Ying Yang" userId="f1527f9b-a873-4aa2-b225-cf8fd3466e0d" providerId="ADAL" clId="{A11C78AC-DC75-447B-B78D-FA5B1F5D213F}" dt="2022-06-14T02:41:27.867" v="926" actId="465"/>
          <ac:grpSpMkLst>
            <pc:docMk/>
            <pc:sldMk cId="708246685" sldId="2145705764"/>
            <ac:grpSpMk id="41" creationId="{C2D36E68-14E0-4BC2-B922-731F1A214A2A}"/>
          </ac:grpSpMkLst>
        </pc:grpChg>
        <pc:grpChg chg="mod">
          <ac:chgData name="Ying Yang" userId="f1527f9b-a873-4aa2-b225-cf8fd3466e0d" providerId="ADAL" clId="{A11C78AC-DC75-447B-B78D-FA5B1F5D213F}" dt="2022-06-14T02:24:34.899" v="318"/>
          <ac:grpSpMkLst>
            <pc:docMk/>
            <pc:sldMk cId="708246685" sldId="2145705764"/>
            <ac:grpSpMk id="43" creationId="{57CB77E1-FE1E-4D1B-9440-A95BC249E19C}"/>
          </ac:grpSpMkLst>
        </pc:grpChg>
        <pc:grpChg chg="mod">
          <ac:chgData name="Ying Yang" userId="f1527f9b-a873-4aa2-b225-cf8fd3466e0d" providerId="ADAL" clId="{A11C78AC-DC75-447B-B78D-FA5B1F5D213F}" dt="2022-06-14T02:24:34.899" v="318"/>
          <ac:grpSpMkLst>
            <pc:docMk/>
            <pc:sldMk cId="708246685" sldId="2145705764"/>
            <ac:grpSpMk id="45" creationId="{7C807656-BCC3-4E25-B7FB-783E21C5F39C}"/>
          </ac:grpSpMkLst>
        </pc:grpChg>
        <pc:grpChg chg="add mod">
          <ac:chgData name="Ying Yang" userId="f1527f9b-a873-4aa2-b225-cf8fd3466e0d" providerId="ADAL" clId="{A11C78AC-DC75-447B-B78D-FA5B1F5D213F}" dt="2022-06-14T02:41:27.867" v="926" actId="465"/>
          <ac:grpSpMkLst>
            <pc:docMk/>
            <pc:sldMk cId="708246685" sldId="2145705764"/>
            <ac:grpSpMk id="49" creationId="{4CFD81C3-B6A8-468D-B6C8-DF6B66371107}"/>
          </ac:grpSpMkLst>
        </pc:grpChg>
        <pc:grpChg chg="mod">
          <ac:chgData name="Ying Yang" userId="f1527f9b-a873-4aa2-b225-cf8fd3466e0d" providerId="ADAL" clId="{A11C78AC-DC75-447B-B78D-FA5B1F5D213F}" dt="2022-06-14T02:26:12.568" v="355"/>
          <ac:grpSpMkLst>
            <pc:docMk/>
            <pc:sldMk cId="708246685" sldId="2145705764"/>
            <ac:grpSpMk id="51" creationId="{D1FCEC45-3D15-4A54-B0BD-A77210E5B80E}"/>
          </ac:grpSpMkLst>
        </pc:grpChg>
        <pc:grpChg chg="mod">
          <ac:chgData name="Ying Yang" userId="f1527f9b-a873-4aa2-b225-cf8fd3466e0d" providerId="ADAL" clId="{A11C78AC-DC75-447B-B78D-FA5B1F5D213F}" dt="2022-06-14T02:26:12.568" v="355"/>
          <ac:grpSpMkLst>
            <pc:docMk/>
            <pc:sldMk cId="708246685" sldId="2145705764"/>
            <ac:grpSpMk id="53" creationId="{DF82D96B-A12F-4F0A-8390-EE9F5EFF79AB}"/>
          </ac:grpSpMkLst>
        </pc:grpChg>
        <pc:grpChg chg="add mod">
          <ac:chgData name="Ying Yang" userId="f1527f9b-a873-4aa2-b225-cf8fd3466e0d" providerId="ADAL" clId="{A11C78AC-DC75-447B-B78D-FA5B1F5D213F}" dt="2022-06-14T02:41:27.867" v="926" actId="465"/>
          <ac:grpSpMkLst>
            <pc:docMk/>
            <pc:sldMk cId="708246685" sldId="2145705764"/>
            <ac:grpSpMk id="57" creationId="{F2539640-FE5E-45AF-8471-5E31993BEACE}"/>
          </ac:grpSpMkLst>
        </pc:grpChg>
        <pc:grpChg chg="mod">
          <ac:chgData name="Ying Yang" userId="f1527f9b-a873-4aa2-b225-cf8fd3466e0d" providerId="ADAL" clId="{A11C78AC-DC75-447B-B78D-FA5B1F5D213F}" dt="2022-06-14T02:27:14.433" v="410"/>
          <ac:grpSpMkLst>
            <pc:docMk/>
            <pc:sldMk cId="708246685" sldId="2145705764"/>
            <ac:grpSpMk id="59" creationId="{69E8137A-BE66-4FD1-BADD-C30600601659}"/>
          </ac:grpSpMkLst>
        </pc:grpChg>
        <pc:grpChg chg="mod">
          <ac:chgData name="Ying Yang" userId="f1527f9b-a873-4aa2-b225-cf8fd3466e0d" providerId="ADAL" clId="{A11C78AC-DC75-447B-B78D-FA5B1F5D213F}" dt="2022-06-14T02:27:14.433" v="410"/>
          <ac:grpSpMkLst>
            <pc:docMk/>
            <pc:sldMk cId="708246685" sldId="2145705764"/>
            <ac:grpSpMk id="61" creationId="{2E0B6F2B-D0CF-473E-9430-7798C7C3B925}"/>
          </ac:grpSpMkLst>
        </pc:grpChg>
        <pc:grpChg chg="add mod">
          <ac:chgData name="Ying Yang" userId="f1527f9b-a873-4aa2-b225-cf8fd3466e0d" providerId="ADAL" clId="{A11C78AC-DC75-447B-B78D-FA5B1F5D213F}" dt="2022-06-14T02:41:27.867" v="926" actId="465"/>
          <ac:grpSpMkLst>
            <pc:docMk/>
            <pc:sldMk cId="708246685" sldId="2145705764"/>
            <ac:grpSpMk id="65" creationId="{733383AC-98B9-4D55-8C80-D1F7705BA131}"/>
          </ac:grpSpMkLst>
        </pc:grpChg>
        <pc:grpChg chg="mod">
          <ac:chgData name="Ying Yang" userId="f1527f9b-a873-4aa2-b225-cf8fd3466e0d" providerId="ADAL" clId="{A11C78AC-DC75-447B-B78D-FA5B1F5D213F}" dt="2022-06-14T02:28:27.601" v="520"/>
          <ac:grpSpMkLst>
            <pc:docMk/>
            <pc:sldMk cId="708246685" sldId="2145705764"/>
            <ac:grpSpMk id="67" creationId="{34F6286B-6E98-4320-A9DB-A96CA096E79E}"/>
          </ac:grpSpMkLst>
        </pc:grpChg>
        <pc:grpChg chg="mod">
          <ac:chgData name="Ying Yang" userId="f1527f9b-a873-4aa2-b225-cf8fd3466e0d" providerId="ADAL" clId="{A11C78AC-DC75-447B-B78D-FA5B1F5D213F}" dt="2022-06-14T02:28:27.601" v="520"/>
          <ac:grpSpMkLst>
            <pc:docMk/>
            <pc:sldMk cId="708246685" sldId="2145705764"/>
            <ac:grpSpMk id="69" creationId="{E386B1D6-7E6F-4900-9010-3B5425B80801}"/>
          </ac:grpSpMkLst>
        </pc:grpChg>
        <pc:grpChg chg="add mod">
          <ac:chgData name="Ying Yang" userId="f1527f9b-a873-4aa2-b225-cf8fd3466e0d" providerId="ADAL" clId="{A11C78AC-DC75-447B-B78D-FA5B1F5D213F}" dt="2022-06-14T02:41:27.867" v="926" actId="465"/>
          <ac:grpSpMkLst>
            <pc:docMk/>
            <pc:sldMk cId="708246685" sldId="2145705764"/>
            <ac:grpSpMk id="75" creationId="{394CED9D-4431-48F9-97AA-69316E47BEA1}"/>
          </ac:grpSpMkLst>
        </pc:grpChg>
        <pc:grpChg chg="mod">
          <ac:chgData name="Ying Yang" userId="f1527f9b-a873-4aa2-b225-cf8fd3466e0d" providerId="ADAL" clId="{A11C78AC-DC75-447B-B78D-FA5B1F5D213F}" dt="2022-06-14T02:33:39.234" v="710"/>
          <ac:grpSpMkLst>
            <pc:docMk/>
            <pc:sldMk cId="708246685" sldId="2145705764"/>
            <ac:grpSpMk id="77" creationId="{6B24DF15-5E6B-4D15-BCD3-021D5AB155E1}"/>
          </ac:grpSpMkLst>
        </pc:grpChg>
        <pc:grpChg chg="mod">
          <ac:chgData name="Ying Yang" userId="f1527f9b-a873-4aa2-b225-cf8fd3466e0d" providerId="ADAL" clId="{A11C78AC-DC75-447B-B78D-FA5B1F5D213F}" dt="2022-06-14T02:33:39.234" v="710"/>
          <ac:grpSpMkLst>
            <pc:docMk/>
            <pc:sldMk cId="708246685" sldId="2145705764"/>
            <ac:grpSpMk id="79" creationId="{B0BC76BD-0165-4F34-A5ED-2036A57E6A2E}"/>
          </ac:grpSpMkLst>
        </pc:grpChg>
        <pc:grpChg chg="add mod">
          <ac:chgData name="Ying Yang" userId="f1527f9b-a873-4aa2-b225-cf8fd3466e0d" providerId="ADAL" clId="{A11C78AC-DC75-447B-B78D-FA5B1F5D213F}" dt="2022-06-14T02:41:27.867" v="926" actId="465"/>
          <ac:grpSpMkLst>
            <pc:docMk/>
            <pc:sldMk cId="708246685" sldId="2145705764"/>
            <ac:grpSpMk id="83" creationId="{F5A60BAF-98F8-4E21-861E-A7B6BBFEF01A}"/>
          </ac:grpSpMkLst>
        </pc:grpChg>
        <pc:grpChg chg="mod">
          <ac:chgData name="Ying Yang" userId="f1527f9b-a873-4aa2-b225-cf8fd3466e0d" providerId="ADAL" clId="{A11C78AC-DC75-447B-B78D-FA5B1F5D213F}" dt="2022-06-14T02:35:14.124" v="777"/>
          <ac:grpSpMkLst>
            <pc:docMk/>
            <pc:sldMk cId="708246685" sldId="2145705764"/>
            <ac:grpSpMk id="85" creationId="{8EFC18EF-2D3E-441A-B380-9F9396518ADB}"/>
          </ac:grpSpMkLst>
        </pc:grpChg>
        <pc:grpChg chg="mod">
          <ac:chgData name="Ying Yang" userId="f1527f9b-a873-4aa2-b225-cf8fd3466e0d" providerId="ADAL" clId="{A11C78AC-DC75-447B-B78D-FA5B1F5D213F}" dt="2022-06-14T02:35:14.124" v="777"/>
          <ac:grpSpMkLst>
            <pc:docMk/>
            <pc:sldMk cId="708246685" sldId="2145705764"/>
            <ac:grpSpMk id="87" creationId="{EEA65D6C-6132-4344-8528-F7373B4BB250}"/>
          </ac:grpSpMkLst>
        </pc:grpChg>
        <pc:grpChg chg="add mod">
          <ac:chgData name="Ying Yang" userId="f1527f9b-a873-4aa2-b225-cf8fd3466e0d" providerId="ADAL" clId="{A11C78AC-DC75-447B-B78D-FA5B1F5D213F}" dt="2022-06-14T02:41:26.356" v="925" actId="552"/>
          <ac:grpSpMkLst>
            <pc:docMk/>
            <pc:sldMk cId="708246685" sldId="2145705764"/>
            <ac:grpSpMk id="91" creationId="{BAACEA22-F98D-4B1C-BA95-21CA4B7E2120}"/>
          </ac:grpSpMkLst>
        </pc:grpChg>
        <pc:grpChg chg="mod">
          <ac:chgData name="Ying Yang" userId="f1527f9b-a873-4aa2-b225-cf8fd3466e0d" providerId="ADAL" clId="{A11C78AC-DC75-447B-B78D-FA5B1F5D213F}" dt="2022-06-14T02:35:45.200" v="791"/>
          <ac:grpSpMkLst>
            <pc:docMk/>
            <pc:sldMk cId="708246685" sldId="2145705764"/>
            <ac:grpSpMk id="93" creationId="{7075AAEE-575B-4386-8E0E-E615C42F297A}"/>
          </ac:grpSpMkLst>
        </pc:grpChg>
        <pc:grpChg chg="mod">
          <ac:chgData name="Ying Yang" userId="f1527f9b-a873-4aa2-b225-cf8fd3466e0d" providerId="ADAL" clId="{A11C78AC-DC75-447B-B78D-FA5B1F5D213F}" dt="2022-06-14T02:35:45.200" v="791"/>
          <ac:grpSpMkLst>
            <pc:docMk/>
            <pc:sldMk cId="708246685" sldId="2145705764"/>
            <ac:grpSpMk id="95" creationId="{4E500C7C-68C5-4842-A7F9-F880E3590E01}"/>
          </ac:grpSpMkLst>
        </pc:grpChg>
        <pc:cxnChg chg="mod">
          <ac:chgData name="Ying Yang" userId="f1527f9b-a873-4aa2-b225-cf8fd3466e0d" providerId="ADAL" clId="{A11C78AC-DC75-447B-B78D-FA5B1F5D213F}" dt="2022-06-14T02:19:21.076" v="201"/>
          <ac:cxnSpMkLst>
            <pc:docMk/>
            <pc:sldMk cId="708246685" sldId="2145705764"/>
            <ac:cxnSpMk id="7" creationId="{319E4C12-2D6A-4396-B209-AD7042258E75}"/>
          </ac:cxnSpMkLst>
        </pc:cxnChg>
        <pc:cxnChg chg="mod">
          <ac:chgData name="Ying Yang" userId="f1527f9b-a873-4aa2-b225-cf8fd3466e0d" providerId="ADAL" clId="{A11C78AC-DC75-447B-B78D-FA5B1F5D213F}" dt="2022-06-14T02:19:21.076" v="201"/>
          <ac:cxnSpMkLst>
            <pc:docMk/>
            <pc:sldMk cId="708246685" sldId="2145705764"/>
            <ac:cxnSpMk id="8" creationId="{DB6F2750-24F1-442D-8097-4BF745283B0D}"/>
          </ac:cxnSpMkLst>
        </pc:cxnChg>
        <pc:cxnChg chg="mod topLvl">
          <ac:chgData name="Ying Yang" userId="f1527f9b-a873-4aa2-b225-cf8fd3466e0d" providerId="ADAL" clId="{A11C78AC-DC75-447B-B78D-FA5B1F5D213F}" dt="2022-06-14T02:37:22.608" v="838" actId="14100"/>
          <ac:cxnSpMkLst>
            <pc:docMk/>
            <pc:sldMk cId="708246685" sldId="2145705764"/>
            <ac:cxnSpMk id="15" creationId="{5C467663-658A-4EBD-9242-38415848FB64}"/>
          </ac:cxnSpMkLst>
        </pc:cxnChg>
        <pc:cxnChg chg="del mod topLvl">
          <ac:chgData name="Ying Yang" userId="f1527f9b-a873-4aa2-b225-cf8fd3466e0d" providerId="ADAL" clId="{A11C78AC-DC75-447B-B78D-FA5B1F5D213F}" dt="2022-06-14T02:25:30.032" v="337" actId="478"/>
          <ac:cxnSpMkLst>
            <pc:docMk/>
            <pc:sldMk cId="708246685" sldId="2145705764"/>
            <ac:cxnSpMk id="19" creationId="{2B24FE16-CF03-4447-B4A5-28FC928D842D}"/>
          </ac:cxnSpMkLst>
        </pc:cxnChg>
        <pc:cxnChg chg="mod">
          <ac:chgData name="Ying Yang" userId="f1527f9b-a873-4aa2-b225-cf8fd3466e0d" providerId="ADAL" clId="{A11C78AC-DC75-447B-B78D-FA5B1F5D213F}" dt="2022-06-14T02:38:37.112" v="854" actId="14100"/>
          <ac:cxnSpMkLst>
            <pc:docMk/>
            <pc:sldMk cId="708246685" sldId="2145705764"/>
            <ac:cxnSpMk id="42" creationId="{33CAAB2A-9787-4196-AE13-69D9CACEA396}"/>
          </ac:cxnSpMkLst>
        </pc:cxnChg>
        <pc:cxnChg chg="mod">
          <ac:chgData name="Ying Yang" userId="f1527f9b-a873-4aa2-b225-cf8fd3466e0d" providerId="ADAL" clId="{A11C78AC-DC75-447B-B78D-FA5B1F5D213F}" dt="2022-06-14T02:38:54.093" v="869" actId="14100"/>
          <ac:cxnSpMkLst>
            <pc:docMk/>
            <pc:sldMk cId="708246685" sldId="2145705764"/>
            <ac:cxnSpMk id="50" creationId="{6B739DAD-6BB3-44A0-A0E4-18870728B153}"/>
          </ac:cxnSpMkLst>
        </pc:cxnChg>
        <pc:cxnChg chg="mod">
          <ac:chgData name="Ying Yang" userId="f1527f9b-a873-4aa2-b225-cf8fd3466e0d" providerId="ADAL" clId="{A11C78AC-DC75-447B-B78D-FA5B1F5D213F}" dt="2022-06-14T02:39:12.200" v="870" actId="14100"/>
          <ac:cxnSpMkLst>
            <pc:docMk/>
            <pc:sldMk cId="708246685" sldId="2145705764"/>
            <ac:cxnSpMk id="58" creationId="{D543AC88-CB23-4D6D-A72D-E3F0C8858925}"/>
          </ac:cxnSpMkLst>
        </pc:cxnChg>
        <pc:cxnChg chg="mod">
          <ac:chgData name="Ying Yang" userId="f1527f9b-a873-4aa2-b225-cf8fd3466e0d" providerId="ADAL" clId="{A11C78AC-DC75-447B-B78D-FA5B1F5D213F}" dt="2022-06-14T02:39:24.410" v="874" actId="14100"/>
          <ac:cxnSpMkLst>
            <pc:docMk/>
            <pc:sldMk cId="708246685" sldId="2145705764"/>
            <ac:cxnSpMk id="66" creationId="{7713F48E-E0E1-48CF-B5A4-A4DC23963DC0}"/>
          </ac:cxnSpMkLst>
        </pc:cxnChg>
        <pc:cxnChg chg="mod">
          <ac:chgData name="Ying Yang" userId="f1527f9b-a873-4aa2-b225-cf8fd3466e0d" providerId="ADAL" clId="{A11C78AC-DC75-447B-B78D-FA5B1F5D213F}" dt="2022-06-14T02:40:55.045" v="900" actId="14100"/>
          <ac:cxnSpMkLst>
            <pc:docMk/>
            <pc:sldMk cId="708246685" sldId="2145705764"/>
            <ac:cxnSpMk id="76" creationId="{F3D15A1F-24AC-485B-AEBB-CFB7425D628F}"/>
          </ac:cxnSpMkLst>
        </pc:cxnChg>
        <pc:cxnChg chg="mod">
          <ac:chgData name="Ying Yang" userId="f1527f9b-a873-4aa2-b225-cf8fd3466e0d" providerId="ADAL" clId="{A11C78AC-DC75-447B-B78D-FA5B1F5D213F}" dt="2022-06-14T02:40:03.934" v="884" actId="14100"/>
          <ac:cxnSpMkLst>
            <pc:docMk/>
            <pc:sldMk cId="708246685" sldId="2145705764"/>
            <ac:cxnSpMk id="84" creationId="{D8B4F00D-4D2B-41B8-B009-97C7AF57D5F4}"/>
          </ac:cxnSpMkLst>
        </pc:cxnChg>
        <pc:cxnChg chg="mod">
          <ac:chgData name="Ying Yang" userId="f1527f9b-a873-4aa2-b225-cf8fd3466e0d" providerId="ADAL" clId="{A11C78AC-DC75-447B-B78D-FA5B1F5D213F}" dt="2022-06-14T02:40:32.824" v="892" actId="14100"/>
          <ac:cxnSpMkLst>
            <pc:docMk/>
            <pc:sldMk cId="708246685" sldId="2145705764"/>
            <ac:cxnSpMk id="92" creationId="{4BF26908-4A0C-42DB-9D64-65D979671B45}"/>
          </ac:cxnSpMkLst>
        </pc:cxn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628938621891552E-2"/>
          <c:y val="4.7879776510670796E-2"/>
          <c:w val="0.89157878958942793"/>
          <c:h val="0.69068490758084045"/>
        </c:manualLayout>
      </c:layout>
      <c:barChart>
        <c:barDir val="col"/>
        <c:grouping val="stacked"/>
        <c:varyColors val="0"/>
        <c:ser>
          <c:idx val="0"/>
          <c:order val="0"/>
          <c:tx>
            <c:strRef>
              <c:f>Sheet1!$B$1</c:f>
              <c:strCache>
                <c:ptCount val="1"/>
                <c:pt idx="0">
                  <c:v>Series 1</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invertIfNegative val="0"/>
          <c:dLbls>
            <c:delete val="1"/>
          </c:dLbls>
          <c:cat>
            <c:numRef>
              <c:f>Sheet1!$A$2:$A$31</c:f>
              <c:numCache>
                <c:formatCode>General</c:formatCode>
                <c:ptCount val="30"/>
                <c:pt idx="0">
                  <c:v>1990</c:v>
                </c:pt>
                <c:pt idx="1">
                  <c:v>1991</c:v>
                </c:pt>
                <c:pt idx="2">
                  <c:v>1992</c:v>
                </c:pt>
                <c:pt idx="3">
                  <c:v>1993</c:v>
                </c:pt>
                <c:pt idx="4">
                  <c:v>1994</c:v>
                </c:pt>
                <c:pt idx="5">
                  <c:v>1995</c:v>
                </c:pt>
                <c:pt idx="6">
                  <c:v>1996</c:v>
                </c:pt>
                <c:pt idx="7">
                  <c:v>1997</c:v>
                </c:pt>
                <c:pt idx="8">
                  <c:v>1998</c:v>
                </c:pt>
                <c:pt idx="9">
                  <c:v>1999</c:v>
                </c:pt>
                <c:pt idx="10">
                  <c:v>2000</c:v>
                </c:pt>
                <c:pt idx="11">
                  <c:v>2001</c:v>
                </c:pt>
                <c:pt idx="12">
                  <c:v>2002</c:v>
                </c:pt>
                <c:pt idx="13">
                  <c:v>2003</c:v>
                </c:pt>
                <c:pt idx="14">
                  <c:v>2004</c:v>
                </c:pt>
                <c:pt idx="15">
                  <c:v>2005</c:v>
                </c:pt>
                <c:pt idx="16">
                  <c:v>2006</c:v>
                </c:pt>
                <c:pt idx="17">
                  <c:v>2007</c:v>
                </c:pt>
                <c:pt idx="18">
                  <c:v>2008</c:v>
                </c:pt>
                <c:pt idx="19">
                  <c:v>2009</c:v>
                </c:pt>
                <c:pt idx="20">
                  <c:v>2010</c:v>
                </c:pt>
                <c:pt idx="21">
                  <c:v>2011</c:v>
                </c:pt>
                <c:pt idx="22">
                  <c:v>2012</c:v>
                </c:pt>
                <c:pt idx="23">
                  <c:v>2013</c:v>
                </c:pt>
                <c:pt idx="24">
                  <c:v>2014</c:v>
                </c:pt>
                <c:pt idx="25">
                  <c:v>2015</c:v>
                </c:pt>
                <c:pt idx="26">
                  <c:v>2016</c:v>
                </c:pt>
                <c:pt idx="27">
                  <c:v>2017</c:v>
                </c:pt>
                <c:pt idx="29">
                  <c:v>2035</c:v>
                </c:pt>
              </c:numCache>
            </c:numRef>
          </c:cat>
          <c:val>
            <c:numRef>
              <c:f>Sheet1!$B$2:$B$31</c:f>
              <c:numCache>
                <c:formatCode>0%</c:formatCode>
                <c:ptCount val="30"/>
                <c:pt idx="0">
                  <c:v>6.4000000000000001E-2</c:v>
                </c:pt>
                <c:pt idx="1">
                  <c:v>7.2999999999999995E-2</c:v>
                </c:pt>
                <c:pt idx="2">
                  <c:v>7.6999999999999999E-2</c:v>
                </c:pt>
                <c:pt idx="3">
                  <c:v>7.3999999999999996E-2</c:v>
                </c:pt>
                <c:pt idx="4">
                  <c:v>8.7000000000000008E-2</c:v>
                </c:pt>
                <c:pt idx="5">
                  <c:v>8.8999999999999996E-2</c:v>
                </c:pt>
                <c:pt idx="6">
                  <c:v>9.2999999999999999E-2</c:v>
                </c:pt>
                <c:pt idx="7">
                  <c:v>0.1</c:v>
                </c:pt>
                <c:pt idx="8">
                  <c:v>0.11600000000000001</c:v>
                </c:pt>
                <c:pt idx="9">
                  <c:v>0.13400000000000001</c:v>
                </c:pt>
                <c:pt idx="10">
                  <c:v>0.14100000000000001</c:v>
                </c:pt>
                <c:pt idx="11">
                  <c:v>0.161</c:v>
                </c:pt>
                <c:pt idx="12">
                  <c:v>0.16</c:v>
                </c:pt>
                <c:pt idx="13">
                  <c:v>0.18099999999999999</c:v>
                </c:pt>
                <c:pt idx="14">
                  <c:v>0.186</c:v>
                </c:pt>
                <c:pt idx="15">
                  <c:v>0.19900000000000001</c:v>
                </c:pt>
                <c:pt idx="16">
                  <c:v>0.218</c:v>
                </c:pt>
                <c:pt idx="17">
                  <c:v>0.23500000000000001</c:v>
                </c:pt>
                <c:pt idx="18">
                  <c:v>0.251</c:v>
                </c:pt>
                <c:pt idx="19">
                  <c:v>0.26700000000000002</c:v>
                </c:pt>
                <c:pt idx="20">
                  <c:v>0.28700000000000003</c:v>
                </c:pt>
                <c:pt idx="21">
                  <c:v>0.30000000000000004</c:v>
                </c:pt>
                <c:pt idx="22">
                  <c:v>0.33</c:v>
                </c:pt>
                <c:pt idx="23">
                  <c:v>0.34300000000000003</c:v>
                </c:pt>
                <c:pt idx="24">
                  <c:v>0.36499999999999999</c:v>
                </c:pt>
                <c:pt idx="25">
                  <c:v>0.376</c:v>
                </c:pt>
                <c:pt idx="26">
                  <c:v>0.40800000000000003</c:v>
                </c:pt>
                <c:pt idx="27">
                  <c:v>0.41200000000000003</c:v>
                </c:pt>
                <c:pt idx="28">
                  <c:v>0</c:v>
                </c:pt>
                <c:pt idx="29">
                  <c:v>0.76</c:v>
                </c:pt>
              </c:numCache>
            </c:numRef>
          </c:val>
          <c:extLst>
            <c:ext xmlns:c16="http://schemas.microsoft.com/office/drawing/2014/chart" uri="{C3380CC4-5D6E-409C-BE32-E72D297353CC}">
              <c16:uniqueId val="{00000000-2DA8-421B-9F46-AFFE84BDF7D6}"/>
            </c:ext>
          </c:extLst>
        </c:ser>
        <c:dLbls>
          <c:dLblPos val="ctr"/>
          <c:showLegendKey val="0"/>
          <c:showVal val="1"/>
          <c:showCatName val="0"/>
          <c:showSerName val="0"/>
          <c:showPercent val="0"/>
          <c:showBubbleSize val="0"/>
        </c:dLbls>
        <c:gapWidth val="100"/>
        <c:overlap val="100"/>
        <c:axId val="1464186672"/>
        <c:axId val="1464121744"/>
      </c:barChart>
      <c:catAx>
        <c:axId val="1464186672"/>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2700000" spcFirstLastPara="1" vertOverflow="ellipsis" wrap="square" anchor="ctr" anchorCtr="1"/>
          <a:lstStyle/>
          <a:p>
            <a:pPr>
              <a:defRPr sz="900" b="0" i="0" u="none" strike="noStrike" kern="1200" baseline="0">
                <a:solidFill>
                  <a:schemeClr val="tx2"/>
                </a:solidFill>
                <a:latin typeface="+mn-lt"/>
                <a:ea typeface="+mn-ea"/>
                <a:cs typeface="+mn-cs"/>
              </a:defRPr>
            </a:pPr>
            <a:endParaRPr lang="en-US"/>
          </a:p>
        </c:txPr>
        <c:crossAx val="1464121744"/>
        <c:crosses val="autoZero"/>
        <c:auto val="1"/>
        <c:lblAlgn val="ctr"/>
        <c:lblOffset val="100"/>
        <c:noMultiLvlLbl val="0"/>
      </c:catAx>
      <c:valAx>
        <c:axId val="1464121744"/>
        <c:scaling>
          <c:orientation val="minMax"/>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a:defRPr sz="900" b="1" i="0" u="none" strike="noStrike" kern="1200" baseline="0">
                    <a:solidFill>
                      <a:schemeClr val="tx2"/>
                    </a:solidFill>
                    <a:latin typeface="+mn-lt"/>
                    <a:ea typeface="+mn-ea"/>
                    <a:cs typeface="+mn-cs"/>
                  </a:defRPr>
                </a:pPr>
                <a:r>
                  <a:rPr lang="en-US" sz="900" dirty="0">
                    <a:latin typeface="Times New Roman" panose="02020603050405020304" pitchFamily="18" charset="0"/>
                    <a:ea typeface="微软雅黑" panose="020B0503020204020204" pitchFamily="34" charset="-122"/>
                    <a:cs typeface="Times New Roman" panose="02020603050405020304" pitchFamily="18" charset="0"/>
                  </a:rPr>
                  <a:t>≥50 years </a:t>
                </a:r>
                <a:r>
                  <a:rPr lang="en-US" altLang="zh-CN" sz="900" dirty="0">
                    <a:latin typeface="Times New Roman" panose="02020603050405020304" pitchFamily="18" charset="0"/>
                    <a:ea typeface="微软雅黑" panose="020B0503020204020204" pitchFamily="34" charset="-122"/>
                    <a:cs typeface="Times New Roman" panose="02020603050405020304" pitchFamily="18" charset="0"/>
                  </a:rPr>
                  <a:t>HIV</a:t>
                </a:r>
                <a:r>
                  <a:rPr lang="zh-CN" altLang="en-US" sz="900" dirty="0">
                    <a:latin typeface="Times New Roman" panose="02020603050405020304" pitchFamily="18" charset="0"/>
                    <a:ea typeface="微软雅黑" panose="020B0503020204020204" pitchFamily="34" charset="-122"/>
                    <a:cs typeface="Times New Roman" panose="02020603050405020304" pitchFamily="18" charset="0"/>
                  </a:rPr>
                  <a:t>感染者</a:t>
                </a:r>
                <a:endParaRPr lang="en-US" sz="900" dirty="0">
                  <a:latin typeface="Times New Roman" panose="02020603050405020304" pitchFamily="18" charset="0"/>
                  <a:ea typeface="微软雅黑" panose="020B0503020204020204" pitchFamily="34" charset="-122"/>
                  <a:cs typeface="Times New Roman" panose="02020603050405020304" pitchFamily="18" charset="0"/>
                </a:endParaRPr>
              </a:p>
            </c:rich>
          </c:tx>
          <c:layout>
            <c:manualLayout>
              <c:xMode val="edge"/>
              <c:yMode val="edge"/>
              <c:x val="1.8941328860992272E-3"/>
              <c:y val="0.11770769968942663"/>
            </c:manualLayout>
          </c:layout>
          <c:overlay val="0"/>
          <c:spPr>
            <a:noFill/>
            <a:ln>
              <a:noFill/>
            </a:ln>
            <a:effectLst/>
          </c:spPr>
          <c:txPr>
            <a:bodyPr rot="-5400000" spcFirstLastPara="1" vertOverflow="ellipsis" vert="horz" wrap="square" anchor="ctr" anchorCtr="1"/>
            <a:lstStyle/>
            <a:p>
              <a:pPr>
                <a:defRPr sz="900" b="1" i="0" u="none" strike="noStrike" kern="1200" baseline="0">
                  <a:solidFill>
                    <a:schemeClr val="tx2"/>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2"/>
                </a:solidFill>
                <a:latin typeface="Times New Roman" panose="02020603050405020304" pitchFamily="18" charset="0"/>
                <a:ea typeface="+mn-ea"/>
                <a:cs typeface="Times New Roman" panose="02020603050405020304" pitchFamily="18" charset="0"/>
              </a:defRPr>
            </a:pPr>
            <a:endParaRPr lang="en-US"/>
          </a:p>
        </c:txPr>
        <c:crossAx val="14641866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销售额</c:v>
                </c:pt>
              </c:strCache>
            </c:strRef>
          </c:tx>
          <c:dPt>
            <c:idx val="0"/>
            <c:bubble3D val="0"/>
            <c:spPr>
              <a:solidFill>
                <a:srgbClr val="C10562"/>
              </a:solidFill>
              <a:ln w="19050">
                <a:solidFill>
                  <a:schemeClr val="lt1"/>
                </a:solidFill>
              </a:ln>
              <a:effectLst/>
            </c:spPr>
            <c:extLst>
              <c:ext xmlns:c16="http://schemas.microsoft.com/office/drawing/2014/chart" uri="{C3380CC4-5D6E-409C-BE32-E72D297353CC}">
                <c16:uniqueId val="{00000001-33D5-403A-AF79-D961865C5D72}"/>
              </c:ext>
            </c:extLst>
          </c:dPt>
          <c:dPt>
            <c:idx val="1"/>
            <c:bubble3D val="0"/>
            <c:spPr>
              <a:noFill/>
              <a:ln w="19050">
                <a:solidFill>
                  <a:schemeClr val="lt1"/>
                </a:solidFill>
              </a:ln>
              <a:effectLst/>
            </c:spPr>
            <c:extLst>
              <c:ext xmlns:c16="http://schemas.microsoft.com/office/drawing/2014/chart" uri="{C3380CC4-5D6E-409C-BE32-E72D297353CC}">
                <c16:uniqueId val="{00000003-33D5-403A-AF79-D961865C5D72}"/>
              </c:ext>
            </c:extLst>
          </c:dPt>
          <c:cat>
            <c:strRef>
              <c:f>Sheet1!$A$2:$A$3</c:f>
              <c:strCache>
                <c:ptCount val="1"/>
                <c:pt idx="0">
                  <c:v>血脂异常</c:v>
                </c:pt>
              </c:strCache>
            </c:strRef>
          </c:cat>
          <c:val>
            <c:numRef>
              <c:f>Sheet1!$B$2:$B$3</c:f>
              <c:numCache>
                <c:formatCode>0%</c:formatCode>
                <c:ptCount val="2"/>
                <c:pt idx="0">
                  <c:v>0.39200000000000002</c:v>
                </c:pt>
                <c:pt idx="1">
                  <c:v>0.60799999999999998</c:v>
                </c:pt>
              </c:numCache>
            </c:numRef>
          </c:val>
          <c:extLst>
            <c:ext xmlns:c16="http://schemas.microsoft.com/office/drawing/2014/chart" uri="{C3380CC4-5D6E-409C-BE32-E72D297353CC}">
              <c16:uniqueId val="{00000004-33D5-403A-AF79-D961865C5D72}"/>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销售额</c:v>
                </c:pt>
              </c:strCache>
            </c:strRef>
          </c:tx>
          <c:spPr>
            <a:solidFill>
              <a:schemeClr val="bg2"/>
            </a:solidFill>
          </c:spPr>
          <c:dPt>
            <c:idx val="0"/>
            <c:bubble3D val="0"/>
            <c:spPr>
              <a:noFill/>
              <a:ln w="19050">
                <a:noFill/>
              </a:ln>
              <a:effectLst/>
            </c:spPr>
            <c:extLst>
              <c:ext xmlns:c16="http://schemas.microsoft.com/office/drawing/2014/chart" uri="{C3380CC4-5D6E-409C-BE32-E72D297353CC}">
                <c16:uniqueId val="{00000001-801A-403C-9C35-197D2A3CAA52}"/>
              </c:ext>
            </c:extLst>
          </c:dPt>
          <c:dPt>
            <c:idx val="1"/>
            <c:bubble3D val="0"/>
            <c:spPr>
              <a:solidFill>
                <a:schemeClr val="bg2"/>
              </a:solidFill>
              <a:ln w="19050">
                <a:solidFill>
                  <a:schemeClr val="lt1"/>
                </a:solidFill>
              </a:ln>
              <a:effectLst/>
            </c:spPr>
            <c:extLst>
              <c:ext xmlns:c16="http://schemas.microsoft.com/office/drawing/2014/chart" uri="{C3380CC4-5D6E-409C-BE32-E72D297353CC}">
                <c16:uniqueId val="{00000003-801A-403C-9C35-197D2A3CAA52}"/>
              </c:ext>
            </c:extLst>
          </c:dPt>
          <c:cat>
            <c:strRef>
              <c:f>Sheet1!$A$2:$A$3</c:f>
              <c:strCache>
                <c:ptCount val="1"/>
                <c:pt idx="0">
                  <c:v>血脂异常</c:v>
                </c:pt>
              </c:strCache>
            </c:strRef>
          </c:cat>
          <c:val>
            <c:numRef>
              <c:f>Sheet1!$B$2:$B$3</c:f>
              <c:numCache>
                <c:formatCode>0%</c:formatCode>
                <c:ptCount val="2"/>
                <c:pt idx="0">
                  <c:v>0.39200000000000002</c:v>
                </c:pt>
                <c:pt idx="1">
                  <c:v>0.60799999999999998</c:v>
                </c:pt>
              </c:numCache>
            </c:numRef>
          </c:val>
          <c:extLst>
            <c:ext xmlns:c16="http://schemas.microsoft.com/office/drawing/2014/chart" uri="{C3380CC4-5D6E-409C-BE32-E72D297353CC}">
              <c16:uniqueId val="{00000004-801A-403C-9C35-197D2A3CAA52}"/>
            </c:ext>
          </c:extLst>
        </c:ser>
        <c:dLbls>
          <c:showLegendKey val="0"/>
          <c:showVal val="0"/>
          <c:showCatName val="0"/>
          <c:showSerName val="0"/>
          <c:showPercent val="0"/>
          <c:showBubbleSize val="0"/>
          <c:showLeaderLines val="1"/>
        </c:dLbls>
        <c:firstSliceAng val="0"/>
        <c:holeSize val="87"/>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8192797575534333E-3"/>
          <c:y val="0.14900572410768889"/>
          <c:w val="0.91618879179574064"/>
          <c:h val="0.69289274961025327"/>
        </c:manualLayout>
      </c:layout>
      <c:barChart>
        <c:barDir val="col"/>
        <c:grouping val="clustered"/>
        <c:varyColors val="0"/>
        <c:ser>
          <c:idx val="0"/>
          <c:order val="0"/>
          <c:tx>
            <c:strRef>
              <c:f>Sheet1!$B$1</c:f>
              <c:strCache>
                <c:ptCount val="1"/>
                <c:pt idx="0">
                  <c:v>≥1次药物相互作用的发生率</c:v>
                </c:pt>
              </c:strCache>
            </c:strRef>
          </c:tx>
          <c:spPr>
            <a:solidFill>
              <a:schemeClr val="accent1"/>
            </a:solidFill>
            <a:ln>
              <a:noFill/>
            </a:ln>
            <a:effectLst/>
          </c:spPr>
          <c:invertIfNegative val="0"/>
          <c:dPt>
            <c:idx val="0"/>
            <c:invertIfNegative val="0"/>
            <c:bubble3D val="0"/>
            <c:spPr>
              <a:solidFill>
                <a:srgbClr val="C10562"/>
              </a:solidFill>
              <a:ln>
                <a:noFill/>
              </a:ln>
              <a:effectLst/>
            </c:spPr>
            <c:extLst>
              <c:ext xmlns:c16="http://schemas.microsoft.com/office/drawing/2014/chart" uri="{C3380CC4-5D6E-409C-BE32-E72D297353CC}">
                <c16:uniqueId val="{00000001-7E1C-439D-A002-15B2D2179F59}"/>
              </c:ext>
            </c:extLst>
          </c:dPt>
          <c:dPt>
            <c:idx val="1"/>
            <c:invertIfNegative val="0"/>
            <c:bubble3D val="0"/>
            <c:spPr>
              <a:solidFill>
                <a:srgbClr val="002060"/>
              </a:solidFill>
              <a:ln>
                <a:noFill/>
              </a:ln>
              <a:effectLst/>
            </c:spPr>
            <c:extLst>
              <c:ext xmlns:c16="http://schemas.microsoft.com/office/drawing/2014/chart" uri="{C3380CC4-5D6E-409C-BE32-E72D297353CC}">
                <c16:uniqueId val="{00000003-7E1C-439D-A002-15B2D2179F5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拉米夫定多替拉韦片</c:v>
                </c:pt>
                <c:pt idx="1">
                  <c:v>艾考恩丙替片</c:v>
                </c:pt>
              </c:strCache>
            </c:strRef>
          </c:cat>
          <c:val>
            <c:numRef>
              <c:f>Sheet1!$B$2:$B$3</c:f>
              <c:numCache>
                <c:formatCode>0.0%</c:formatCode>
                <c:ptCount val="2"/>
                <c:pt idx="0">
                  <c:v>0.13700000000000001</c:v>
                </c:pt>
                <c:pt idx="1">
                  <c:v>0.48199999999999998</c:v>
                </c:pt>
              </c:numCache>
            </c:numRef>
          </c:val>
          <c:extLst>
            <c:ext xmlns:c16="http://schemas.microsoft.com/office/drawing/2014/chart" uri="{C3380CC4-5D6E-409C-BE32-E72D297353CC}">
              <c16:uniqueId val="{00000006-7E1C-439D-A002-15B2D2179F59}"/>
            </c:ext>
          </c:extLst>
        </c:ser>
        <c:dLbls>
          <c:showLegendKey val="0"/>
          <c:showVal val="0"/>
          <c:showCatName val="0"/>
          <c:showSerName val="0"/>
          <c:showPercent val="0"/>
          <c:showBubbleSize val="0"/>
        </c:dLbls>
        <c:gapWidth val="219"/>
        <c:overlap val="-27"/>
        <c:axId val="435839719"/>
        <c:axId val="435837751"/>
      </c:barChart>
      <c:catAx>
        <c:axId val="435839719"/>
        <c:scaling>
          <c:orientation val="minMax"/>
        </c:scaling>
        <c:delete val="0"/>
        <c:axPos val="b"/>
        <c:numFmt formatCode="General" sourceLinked="1"/>
        <c:majorTickMark val="none"/>
        <c:minorTickMark val="none"/>
        <c:tickLblPos val="nextTo"/>
        <c:spPr>
          <a:noFill/>
          <a:ln w="9525" cap="flat" cmpd="sng" algn="ctr">
            <a:solidFill>
              <a:schemeClr val="tx1">
                <a:lumMod val="50000"/>
              </a:schemeClr>
            </a:solidFill>
            <a:round/>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US"/>
          </a:p>
        </c:txPr>
        <c:crossAx val="435837751"/>
        <c:crosses val="autoZero"/>
        <c:auto val="1"/>
        <c:lblAlgn val="ctr"/>
        <c:lblOffset val="100"/>
        <c:noMultiLvlLbl val="0"/>
      </c:catAx>
      <c:valAx>
        <c:axId val="435837751"/>
        <c:scaling>
          <c:orientation val="minMax"/>
        </c:scaling>
        <c:delete val="1"/>
        <c:axPos val="l"/>
        <c:majorGridlines>
          <c:spPr>
            <a:ln w="9525" cap="flat" cmpd="sng" algn="ctr">
              <a:noFill/>
              <a:round/>
            </a:ln>
            <a:effectLst/>
          </c:spPr>
        </c:majorGridlines>
        <c:numFmt formatCode="0.0%" sourceLinked="1"/>
        <c:majorTickMark val="none"/>
        <c:minorTickMark val="none"/>
        <c:tickLblPos val="nextTo"/>
        <c:crossAx val="435839719"/>
        <c:crosses val="autoZero"/>
        <c:crossBetween val="between"/>
        <c:majorUnit val="0.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916661862791596E-2"/>
          <c:y val="0.22134932525535311"/>
          <c:w val="0.95416666666666705"/>
          <c:h val="0.67855307189256597"/>
        </c:manualLayout>
      </c:layout>
      <c:barChart>
        <c:barDir val="col"/>
        <c:grouping val="clustered"/>
        <c:varyColors val="0"/>
        <c:ser>
          <c:idx val="0"/>
          <c:order val="0"/>
          <c:tx>
            <c:strRef>
              <c:f>Sheet1!$B$1</c:f>
              <c:strCache>
                <c:ptCount val="1"/>
                <c:pt idx="0">
                  <c:v>拉米夫定多替拉韦片</c:v>
                </c:pt>
              </c:strCache>
            </c:strRef>
          </c:tx>
          <c:spPr>
            <a:solidFill>
              <a:srgbClr val="C10562"/>
            </a:solidFill>
            <a:ln>
              <a:noFill/>
            </a:ln>
            <a:effectLst/>
          </c:spPr>
          <c:invertIfNegative val="0"/>
          <c:dLbls>
            <c:dLbl>
              <c:idx val="0"/>
              <c:layout>
                <c:manualLayout>
                  <c:x val="4.415412175829362E-3"/>
                  <c:y val="0.13889042028281789"/>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3B7-409B-AAC8-9BBF65C75CAD}"/>
                </c:ext>
              </c:extLst>
            </c:dLbl>
            <c:dLbl>
              <c:idx val="1"/>
              <c:layout>
                <c:manualLayout>
                  <c:x val="0"/>
                  <c:y val="0.15564098377688398"/>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3B7-409B-AAC8-9BBF65C75CAD}"/>
                </c:ext>
              </c:extLst>
            </c:dLbl>
            <c:spPr>
              <a:noFill/>
              <a:ln>
                <a:noFill/>
              </a:ln>
              <a:effectLst/>
            </c:spPr>
            <c:txPr>
              <a:bodyPr rot="0" spcFirstLastPara="1" vertOverflow="ellipsis" vert="horz" wrap="square" lIns="38100" tIns="19050" rIns="38100" bIns="19050" anchor="ctr" anchorCtr="1"/>
              <a:lstStyle/>
              <a:p>
                <a:pPr>
                  <a:defRPr lang="zh-CN" sz="10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C</c:v>
                </c:pt>
                <c:pt idx="1">
                  <c:v>LDL</c:v>
                </c:pt>
                <c:pt idx="2">
                  <c:v>TG</c:v>
                </c:pt>
              </c:strCache>
            </c:strRef>
          </c:cat>
          <c:val>
            <c:numRef>
              <c:f>Sheet1!$B$2:$B$4</c:f>
              <c:numCache>
                <c:formatCode>General</c:formatCode>
                <c:ptCount val="3"/>
                <c:pt idx="0">
                  <c:v>-3.3</c:v>
                </c:pt>
                <c:pt idx="1">
                  <c:v>-3</c:v>
                </c:pt>
                <c:pt idx="2">
                  <c:v>-9.6999999999999993</c:v>
                </c:pt>
              </c:numCache>
            </c:numRef>
          </c:val>
          <c:extLst>
            <c:ext xmlns:c16="http://schemas.microsoft.com/office/drawing/2014/chart" uri="{C3380CC4-5D6E-409C-BE32-E72D297353CC}">
              <c16:uniqueId val="{00000000-B3B7-409B-AAC8-9BBF65C75CAD}"/>
            </c:ext>
          </c:extLst>
        </c:ser>
        <c:ser>
          <c:idx val="1"/>
          <c:order val="1"/>
          <c:tx>
            <c:strRef>
              <c:f>Sheet1!$C$1</c:f>
              <c:strCache>
                <c:ptCount val="1"/>
                <c:pt idx="0">
                  <c:v>以艾考恩丙替片为主的三药方案</c:v>
                </c:pt>
              </c:strCache>
            </c:strRef>
          </c:tx>
          <c:spPr>
            <a:solidFill>
              <a:srgbClr val="002060"/>
            </a:solidFill>
            <a:ln>
              <a:noFill/>
            </a:ln>
            <a:effectLst/>
          </c:spPr>
          <c:invertIfNegative val="0"/>
          <c:dLbls>
            <c:dLbl>
              <c:idx val="2"/>
              <c:layout>
                <c:manualLayout>
                  <c:x val="1.0793105080267541E-16"/>
                  <c:y val="0.12331773431917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B3B7-409B-AAC8-9BBF65C75CAD}"/>
                </c:ext>
              </c:extLst>
            </c:dLbl>
            <c:spPr>
              <a:noFill/>
              <a:ln>
                <a:noFill/>
              </a:ln>
              <a:effectLst/>
            </c:spPr>
            <c:txPr>
              <a:bodyPr rot="0" spcFirstLastPara="1" vertOverflow="ellipsis" vert="horz" wrap="square" lIns="38100" tIns="19050" rIns="38100" bIns="19050" anchor="ctr" anchorCtr="1"/>
              <a:lstStyle/>
              <a:p>
                <a:pPr>
                  <a:defRPr lang="zh-CN" sz="10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C</c:v>
                </c:pt>
                <c:pt idx="1">
                  <c:v>LDL</c:v>
                </c:pt>
                <c:pt idx="2">
                  <c:v>TG</c:v>
                </c:pt>
              </c:strCache>
            </c:strRef>
          </c:cat>
          <c:val>
            <c:numRef>
              <c:f>Sheet1!$C$2:$C$4</c:f>
              <c:numCache>
                <c:formatCode>General</c:formatCode>
                <c:ptCount val="3"/>
                <c:pt idx="0">
                  <c:v>4.2</c:v>
                </c:pt>
                <c:pt idx="1">
                  <c:v>4.5999999999999996</c:v>
                </c:pt>
                <c:pt idx="2">
                  <c:v>2.2000000000000002</c:v>
                </c:pt>
              </c:numCache>
            </c:numRef>
          </c:val>
          <c:extLst>
            <c:ext xmlns:c16="http://schemas.microsoft.com/office/drawing/2014/chart" uri="{C3380CC4-5D6E-409C-BE32-E72D297353CC}">
              <c16:uniqueId val="{00000001-B3B7-409B-AAC8-9BBF65C75CAD}"/>
            </c:ext>
          </c:extLst>
        </c:ser>
        <c:dLbls>
          <c:showLegendKey val="0"/>
          <c:showVal val="1"/>
          <c:showCatName val="0"/>
          <c:showSerName val="0"/>
          <c:showPercent val="0"/>
          <c:showBubbleSize val="0"/>
        </c:dLbls>
        <c:gapWidth val="52"/>
        <c:axId val="535382912"/>
        <c:axId val="529163440"/>
      </c:barChart>
      <c:catAx>
        <c:axId val="535382912"/>
        <c:scaling>
          <c:orientation val="minMax"/>
        </c:scaling>
        <c:delete val="1"/>
        <c:axPos val="b"/>
        <c:numFmt formatCode="General" sourceLinked="1"/>
        <c:majorTickMark val="none"/>
        <c:minorTickMark val="none"/>
        <c:tickLblPos val="nextTo"/>
        <c:crossAx val="529163440"/>
        <c:crosses val="autoZero"/>
        <c:auto val="1"/>
        <c:lblAlgn val="ctr"/>
        <c:lblOffset val="0"/>
        <c:noMultiLvlLbl val="0"/>
      </c:catAx>
      <c:valAx>
        <c:axId val="529163440"/>
        <c:scaling>
          <c:orientation val="minMax"/>
          <c:min val="-10"/>
        </c:scaling>
        <c:delete val="1"/>
        <c:axPos val="l"/>
        <c:numFmt formatCode="General" sourceLinked="1"/>
        <c:majorTickMark val="none"/>
        <c:minorTickMark val="none"/>
        <c:tickLblPos val="nextTo"/>
        <c:crossAx val="535382912"/>
        <c:crosses val="autoZero"/>
        <c:crossBetween val="between"/>
      </c:valAx>
      <c:spPr>
        <a:noFill/>
        <a:ln>
          <a:noFill/>
        </a:ln>
        <a:effectLst/>
      </c:spPr>
    </c:plotArea>
    <c:legend>
      <c:legendPos val="r"/>
      <c:layout>
        <c:manualLayout>
          <c:xMode val="edge"/>
          <c:yMode val="edge"/>
          <c:x val="0.6098963925844566"/>
          <c:y val="0"/>
          <c:w val="0.36081918496046345"/>
          <c:h val="0.16547374291900876"/>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solidFill>
              <a:latin typeface="微软雅黑" panose="020B0503020204020204" pitchFamily="34" charset="-122"/>
              <a:ea typeface="微软雅黑" panose="020B0503020204020204" pitchFamily="34" charset="-122"/>
              <a:cs typeface="+mn-cs"/>
            </a:defRPr>
          </a:pPr>
          <a:endParaRPr lang="en-US"/>
        </a:p>
      </c:txPr>
    </c:legend>
    <c:plotVisOnly val="1"/>
    <c:dispBlanksAs val="gap"/>
    <c:showDLblsOverMax val="0"/>
  </c:chart>
  <c:spPr>
    <a:noFill/>
    <a:ln>
      <a:noFill/>
    </a:ln>
    <a:effectLst/>
  </c:spPr>
  <c:txPr>
    <a:bodyPr/>
    <a:lstStyle/>
    <a:p>
      <a:pPr>
        <a:defRPr lang="zh-CN" sz="1000">
          <a:latin typeface="微软雅黑" panose="020B0503020204020204" pitchFamily="34" charset="-122"/>
          <a:ea typeface="微软雅黑" panose="020B0503020204020204" pitchFamily="34" charset="-122"/>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拉米夫定多替拉韦片</c:v>
                </c:pt>
              </c:strCache>
            </c:strRef>
          </c:tx>
          <c:spPr>
            <a:solidFill>
              <a:srgbClr val="C10562"/>
            </a:solidFill>
            <a:ln>
              <a:noFill/>
            </a:ln>
            <a:effectLst/>
          </c:spPr>
          <c:invertIfNegative val="0"/>
          <c:dLbls>
            <c:dLbl>
              <c:idx val="1"/>
              <c:tx>
                <c:rich>
                  <a:bodyPr/>
                  <a:lstStyle/>
                  <a:p>
                    <a:r>
                      <a:rPr lang="en-US" altLang="zh-CN" sz="1200" b="1" i="0" u="none" strike="noStrike" baseline="0" dirty="0">
                        <a:effectLst/>
                      </a:rPr>
                      <a:t>&lt;</a:t>
                    </a:r>
                    <a:fld id="{4CE03EAA-5810-481B-AFCC-79239A4E605A}" type="VALUE">
                      <a:rPr lang="en-US" altLang="zh-CN" b="1" smtClean="0"/>
                      <a:pPr/>
                      <a:t>[值]</a:t>
                    </a:fld>
                    <a:endParaRPr lang="en-US" altLang="zh-CN" sz="1200" b="1" i="0" u="none" strike="noStrike" baseline="0" dirty="0">
                      <a:effectLst/>
                    </a:endParaRP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5B6D-AF49-9E07-36C4B84EC6E4}"/>
                </c:ext>
              </c:extLst>
            </c:dLbl>
            <c:spPr>
              <a:noFill/>
              <a:ln>
                <a:noFill/>
              </a:ln>
              <a:effectLst/>
            </c:spPr>
            <c:txPr>
              <a:bodyPr rot="0" spcFirstLastPara="1" vertOverflow="ellipsis" vert="horz" wrap="square" lIns="38100" tIns="19050" rIns="38100" bIns="19050" anchor="ctr" anchorCtr="1"/>
              <a:lstStyle/>
              <a:p>
                <a:pPr>
                  <a:defRPr lang="zh-CN" sz="1200" b="1" i="0" u="none" strike="noStrike" kern="1200" baseline="0">
                    <a:solidFill>
                      <a:srgbClr val="C10562"/>
                    </a:solidFill>
                    <a:latin typeface="微软雅黑" panose="020B0503020204020204" pitchFamily="34" charset="-122"/>
                    <a:ea typeface="微软雅黑" panose="020B0503020204020204" pitchFamily="34" charset="-122"/>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1"/>
                <c:pt idx="0">
                  <c:v>HIV-1 RNA &lt;50c/ml</c:v>
                </c:pt>
              </c:strCache>
            </c:strRef>
          </c:cat>
          <c:val>
            <c:numRef>
              <c:f>Sheet1!$B$2:$B$3</c:f>
              <c:numCache>
                <c:formatCode>0%</c:formatCode>
                <c:ptCount val="2"/>
                <c:pt idx="0">
                  <c:v>0.86</c:v>
                </c:pt>
                <c:pt idx="1">
                  <c:v>0.01</c:v>
                </c:pt>
              </c:numCache>
            </c:numRef>
          </c:val>
          <c:extLst>
            <c:ext xmlns:c16="http://schemas.microsoft.com/office/drawing/2014/chart" uri="{C3380CC4-5D6E-409C-BE32-E72D297353CC}">
              <c16:uniqueId val="{00000001-5B6D-AF49-9E07-36C4B84EC6E4}"/>
            </c:ext>
          </c:extLst>
        </c:ser>
        <c:ser>
          <c:idx val="1"/>
          <c:order val="1"/>
          <c:tx>
            <c:strRef>
              <c:f>Sheet1!$C$1</c:f>
              <c:strCache>
                <c:ptCount val="1"/>
                <c:pt idx="0">
                  <c:v>艾考恩丙替片为主的三药/四药方案</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lstStyle/>
              <a:p>
                <a:pPr>
                  <a:defRPr lang="zh-CN" sz="10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1"/>
                <c:pt idx="0">
                  <c:v>HIV-1 RNA &lt;50c/ml</c:v>
                </c:pt>
              </c:strCache>
            </c:strRef>
          </c:cat>
          <c:val>
            <c:numRef>
              <c:f>Sheet1!$C$2:$C$3</c:f>
              <c:numCache>
                <c:formatCode>0%</c:formatCode>
                <c:ptCount val="2"/>
                <c:pt idx="0">
                  <c:v>0.82</c:v>
                </c:pt>
                <c:pt idx="1">
                  <c:v>0.01</c:v>
                </c:pt>
              </c:numCache>
            </c:numRef>
          </c:val>
          <c:extLst>
            <c:ext xmlns:c16="http://schemas.microsoft.com/office/drawing/2014/chart" uri="{C3380CC4-5D6E-409C-BE32-E72D297353CC}">
              <c16:uniqueId val="{00000002-5B6D-AF49-9E07-36C4B84EC6E4}"/>
            </c:ext>
          </c:extLst>
        </c:ser>
        <c:dLbls>
          <c:showLegendKey val="0"/>
          <c:showVal val="1"/>
          <c:showCatName val="0"/>
          <c:showSerName val="0"/>
          <c:showPercent val="0"/>
          <c:showBubbleSize val="0"/>
        </c:dLbls>
        <c:gapWidth val="104"/>
        <c:overlap val="-8"/>
        <c:axId val="979850384"/>
        <c:axId val="979925520"/>
      </c:barChart>
      <c:catAx>
        <c:axId val="979850384"/>
        <c:scaling>
          <c:orientation val="minMax"/>
        </c:scaling>
        <c:delete val="1"/>
        <c:axPos val="b"/>
        <c:numFmt formatCode="General" sourceLinked="1"/>
        <c:majorTickMark val="none"/>
        <c:minorTickMark val="none"/>
        <c:tickLblPos val="nextTo"/>
        <c:crossAx val="979925520"/>
        <c:crosses val="autoZero"/>
        <c:auto val="1"/>
        <c:lblAlgn val="ctr"/>
        <c:lblOffset val="100"/>
        <c:noMultiLvlLbl val="0"/>
      </c:catAx>
      <c:valAx>
        <c:axId val="979925520"/>
        <c:scaling>
          <c:orientation val="minMax"/>
          <c:max val="1"/>
          <c:min val="0"/>
        </c:scaling>
        <c:delete val="1"/>
        <c:axPos val="l"/>
        <c:numFmt formatCode="0%" sourceLinked="1"/>
        <c:majorTickMark val="out"/>
        <c:minorTickMark val="none"/>
        <c:tickLblPos val="nextTo"/>
        <c:crossAx val="979850384"/>
        <c:crosses val="autoZero"/>
        <c:crossBetween val="between"/>
      </c:valAx>
      <c:spPr>
        <a:noFill/>
        <a:ln>
          <a:noFill/>
        </a:ln>
        <a:effectLst/>
      </c:spPr>
    </c:plotArea>
    <c:legend>
      <c:legendPos val="b"/>
      <c:layout>
        <c:manualLayout>
          <c:xMode val="edge"/>
          <c:yMode val="edge"/>
          <c:x val="0.49243090967718278"/>
          <c:y val="0.11685267311559761"/>
          <c:w val="0.46484264546803855"/>
          <c:h val="8.5452980212393545E-2"/>
        </c:manualLayout>
      </c:layout>
      <c:overlay val="0"/>
      <c:spPr>
        <a:noFill/>
        <a:ln>
          <a:noFill/>
        </a:ln>
        <a:effectLst/>
      </c:spPr>
      <c:txPr>
        <a:bodyPr rot="0" spcFirstLastPara="1" vertOverflow="ellipsis" vert="horz" wrap="square" anchor="ctr" anchorCtr="1"/>
        <a:lstStyle/>
        <a:p>
          <a:pPr>
            <a:defRPr lang="zh-CN" sz="10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en-US"/>
        </a:p>
      </c:txPr>
    </c:legend>
    <c:plotVisOnly val="1"/>
    <c:dispBlanksAs val="gap"/>
    <c:showDLblsOverMax val="0"/>
  </c:chart>
  <c:spPr>
    <a:noFill/>
    <a:ln>
      <a:noFill/>
    </a:ln>
    <a:effectLst/>
  </c:spPr>
  <c:txPr>
    <a:bodyPr/>
    <a:lstStyle/>
    <a:p>
      <a:pPr>
        <a:defRPr lang="zh-CN" sz="1000">
          <a:latin typeface="微软雅黑" panose="020B0503020204020204" pitchFamily="34" charset="-122"/>
          <a:ea typeface="微软雅黑" panose="020B0503020204020204" pitchFamily="34" charset="-122"/>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02">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7F3808A-77E3-4239-A918-C2F0E087665B}" type="datetimeFigureOut">
              <a:rPr lang="en-US" smtClean="0"/>
              <a:t>7/1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D0B7566-225D-42EB-9A7C-C3CD3187F0E8}" type="slidenum">
              <a:rPr lang="en-US" smtClean="0"/>
              <a:t>‹#›</a:t>
            </a:fld>
            <a:endParaRPr lang="en-US"/>
          </a:p>
        </p:txBody>
      </p:sp>
    </p:spTree>
    <p:extLst>
      <p:ext uri="{BB962C8B-B14F-4D97-AF65-F5344CB8AC3E}">
        <p14:creationId xmlns:p14="http://schemas.microsoft.com/office/powerpoint/2010/main" val="10236295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527199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E315C54-70D5-9F4E-BFE2-8FE3662144E1}" type="slidenum">
              <a:rPr kumimoji="0" lang="en-US" sz="1200" b="0" i="0" u="none" strike="noStrike" kern="1200" cap="none" spc="0" normalizeH="0" baseline="0" noProof="0" smtClean="0">
                <a:ln>
                  <a:noFill/>
                </a:ln>
                <a:solidFill>
                  <a:prstClr val="black"/>
                </a:solidFill>
                <a:effectLst/>
                <a:uLnTx/>
                <a:uFillTx/>
                <a:latin typeface="等线" panose="02010600030101010101" pitchFamily="2" charset="-122"/>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等线" panose="02010600030101010101" pitchFamily="2" charset="-122"/>
              <a:ea typeface="+mn-ea"/>
              <a:cs typeface="+mn-cs"/>
            </a:endParaRPr>
          </a:p>
        </p:txBody>
      </p:sp>
    </p:spTree>
    <p:extLst>
      <p:ext uri="{BB962C8B-B14F-4D97-AF65-F5344CB8AC3E}">
        <p14:creationId xmlns:p14="http://schemas.microsoft.com/office/powerpoint/2010/main" val="10013992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0488" y="744538"/>
            <a:ext cx="6616700" cy="372268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6E435A6-09D2-4ABC-903D-BAA221EEE208}" type="slidenum">
              <a:rPr kumimoji="0" lang="zh-CN" altLang="en-US" sz="1200" b="0" i="0" u="none" strike="noStrike" kern="1200" cap="none" spc="0" normalizeH="0" baseline="0" noProof="0" smtClean="0">
                <a:ln>
                  <a:noFill/>
                </a:ln>
                <a:solidFill>
                  <a:prstClr val="black"/>
                </a:solidFill>
                <a:effectLst/>
                <a:uLnTx/>
                <a:uFillTx/>
                <a:latin typeface="等线" panose="02010600030101010101" pitchFamily="2" charset="-122"/>
                <a:ea typeface="等线" panose="02010600030101010101" pitchFamily="2" charset="-122"/>
                <a:cs typeface="+mn-cs"/>
              </a:rPr>
              <a:t>4</a:t>
            </a:fld>
            <a:endParaRPr kumimoji="0" lang="zh-CN" altLang="en-US" sz="1200" b="0" i="0" u="none" strike="noStrike" kern="1200" cap="none" spc="0" normalizeH="0" baseline="0" noProof="0">
              <a:ln>
                <a:noFill/>
              </a:ln>
              <a:solidFill>
                <a:prstClr val="black"/>
              </a:solidFill>
              <a:effectLst/>
              <a:uLnTx/>
              <a:uFillTx/>
              <a:latin typeface="等线" panose="02010600030101010101" pitchFamily="2" charset="-122"/>
              <a:ea typeface="等线" panose="02010600030101010101" pitchFamily="2" charset="-122"/>
              <a:cs typeface="+mn-cs"/>
            </a:endParaRPr>
          </a:p>
        </p:txBody>
      </p:sp>
    </p:spTree>
    <p:extLst>
      <p:ext uri="{BB962C8B-B14F-4D97-AF65-F5344CB8AC3E}">
        <p14:creationId xmlns:p14="http://schemas.microsoft.com/office/powerpoint/2010/main" val="25756965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0488" y="744538"/>
            <a:ext cx="6616700" cy="3722687"/>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6E435A6-09D2-4ABC-903D-BAA221EEE208}" type="slidenum">
              <a:rPr kumimoji="0" lang="zh-CN" altLang="en-US" sz="1200" b="0" i="0" u="none" strike="noStrike" kern="1200" cap="none" spc="0" normalizeH="0" baseline="0" noProof="0" smtClean="0">
                <a:ln>
                  <a:noFill/>
                </a:ln>
                <a:solidFill>
                  <a:prstClr val="black"/>
                </a:solidFill>
                <a:effectLst/>
                <a:uLnTx/>
                <a:uFillTx/>
                <a:latin typeface="等线" panose="02010600030101010101" pitchFamily="2" charset="-122"/>
                <a:ea typeface="等线" panose="02010600030101010101" pitchFamily="2" charset="-122"/>
                <a:cs typeface="+mn-cs"/>
              </a:rPr>
              <a:t>5</a:t>
            </a:fld>
            <a:endParaRPr kumimoji="0" lang="zh-CN" altLang="en-US" sz="1200" b="0" i="0" u="none" strike="noStrike" kern="1200" cap="none" spc="0" normalizeH="0" baseline="0" noProof="0">
              <a:ln>
                <a:noFill/>
              </a:ln>
              <a:solidFill>
                <a:prstClr val="black"/>
              </a:solidFill>
              <a:effectLst/>
              <a:uLnTx/>
              <a:uFillTx/>
              <a:latin typeface="等线" panose="02010600030101010101" pitchFamily="2" charset="-122"/>
              <a:ea typeface="等线" panose="02010600030101010101" pitchFamily="2" charset="-122"/>
              <a:cs typeface="+mn-cs"/>
            </a:endParaRPr>
          </a:p>
        </p:txBody>
      </p:sp>
    </p:spTree>
    <p:extLst>
      <p:ext uri="{BB962C8B-B14F-4D97-AF65-F5344CB8AC3E}">
        <p14:creationId xmlns:p14="http://schemas.microsoft.com/office/powerpoint/2010/main" val="30717516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en-US" dirty="0"/>
          </a:p>
        </p:txBody>
      </p:sp>
      <p:sp>
        <p:nvSpPr>
          <p:cNvPr id="4" name="灯片编号占位符 3"/>
          <p:cNvSpPr>
            <a:spLocks noGrp="1"/>
          </p:cNvSpPr>
          <p:nvPr>
            <p:ph type="sldNum" sz="quarter" idx="5"/>
          </p:nvPr>
        </p:nvSpPr>
        <p:spPr/>
        <p:txBody>
          <a:bodyPr/>
          <a:lstStyle/>
          <a:p>
            <a:fld id="{8D0B7566-225D-42EB-9A7C-C3CD3187F0E8}" type="slidenum">
              <a:rPr lang="en-US" smtClean="0"/>
              <a:t>6</a:t>
            </a:fld>
            <a:endParaRPr lang="en-US"/>
          </a:p>
        </p:txBody>
      </p:sp>
    </p:spTree>
    <p:extLst>
      <p:ext uri="{BB962C8B-B14F-4D97-AF65-F5344CB8AC3E}">
        <p14:creationId xmlns:p14="http://schemas.microsoft.com/office/powerpoint/2010/main" val="206528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pPr marL="171450" indent="-171450">
              <a:buFont typeface="Arial" panose="020B0604020202020204" pitchFamily="34" charset="0"/>
              <a:buChar char="•"/>
            </a:pPr>
            <a:endParaRPr kumimoji="1" lang="zh-CN" alt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90488" y="744538"/>
            <a:ext cx="6616700" cy="3722687"/>
          </a:xfrm>
        </p:spPr>
      </p:sp>
      <p:sp>
        <p:nvSpPr>
          <p:cNvPr id="3" name="备注占位符 2"/>
          <p:cNvSpPr>
            <a:spLocks noGrp="1"/>
          </p:cNvSpPr>
          <p:nvPr>
            <p:ph type="body" idx="1"/>
          </p:nvPr>
        </p:nvSpPr>
        <p:spPr/>
        <p:txBody>
          <a:bodyPr/>
          <a:lstStyle/>
          <a:p>
            <a:pPr defTabSz="457200">
              <a:defRPr/>
            </a:pPr>
            <a:r>
              <a:rPr lang="en-US" altLang="zh-CN" sz="12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1. Hoes JN, Jacobs J, </a:t>
            </a:r>
            <a:r>
              <a:rPr lang="en-US" altLang="zh-CN" sz="1200" dirty="0" err="1">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Buttgereit</a:t>
            </a:r>
            <a:r>
              <a:rPr lang="en-US" altLang="zh-CN" sz="12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 F, et al. Nat Rev </a:t>
            </a:r>
            <a:r>
              <a:rPr lang="en-US" altLang="zh-CN" sz="1200" dirty="0" err="1">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Rheumatol</a:t>
            </a:r>
            <a:r>
              <a:rPr lang="en-US" altLang="zh-CN" sz="12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 2010 Dec;6(12):693-702. </a:t>
            </a:r>
          </a:p>
          <a:p>
            <a:pPr defTabSz="457200">
              <a:defRPr/>
            </a:pPr>
            <a:r>
              <a:rPr lang="en-US" altLang="zh-CN" sz="12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2. </a:t>
            </a:r>
            <a:r>
              <a:rPr lang="zh-CN" altLang="en-US" sz="12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杨宝峰</a:t>
            </a:r>
            <a:r>
              <a:rPr lang="en-US" altLang="zh-CN" sz="12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 </a:t>
            </a:r>
            <a:r>
              <a:rPr lang="zh-CN" altLang="en-US" sz="12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药理学（第八版）</a:t>
            </a:r>
            <a:r>
              <a:rPr lang="en-US" altLang="zh-CN" sz="12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a:t>
            </a:r>
            <a:r>
              <a:rPr lang="zh-CN" altLang="en-US" sz="12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 北京</a:t>
            </a:r>
            <a:r>
              <a:rPr lang="en-US" altLang="zh-CN" sz="12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 </a:t>
            </a:r>
            <a:r>
              <a:rPr lang="zh-CN" altLang="en-US" sz="12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人民卫生出版社</a:t>
            </a:r>
            <a:r>
              <a:rPr lang="en-US" altLang="zh-CN" sz="12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 2013.P338</a:t>
            </a:r>
            <a:endParaRPr lang="zh-CN" altLang="en-US" sz="1200" dirty="0">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a:p>
            <a:endParaRPr lang="zh-CN" altLang="en-US" dirty="0"/>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B6E435A6-09D2-4ABC-903D-BAA221EEE208}" type="slidenum">
              <a:rPr kumimoji="0" lang="zh-CN" altLang="en-US" sz="1200" b="0" i="0" u="none" strike="noStrike" kern="1200" cap="none" spc="0" normalizeH="0" baseline="0" noProof="0" smtClean="0">
                <a:ln>
                  <a:noFill/>
                </a:ln>
                <a:solidFill>
                  <a:prstClr val="black"/>
                </a:solidFill>
                <a:effectLst/>
                <a:uLnTx/>
                <a:uFillTx/>
                <a:latin typeface="等线" panose="02010600030101010101" pitchFamily="2" charset="-122"/>
                <a:ea typeface="等线" panose="02010600030101010101" pitchFamily="2" charset="-122"/>
                <a:cs typeface="+mn-cs"/>
              </a:rPr>
              <a:t>9</a:t>
            </a:fld>
            <a:endParaRPr kumimoji="0" lang="zh-CN" altLang="en-US" sz="1200" b="0" i="0" u="none" strike="noStrike" kern="1200" cap="none" spc="0" normalizeH="0" baseline="0" noProof="0">
              <a:ln>
                <a:noFill/>
              </a:ln>
              <a:solidFill>
                <a:prstClr val="black"/>
              </a:solidFill>
              <a:effectLst/>
              <a:uLnTx/>
              <a:uFillTx/>
              <a:latin typeface="等线" panose="02010600030101010101" pitchFamily="2" charset="-122"/>
              <a:ea typeface="等线" panose="02010600030101010101" pitchFamily="2" charset="-122"/>
              <a:cs typeface="+mn-cs"/>
            </a:endParaRPr>
          </a:p>
        </p:txBody>
      </p:sp>
    </p:spTree>
    <p:extLst>
      <p:ext uri="{BB962C8B-B14F-4D97-AF65-F5344CB8AC3E}">
        <p14:creationId xmlns:p14="http://schemas.microsoft.com/office/powerpoint/2010/main" val="28749509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png"/><Relationship Id="rId1" Type="http://schemas.openxmlformats.org/officeDocument/2006/relationships/slideMaster" Target="../slideMasters/slideMaster6.xml"/><Relationship Id="rId4" Type="http://schemas.openxmlformats.org/officeDocument/2006/relationships/image" Target="../media/image18.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Master" Target="../slideMasters/slideMaster6.xml"/><Relationship Id="rId5" Type="http://schemas.openxmlformats.org/officeDocument/2006/relationships/image" Target="../media/image24.svg"/><Relationship Id="rId4" Type="http://schemas.openxmlformats.org/officeDocument/2006/relationships/image" Target="../media/image23.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1248593605"/>
      </p:ext>
    </p:extLst>
  </p:cSld>
  <p:clrMapOvr>
    <a:masterClrMapping/>
  </p:clrMapOvr>
  <p:transition spd="slow">
    <p:strips dir="rd"/>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Large Bullet">
    <p:spTree>
      <p:nvGrpSpPr>
        <p:cNvPr id="1" name=""/>
        <p:cNvGrpSpPr/>
        <p:nvPr/>
      </p:nvGrpSpPr>
      <p:grpSpPr>
        <a:xfrm>
          <a:off x="0" y="0"/>
          <a:ext cx="0" cy="0"/>
          <a:chOff x="0" y="0"/>
          <a:chExt cx="0" cy="0"/>
        </a:xfrm>
      </p:grpSpPr>
      <p:sp>
        <p:nvSpPr>
          <p:cNvPr id="6" name="Title 5"/>
          <p:cNvSpPr>
            <a:spLocks noGrp="1"/>
          </p:cNvSpPr>
          <p:nvPr>
            <p:ph type="title"/>
          </p:nvPr>
        </p:nvSpPr>
        <p:spPr>
          <a:xfrm>
            <a:off x="486833" y="46543"/>
            <a:ext cx="10102852" cy="586821"/>
          </a:xfrm>
        </p:spPr>
        <p:txBody>
          <a:bodyPr/>
          <a:lstStyle/>
          <a:p>
            <a:r>
              <a:rPr lang="en-US" dirty="0"/>
              <a:t>Click to edit Master title style</a:t>
            </a:r>
            <a:endParaRPr lang="en-GB" dirty="0"/>
          </a:p>
        </p:txBody>
      </p:sp>
      <p:sp>
        <p:nvSpPr>
          <p:cNvPr id="13" name="Content Placeholder 12"/>
          <p:cNvSpPr>
            <a:spLocks noGrp="1"/>
          </p:cNvSpPr>
          <p:nvPr>
            <p:ph sz="quarter" idx="17"/>
          </p:nvPr>
        </p:nvSpPr>
        <p:spPr>
          <a:xfrm>
            <a:off x="486834" y="1184276"/>
            <a:ext cx="11231033" cy="4805363"/>
          </a:xfrm>
        </p:spPr>
        <p:txBody>
          <a:bodyPr/>
          <a:lstStyle>
            <a:lvl1pPr>
              <a:defRPr sz="2899"/>
            </a:lvl1pPr>
            <a:lvl2pPr>
              <a:defRPr sz="2899"/>
            </a:lvl2pPr>
            <a:lvl3pPr>
              <a:defRPr sz="2899"/>
            </a:lvl3pPr>
            <a:lvl4pPr>
              <a:defRPr sz="2899"/>
            </a:lvl4pPr>
            <a:lvl5pPr>
              <a:defRPr sz="2899"/>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8"/>
          </p:nvPr>
        </p:nvSpPr>
        <p:spPr>
          <a:xfrm>
            <a:off x="3980330" y="6437314"/>
            <a:ext cx="4219640" cy="365125"/>
          </a:xfrm>
          <a:prstGeom prst="rect">
            <a:avLst/>
          </a:prstGeom>
        </p:spPr>
        <p:txBody>
          <a:bodyPr lIns="108850" tIns="54425" rIns="108850" bIns="54425"/>
          <a:lstStyle/>
          <a:p>
            <a:pPr algn="ctr"/>
            <a:endParaRPr lang="en-GB" dirty="0">
              <a:solidFill>
                <a:srgbClr val="9A8B7D"/>
              </a:solidFill>
            </a:endParaRPr>
          </a:p>
        </p:txBody>
      </p:sp>
      <p:sp>
        <p:nvSpPr>
          <p:cNvPr id="7" name="Footer Placeholder 6"/>
          <p:cNvSpPr>
            <a:spLocks noGrp="1"/>
          </p:cNvSpPr>
          <p:nvPr>
            <p:ph type="ftr" sz="quarter" idx="19"/>
          </p:nvPr>
        </p:nvSpPr>
        <p:spPr>
          <a:xfrm>
            <a:off x="383158" y="6437314"/>
            <a:ext cx="3515743" cy="365125"/>
          </a:xfrm>
          <a:prstGeom prst="rect">
            <a:avLst/>
          </a:prstGeom>
        </p:spPr>
        <p:txBody>
          <a:bodyPr lIns="108850" tIns="54425" rIns="108850" bIns="54425"/>
          <a:lstStyle/>
          <a:p>
            <a:endParaRPr lang="en-GB" dirty="0">
              <a:solidFill>
                <a:srgbClr val="9A8B7D"/>
              </a:solidFill>
            </a:endParaRPr>
          </a:p>
        </p:txBody>
      </p:sp>
      <p:sp>
        <p:nvSpPr>
          <p:cNvPr id="9" name="Slide Number Placeholder 8"/>
          <p:cNvSpPr>
            <a:spLocks noGrp="1"/>
          </p:cNvSpPr>
          <p:nvPr>
            <p:ph type="sldNum" sz="quarter" idx="20"/>
          </p:nvPr>
        </p:nvSpPr>
        <p:spPr>
          <a:xfrm>
            <a:off x="10623177" y="6437314"/>
            <a:ext cx="1106831" cy="365125"/>
          </a:xfrm>
          <a:prstGeom prst="rect">
            <a:avLst/>
          </a:prstGeom>
        </p:spPr>
        <p:txBody>
          <a:bodyPr lIns="108850" tIns="54425" rIns="108850" bIns="54425"/>
          <a:lstStyle/>
          <a:p>
            <a:fld id="{9F9F533D-B52E-4A2F-BF72-0ADD2D94BD75}" type="slidenum">
              <a:rPr lang="en-GB" smtClean="0">
                <a:solidFill>
                  <a:srgbClr val="9A8B7D"/>
                </a:solidFill>
              </a:rPr>
              <a:pPr/>
              <a:t>‹#›</a:t>
            </a:fld>
            <a:endParaRPr lang="en-GB">
              <a:solidFill>
                <a:srgbClr val="9A8B7D"/>
              </a:solidFill>
            </a:endParaRPr>
          </a:p>
        </p:txBody>
      </p:sp>
      <p:sp>
        <p:nvSpPr>
          <p:cNvPr id="11" name="Text Placeholder 2"/>
          <p:cNvSpPr>
            <a:spLocks noGrp="1"/>
          </p:cNvSpPr>
          <p:nvPr>
            <p:ph type="body" sz="quarter" idx="14" hasCustomPrompt="1"/>
          </p:nvPr>
        </p:nvSpPr>
        <p:spPr>
          <a:xfrm>
            <a:off x="486833" y="692554"/>
            <a:ext cx="10130368" cy="234950"/>
          </a:xfrm>
        </p:spPr>
        <p:txBody>
          <a:bodyPr anchor="t" anchorCtr="0"/>
          <a:lstStyle>
            <a:lvl1pPr marL="0" indent="0">
              <a:spcAft>
                <a:spcPts val="0"/>
              </a:spcAft>
              <a:buNone/>
              <a:defRPr sz="2100"/>
            </a:lvl1pPr>
            <a:lvl2pPr marL="323462" indent="0">
              <a:buNone/>
              <a:defRPr/>
            </a:lvl2pPr>
            <a:lvl3pPr marL="634832" indent="0">
              <a:buNone/>
              <a:defRPr/>
            </a:lvl3pPr>
            <a:lvl4pPr marL="971143" indent="0">
              <a:buNone/>
              <a:defRPr/>
            </a:lvl4pPr>
            <a:lvl5pPr marL="1315010" indent="0">
              <a:buNone/>
              <a:defRPr/>
            </a:lvl5pPr>
          </a:lstStyle>
          <a:p>
            <a:pPr lvl="0"/>
            <a:r>
              <a:rPr lang="en-US" dirty="0"/>
              <a:t>Subtitle here if required</a:t>
            </a:r>
          </a:p>
        </p:txBody>
      </p:sp>
      <p:sp>
        <p:nvSpPr>
          <p:cNvPr id="8" name="Text Placeholder 5"/>
          <p:cNvSpPr>
            <a:spLocks noGrp="1"/>
          </p:cNvSpPr>
          <p:nvPr>
            <p:ph type="body" sz="quarter" idx="21" hasCustomPrompt="1"/>
          </p:nvPr>
        </p:nvSpPr>
        <p:spPr>
          <a:xfrm>
            <a:off x="486831" y="5919009"/>
            <a:ext cx="11261094" cy="262189"/>
          </a:xfrm>
        </p:spPr>
        <p:txBody>
          <a:bodyPr wrap="square" anchor="b" anchorCtr="0">
            <a:spAutoFit/>
          </a:bodyPr>
          <a:lstStyle>
            <a:lvl1pPr marL="0" indent="0">
              <a:buNone/>
              <a:defRPr sz="1000" baseline="0"/>
            </a:lvl1pPr>
            <a:lvl2pPr marL="318927" indent="0">
              <a:buNone/>
              <a:defRPr sz="1000"/>
            </a:lvl2pPr>
            <a:lvl3pPr marL="642389" indent="0">
              <a:buNone/>
              <a:defRPr sz="1000"/>
            </a:lvl3pPr>
            <a:lvl4pPr marL="965096" indent="0">
              <a:buNone/>
              <a:defRPr sz="1000"/>
            </a:lvl4pPr>
            <a:lvl5pPr marL="1285536" indent="0">
              <a:buNone/>
              <a:defRPr sz="1000"/>
            </a:lvl5pPr>
          </a:lstStyle>
          <a:p>
            <a:pPr lvl="0"/>
            <a:r>
              <a:rPr lang="en-US" dirty="0"/>
              <a:t>Insert Source text here</a:t>
            </a:r>
          </a:p>
        </p:txBody>
      </p:sp>
    </p:spTree>
    <p:extLst>
      <p:ext uri="{BB962C8B-B14F-4D97-AF65-F5344CB8AC3E}">
        <p14:creationId xmlns:p14="http://schemas.microsoft.com/office/powerpoint/2010/main" val="189005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4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86833" y="357176"/>
            <a:ext cx="10102852" cy="417582"/>
          </a:xfrm>
        </p:spPr>
        <p:txBody>
          <a:bodyPr/>
          <a:lstStyle>
            <a:lvl1pPr>
              <a:defRPr sz="2100"/>
            </a:lvl1pPr>
          </a:lstStyle>
          <a:p>
            <a:r>
              <a:rPr lang="en-US" dirty="0"/>
              <a:t>Click to edit Master title style</a:t>
            </a:r>
          </a:p>
        </p:txBody>
      </p:sp>
      <p:sp>
        <p:nvSpPr>
          <p:cNvPr id="5" name="Slide Number Placeholder 4"/>
          <p:cNvSpPr>
            <a:spLocks noGrp="1"/>
          </p:cNvSpPr>
          <p:nvPr>
            <p:ph type="sldNum" sz="quarter" idx="12"/>
          </p:nvPr>
        </p:nvSpPr>
        <p:spPr>
          <a:xfrm>
            <a:off x="10623177" y="6437314"/>
            <a:ext cx="1106831" cy="365125"/>
          </a:xfrm>
          <a:prstGeom prst="rect">
            <a:avLst/>
          </a:prstGeom>
        </p:spPr>
        <p:txBody>
          <a:bodyPr lIns="108850" tIns="54425" rIns="108850" bIns="54425"/>
          <a:lstStyle/>
          <a:p>
            <a:fld id="{2A603147-C618-4EA3-8F82-359C170F62BB}" type="slidenum">
              <a:rPr lang="en-GB" smtClean="0"/>
              <a:pPr/>
              <a:t>‹#›</a:t>
            </a:fld>
            <a:endParaRPr lang="en-GB"/>
          </a:p>
        </p:txBody>
      </p:sp>
      <p:sp>
        <p:nvSpPr>
          <p:cNvPr id="9" name="Text Placeholder 8"/>
          <p:cNvSpPr>
            <a:spLocks noGrp="1"/>
          </p:cNvSpPr>
          <p:nvPr>
            <p:ph type="body" sz="quarter" idx="13" hasCustomPrompt="1"/>
          </p:nvPr>
        </p:nvSpPr>
        <p:spPr>
          <a:xfrm>
            <a:off x="336000" y="771650"/>
            <a:ext cx="9984000" cy="504000"/>
          </a:xfrm>
        </p:spPr>
        <p:txBody>
          <a:bodyPr vert="horz" lIns="108850" tIns="54425" rIns="108850" bIns="54425" rtlCol="0" anchor="t">
            <a:noAutofit/>
          </a:bodyPr>
          <a:lstStyle>
            <a:lvl1pPr>
              <a:defRPr lang="en-US" sz="1600" i="1" dirty="0">
                <a:latin typeface="Calibri" panose="020F0502020204030204" pitchFamily="34" charset="0"/>
                <a:cs typeface="Calibri" panose="020F0502020204030204" pitchFamily="34" charset="0"/>
              </a:defRPr>
            </a:lvl1pPr>
          </a:lstStyle>
          <a:p>
            <a:pPr marL="0" lvl="0" indent="0">
              <a:spcAft>
                <a:spcPts val="0"/>
              </a:spcAft>
              <a:buNone/>
            </a:pPr>
            <a:r>
              <a:rPr lang="en-GB" dirty="0"/>
              <a:t>Supporting heading</a:t>
            </a:r>
            <a:endParaRPr lang="en-US" dirty="0"/>
          </a:p>
        </p:txBody>
      </p:sp>
      <p:sp>
        <p:nvSpPr>
          <p:cNvPr id="10" name="Text Placeholder 14"/>
          <p:cNvSpPr>
            <a:spLocks noGrp="1"/>
          </p:cNvSpPr>
          <p:nvPr>
            <p:ph type="body" sz="quarter" idx="21" hasCustomPrompt="1"/>
          </p:nvPr>
        </p:nvSpPr>
        <p:spPr>
          <a:xfrm>
            <a:off x="462433" y="6221528"/>
            <a:ext cx="10752000" cy="468000"/>
          </a:xfrm>
        </p:spPr>
        <p:txBody>
          <a:bodyPr lIns="0" tIns="0" rIns="0" bIns="0" anchor="t" anchorCtr="0"/>
          <a:lstStyle>
            <a:lvl1pPr marL="0" indent="0" algn="l">
              <a:lnSpc>
                <a:spcPct val="100000"/>
              </a:lnSpc>
              <a:spcBef>
                <a:spcPts val="0"/>
              </a:spcBef>
              <a:spcAft>
                <a:spcPts val="0"/>
              </a:spcAft>
              <a:buNone/>
              <a:defRPr sz="700"/>
            </a:lvl1pPr>
          </a:lstStyle>
          <a:p>
            <a:pPr lvl="0"/>
            <a:r>
              <a:rPr lang="en-GB" dirty="0"/>
              <a:t>References</a:t>
            </a:r>
          </a:p>
        </p:txBody>
      </p:sp>
      <p:sp>
        <p:nvSpPr>
          <p:cNvPr id="11" name="Text Placeholder 14"/>
          <p:cNvSpPr>
            <a:spLocks noGrp="1"/>
          </p:cNvSpPr>
          <p:nvPr>
            <p:ph type="body" sz="quarter" idx="19" hasCustomPrompt="1"/>
          </p:nvPr>
        </p:nvSpPr>
        <p:spPr>
          <a:xfrm>
            <a:off x="470401" y="5962570"/>
            <a:ext cx="11251200" cy="194733"/>
          </a:xfrm>
        </p:spPr>
        <p:txBody>
          <a:bodyPr lIns="0" tIns="0" rIns="0" bIns="0" anchor="b" anchorCtr="0">
            <a:noAutofit/>
          </a:bodyPr>
          <a:lstStyle>
            <a:lvl1pPr marL="0" indent="0" algn="l">
              <a:lnSpc>
                <a:spcPct val="100000"/>
              </a:lnSpc>
              <a:spcBef>
                <a:spcPts val="0"/>
              </a:spcBef>
              <a:spcAft>
                <a:spcPts val="0"/>
              </a:spcAft>
              <a:buNone/>
              <a:defRPr sz="700"/>
            </a:lvl1pPr>
          </a:lstStyle>
          <a:p>
            <a:pPr lvl="0"/>
            <a:r>
              <a:rPr lang="en-GB" dirty="0"/>
              <a:t>Abbreviations</a:t>
            </a:r>
          </a:p>
        </p:txBody>
      </p:sp>
    </p:spTree>
    <p:extLst>
      <p:ext uri="{BB962C8B-B14F-4D97-AF65-F5344CB8AC3E}">
        <p14:creationId xmlns:p14="http://schemas.microsoft.com/office/powerpoint/2010/main" val="146932862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486833" y="267372"/>
            <a:ext cx="10102852" cy="540665"/>
          </a:xfrm>
        </p:spPr>
        <p:txBody>
          <a:bodyPr/>
          <a:lstStyle>
            <a:lvl1pPr>
              <a:defRPr sz="2899">
                <a:latin typeface="微软雅黑" panose="020B0503020204020204" pitchFamily="34" charset="-122"/>
                <a:ea typeface="微软雅黑" panose="020B0503020204020204" pitchFamily="34" charset="-122"/>
              </a:defRPr>
            </a:lvl1pPr>
          </a:lstStyle>
          <a:p>
            <a:r>
              <a:rPr lang="en-US" dirty="0"/>
              <a:t>Click to edit Master title style</a:t>
            </a:r>
            <a:endParaRPr lang="en-GB" dirty="0"/>
          </a:p>
        </p:txBody>
      </p:sp>
      <p:sp>
        <p:nvSpPr>
          <p:cNvPr id="6" name="Text Placeholder 5"/>
          <p:cNvSpPr>
            <a:spLocks noGrp="1"/>
          </p:cNvSpPr>
          <p:nvPr>
            <p:ph type="body" sz="quarter" idx="18" hasCustomPrompt="1"/>
          </p:nvPr>
        </p:nvSpPr>
        <p:spPr>
          <a:xfrm>
            <a:off x="492757" y="5917663"/>
            <a:ext cx="11261094" cy="263535"/>
          </a:xfrm>
        </p:spPr>
        <p:txBody>
          <a:bodyPr wrap="square" anchor="b" anchorCtr="0">
            <a:spAutoFit/>
          </a:bodyPr>
          <a:lstStyle>
            <a:lvl1pPr marL="0" indent="0">
              <a:buNone/>
              <a:defRPr sz="1000" baseline="0">
                <a:latin typeface="微软雅黑" panose="020B0503020204020204" pitchFamily="34" charset="-122"/>
                <a:ea typeface="微软雅黑" panose="020B0503020204020204" pitchFamily="34" charset="-122"/>
              </a:defRPr>
            </a:lvl1pPr>
            <a:lvl2pPr marL="319157" indent="0">
              <a:buNone/>
              <a:defRPr sz="1000"/>
            </a:lvl2pPr>
            <a:lvl3pPr marL="642687" indent="0">
              <a:buNone/>
              <a:defRPr sz="1000"/>
            </a:lvl3pPr>
            <a:lvl4pPr marL="965326" indent="0">
              <a:buNone/>
              <a:defRPr sz="1000"/>
            </a:lvl4pPr>
            <a:lvl5pPr marL="1285375" indent="0">
              <a:buNone/>
              <a:defRPr sz="1000"/>
            </a:lvl5pPr>
          </a:lstStyle>
          <a:p>
            <a:pPr lvl="0"/>
            <a:r>
              <a:rPr lang="en-US" dirty="0"/>
              <a:t>Insert Source text here</a:t>
            </a:r>
          </a:p>
        </p:txBody>
      </p:sp>
    </p:spTree>
    <p:extLst>
      <p:ext uri="{BB962C8B-B14F-4D97-AF65-F5344CB8AC3E}">
        <p14:creationId xmlns:p14="http://schemas.microsoft.com/office/powerpoint/2010/main" val="35494904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华文中宋" pitchFamily="2" charset="-122"/>
                <a:ea typeface="华文中宋" pitchFamily="2" charset="-122"/>
              </a:defRPr>
            </a:lvl1pPr>
          </a:lstStyle>
          <a:p>
            <a:r>
              <a:rPr lang="en-US" dirty="0"/>
              <a:t>Click to edit Master title style</a:t>
            </a:r>
            <a:endParaRPr lang="en-GB" dirty="0"/>
          </a:p>
        </p:txBody>
      </p:sp>
      <p:sp>
        <p:nvSpPr>
          <p:cNvPr id="12" name="Content Placeholder 11"/>
          <p:cNvSpPr>
            <a:spLocks noGrp="1"/>
          </p:cNvSpPr>
          <p:nvPr>
            <p:ph sz="quarter" idx="13"/>
          </p:nvPr>
        </p:nvSpPr>
        <p:spPr>
          <a:xfrm>
            <a:off x="608517" y="1179576"/>
            <a:ext cx="10968567" cy="4932668"/>
          </a:xfrm>
        </p:spPr>
        <p:txBody>
          <a:bodyPr/>
          <a:lstStyle>
            <a:lvl1pPr>
              <a:defRPr>
                <a:latin typeface="华文中宋" pitchFamily="2" charset="-122"/>
                <a:ea typeface="华文中宋" pitchFamily="2" charset="-122"/>
              </a:defRPr>
            </a:lvl1pPr>
            <a:lvl2pPr>
              <a:defRPr>
                <a:latin typeface="华文中宋" pitchFamily="2" charset="-122"/>
                <a:ea typeface="华文中宋" pitchFamily="2" charset="-122"/>
              </a:defRPr>
            </a:lvl2pPr>
            <a:lvl3pPr>
              <a:defRPr>
                <a:latin typeface="华文中宋" pitchFamily="2" charset="-122"/>
                <a:ea typeface="华文中宋" pitchFamily="2" charset="-122"/>
              </a:defRPr>
            </a:lvl3pPr>
            <a:lvl4pPr>
              <a:defRPr>
                <a:latin typeface="华文中宋" pitchFamily="2" charset="-122"/>
                <a:ea typeface="华文中宋" pitchFamily="2" charset="-122"/>
              </a:defRPr>
            </a:lvl4pPr>
            <a:lvl5pPr>
              <a:defRPr>
                <a:latin typeface="华文中宋" pitchFamily="2" charset="-122"/>
                <a:ea typeface="华文中宋" pitchFamily="2" charset="-122"/>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userDrawn="1">
            <p:ph type="sldNum" sz="quarter" idx="4"/>
          </p:nvPr>
        </p:nvSpPr>
        <p:spPr>
          <a:xfrm>
            <a:off x="641814" y="6492875"/>
            <a:ext cx="304800" cy="137160"/>
          </a:xfrm>
          <a:prstGeom prst="rect">
            <a:avLst/>
          </a:prstGeom>
        </p:spPr>
        <p:txBody>
          <a:bodyPr/>
          <a:lstStyle>
            <a:lvl1pPr marL="0" algn="l" defTabSz="914400" rtl="0" eaLnBrk="0" latinLnBrk="0" hangingPunct="0">
              <a:defRPr sz="900" kern="1200">
                <a:solidFill>
                  <a:srgbClr val="002868"/>
                </a:solidFill>
                <a:latin typeface="+mn-lt"/>
                <a:ea typeface="+mn-ea"/>
                <a:cs typeface="+mn-cs"/>
              </a:defRPr>
            </a:lvl1pPr>
          </a:lstStyle>
          <a:p>
            <a:fld id="{078CA1E6-1B09-488D-A1FF-E8A47C315D27}" type="slidenum">
              <a:rPr smtClean="0"/>
              <a:pPr/>
              <a:t>‹#›</a:t>
            </a:fld>
            <a:endParaRPr dirty="0"/>
          </a:p>
        </p:txBody>
      </p:sp>
    </p:spTree>
    <p:extLst>
      <p:ext uri="{BB962C8B-B14F-4D97-AF65-F5344CB8AC3E}">
        <p14:creationId xmlns:p14="http://schemas.microsoft.com/office/powerpoint/2010/main" val="140389411"/>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Column - Bullets_no subtitle">
    <p:spTree>
      <p:nvGrpSpPr>
        <p:cNvPr id="1" name=""/>
        <p:cNvGrpSpPr/>
        <p:nvPr/>
      </p:nvGrpSpPr>
      <p:grpSpPr>
        <a:xfrm>
          <a:off x="0" y="0"/>
          <a:ext cx="0" cy="0"/>
          <a:chOff x="0" y="0"/>
          <a:chExt cx="0" cy="0"/>
        </a:xfrm>
      </p:grpSpPr>
      <p:sp>
        <p:nvSpPr>
          <p:cNvPr id="5" name="Text Placeholder 2"/>
          <p:cNvSpPr>
            <a:spLocks noGrp="1"/>
          </p:cNvSpPr>
          <p:nvPr>
            <p:ph idx="1" hasCustomPrompt="1"/>
          </p:nvPr>
        </p:nvSpPr>
        <p:spPr>
          <a:xfrm>
            <a:off x="647623" y="1080411"/>
            <a:ext cx="11039996" cy="4998150"/>
          </a:xfrm>
          <a:prstGeom prst="rect">
            <a:avLst/>
          </a:prstGeom>
        </p:spPr>
        <p:txBody>
          <a:bodyPr vert="horz" wrap="square" lIns="0" tIns="0" rIns="0" bIns="0" rtlCol="0">
            <a:noAutofit/>
          </a:bodyPr>
          <a:lstStyle>
            <a:lvl1pPr>
              <a:defRPr/>
            </a:lvl1pPr>
            <a:lvl2pPr>
              <a:defRPr/>
            </a:lvl2pPr>
            <a:lvl3pPr>
              <a:defRPr/>
            </a:lvl3pPr>
            <a:lvl4pPr>
              <a:defRPr/>
            </a:lvl4pPr>
            <a:lvl5pPr>
              <a:defRPr/>
            </a:lvl5pPr>
          </a:lstStyle>
          <a:p>
            <a:pPr lvl="0"/>
            <a:r>
              <a:rPr lang="en-US" dirty="0"/>
              <a:t>  Click to edit text styles</a:t>
            </a:r>
          </a:p>
          <a:p>
            <a:pPr lvl="1"/>
            <a:r>
              <a:rPr lang="en-US" dirty="0"/>
              <a:t>  Second level</a:t>
            </a:r>
          </a:p>
          <a:p>
            <a:pPr lvl="2"/>
            <a:r>
              <a:rPr lang="en-US" dirty="0"/>
              <a:t>  Third level</a:t>
            </a:r>
          </a:p>
          <a:p>
            <a:pPr lvl="3"/>
            <a:r>
              <a:rPr lang="en-US" dirty="0"/>
              <a:t>  Fourth level</a:t>
            </a:r>
          </a:p>
          <a:p>
            <a:pPr lvl="4"/>
            <a:r>
              <a:rPr lang="en-US" dirty="0"/>
              <a:t>  Fifth level</a:t>
            </a:r>
          </a:p>
        </p:txBody>
      </p:sp>
      <p:sp>
        <p:nvSpPr>
          <p:cNvPr id="9" name="Title 1"/>
          <p:cNvSpPr>
            <a:spLocks noGrp="1"/>
          </p:cNvSpPr>
          <p:nvPr>
            <p:ph type="title" hasCustomPrompt="1"/>
          </p:nvPr>
        </p:nvSpPr>
        <p:spPr>
          <a:xfrm>
            <a:off x="647623" y="75203"/>
            <a:ext cx="11040000" cy="849228"/>
          </a:xfrm>
        </p:spPr>
        <p:txBody>
          <a:bodyPr wrap="square">
            <a:noAutofit/>
          </a:bodyPr>
          <a:lstStyle>
            <a:lvl1pPr>
              <a:defRPr baseline="0"/>
            </a:lvl1pPr>
          </a:lstStyle>
          <a:p>
            <a:r>
              <a:rPr lang="en-US" dirty="0"/>
              <a:t>Click to edit title</a:t>
            </a:r>
          </a:p>
        </p:txBody>
      </p:sp>
      <p:sp>
        <p:nvSpPr>
          <p:cNvPr id="6" name="TextBox 8"/>
          <p:cNvSpPr txBox="1"/>
          <p:nvPr userDrawn="1"/>
        </p:nvSpPr>
        <p:spPr>
          <a:xfrm>
            <a:off x="196550" y="6427715"/>
            <a:ext cx="287901" cy="146194"/>
          </a:xfrm>
          <a:prstGeom prst="rect">
            <a:avLst/>
          </a:prstGeom>
          <a:noFill/>
        </p:spPr>
        <p:txBody>
          <a:bodyPr wrap="square" lIns="0" tIns="0" rIns="0" bIns="0" rtlCol="0">
            <a:spAutoFit/>
          </a:bodyPr>
          <a:lstStyle/>
          <a:p>
            <a:pPr algn="ctr" fontAlgn="base">
              <a:spcBef>
                <a:spcPct val="0"/>
              </a:spcBef>
              <a:spcAft>
                <a:spcPct val="0"/>
              </a:spcAft>
              <a:buFont typeface="Arial"/>
              <a:buNone/>
            </a:pPr>
            <a:fld id="{DEF0A56F-D2D0-4957-B6A4-1DC911A5477B}" type="slidenum">
              <a:rPr lang="en-GB" sz="950" smtClean="0">
                <a:solidFill>
                  <a:srgbClr val="8EAFBF"/>
                </a:solidFill>
              </a:rPr>
              <a:pPr algn="ctr" fontAlgn="base">
                <a:spcBef>
                  <a:spcPct val="0"/>
                </a:spcBef>
                <a:spcAft>
                  <a:spcPct val="0"/>
                </a:spcAft>
                <a:buFont typeface="Arial"/>
                <a:buNone/>
              </a:pPr>
              <a:t>‹#›</a:t>
            </a:fld>
            <a:endParaRPr lang="en-US" sz="950" dirty="0">
              <a:solidFill>
                <a:srgbClr val="8EAFBF"/>
              </a:solidFill>
            </a:endParaRPr>
          </a:p>
        </p:txBody>
      </p:sp>
    </p:spTree>
    <p:extLst>
      <p:ext uri="{BB962C8B-B14F-4D97-AF65-F5344CB8AC3E}">
        <p14:creationId xmlns:p14="http://schemas.microsoft.com/office/powerpoint/2010/main" val="37483790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6833" y="605347"/>
            <a:ext cx="10102852" cy="430887"/>
          </a:xfrm>
        </p:spPr>
        <p:txBody>
          <a:bodyPr/>
          <a:lstStyle>
            <a:lvl1pPr>
              <a:defRPr sz="2800" baseline="0">
                <a:latin typeface="Arial" pitchFamily="34" charset="0"/>
                <a:ea typeface="微软雅黑" pitchFamily="34" charset="-122"/>
              </a:defRPr>
            </a:lvl1pPr>
          </a:lstStyle>
          <a:p>
            <a:r>
              <a:rPr lang="en-US" dirty="0"/>
              <a:t>Click to edit Master title style</a:t>
            </a:r>
          </a:p>
        </p:txBody>
      </p:sp>
      <p:sp>
        <p:nvSpPr>
          <p:cNvPr id="3" name="Content Placeholder 2"/>
          <p:cNvSpPr>
            <a:spLocks noGrp="1"/>
          </p:cNvSpPr>
          <p:nvPr>
            <p:ph idx="1"/>
          </p:nvPr>
        </p:nvSpPr>
        <p:spPr>
          <a:xfrm>
            <a:off x="486832" y="1121192"/>
            <a:ext cx="11218995" cy="4665773"/>
          </a:xfrm>
        </p:spPr>
        <p:txBody>
          <a:bodyPr/>
          <a:lstStyle>
            <a:lvl1pPr>
              <a:lnSpc>
                <a:spcPct val="120000"/>
              </a:lnSpc>
              <a:spcAft>
                <a:spcPts val="0"/>
              </a:spcAft>
              <a:defRPr sz="2000" baseline="0">
                <a:latin typeface="Arial" pitchFamily="34" charset="0"/>
                <a:ea typeface="微软雅黑" pitchFamily="34" charset="-122"/>
              </a:defRPr>
            </a:lvl1pPr>
            <a:lvl2pPr>
              <a:lnSpc>
                <a:spcPct val="120000"/>
              </a:lnSpc>
              <a:spcAft>
                <a:spcPts val="0"/>
              </a:spcAft>
              <a:defRPr baseline="0">
                <a:latin typeface="Arial" pitchFamily="34" charset="0"/>
                <a:ea typeface="微软雅黑" pitchFamily="34" charset="-122"/>
              </a:defRPr>
            </a:lvl2pPr>
            <a:lvl3pPr>
              <a:lnSpc>
                <a:spcPct val="120000"/>
              </a:lnSpc>
              <a:spcAft>
                <a:spcPts val="0"/>
              </a:spcAft>
              <a:defRPr baseline="0">
                <a:latin typeface="Arial" pitchFamily="34" charset="0"/>
                <a:ea typeface="微软雅黑" pitchFamily="34" charset="-122"/>
              </a:defRPr>
            </a:lvl3pPr>
            <a:lvl4pPr>
              <a:lnSpc>
                <a:spcPct val="120000"/>
              </a:lnSpc>
              <a:spcAft>
                <a:spcPts val="0"/>
              </a:spcAft>
              <a:defRPr baseline="0">
                <a:latin typeface="Arial" pitchFamily="34" charset="0"/>
                <a:ea typeface="微软雅黑" pitchFamily="34" charset="-122"/>
              </a:defRPr>
            </a:lvl4pPr>
            <a:lvl5pPr>
              <a:lnSpc>
                <a:spcPct val="120000"/>
              </a:lnSpc>
              <a:spcAft>
                <a:spcPts val="0"/>
              </a:spcAft>
              <a:defRPr baseline="0">
                <a:latin typeface="Arial" pitchFamily="34" charset="0"/>
                <a:ea typeface="微软雅黑" pitchFamily="34" charset="-122"/>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p:cNvSpPr>
            <a:spLocks noGrp="1"/>
          </p:cNvSpPr>
          <p:nvPr>
            <p:ph type="body" sz="quarter" idx="18" hasCustomPrompt="1"/>
          </p:nvPr>
        </p:nvSpPr>
        <p:spPr>
          <a:xfrm>
            <a:off x="492758" y="6342618"/>
            <a:ext cx="11261093" cy="281872"/>
          </a:xfrm>
        </p:spPr>
        <p:txBody>
          <a:bodyPr wrap="square" anchor="b" anchorCtr="0">
            <a:spAutoFit/>
          </a:bodyPr>
          <a:lstStyle>
            <a:lvl1pPr marL="0" indent="0">
              <a:lnSpc>
                <a:spcPct val="120000"/>
              </a:lnSpc>
              <a:spcAft>
                <a:spcPts val="0"/>
              </a:spcAft>
              <a:buNone/>
              <a:defRPr sz="800" baseline="0">
                <a:latin typeface="Arial" pitchFamily="34" charset="0"/>
                <a:ea typeface="微软雅黑" pitchFamily="34" charset="-122"/>
              </a:defRPr>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Insert Source text here</a:t>
            </a:r>
          </a:p>
          <a:p>
            <a:pPr lvl="0"/>
            <a:endParaRPr lang="en-US" dirty="0"/>
          </a:p>
        </p:txBody>
      </p:sp>
    </p:spTree>
    <p:extLst>
      <p:ext uri="{BB962C8B-B14F-4D97-AF65-F5344CB8AC3E}">
        <p14:creationId xmlns:p14="http://schemas.microsoft.com/office/powerpoint/2010/main" val="30270570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Section Header or Statement">
    <p:spTree>
      <p:nvGrpSpPr>
        <p:cNvPr id="1" name=""/>
        <p:cNvGrpSpPr/>
        <p:nvPr/>
      </p:nvGrpSpPr>
      <p:grpSpPr>
        <a:xfrm>
          <a:off x="0" y="0"/>
          <a:ext cx="0" cy="0"/>
          <a:chOff x="0" y="0"/>
          <a:chExt cx="0" cy="0"/>
        </a:xfrm>
      </p:grpSpPr>
      <p:pic>
        <p:nvPicPr>
          <p:cNvPr id="5" name="Picture 13"/>
          <p:cNvPicPr>
            <a:picLocks noChangeAspect="1"/>
          </p:cNvPicPr>
          <p:nvPr/>
        </p:nvPicPr>
        <p:blipFill>
          <a:blip r:embed="rId2" cstate="email"/>
          <a:srcRect/>
          <a:stretch>
            <a:fillRect/>
          </a:stretch>
        </p:blipFill>
        <p:spPr bwMode="auto">
          <a:xfrm>
            <a:off x="0" y="0"/>
            <a:ext cx="12192000" cy="6858000"/>
          </a:xfrm>
          <a:prstGeom prst="rect">
            <a:avLst/>
          </a:prstGeom>
          <a:noFill/>
          <a:ln w="9525">
            <a:noFill/>
            <a:miter lim="800000"/>
            <a:headEnd/>
            <a:tailEnd/>
          </a:ln>
        </p:spPr>
      </p:pic>
      <p:sp>
        <p:nvSpPr>
          <p:cNvPr id="12" name="Text Placeholder 5"/>
          <p:cNvSpPr>
            <a:spLocks noGrp="1"/>
          </p:cNvSpPr>
          <p:nvPr>
            <p:ph type="body" sz="quarter" idx="11"/>
          </p:nvPr>
        </p:nvSpPr>
        <p:spPr>
          <a:xfrm>
            <a:off x="483203" y="5906101"/>
            <a:ext cx="3191244" cy="246221"/>
          </a:xfrm>
        </p:spPr>
        <p:txBody>
          <a:bodyPr anchor="b">
            <a:spAutoFit/>
          </a:bodyPr>
          <a:lstStyle>
            <a:lvl1pPr marL="0" indent="0">
              <a:spcAft>
                <a:spcPts val="0"/>
              </a:spcAft>
              <a:buNone/>
              <a:defRPr>
                <a:solidFill>
                  <a:schemeClr val="bg1"/>
                </a:solidFill>
              </a:defRPr>
            </a:lvl1pPr>
            <a:lvl2pPr marL="271463" indent="0">
              <a:spcAft>
                <a:spcPts val="0"/>
              </a:spcAft>
              <a:buNone/>
              <a:defRPr>
                <a:solidFill>
                  <a:schemeClr val="bg1"/>
                </a:solidFill>
              </a:defRPr>
            </a:lvl2pPr>
            <a:lvl3pPr marL="533400" indent="0">
              <a:spcAft>
                <a:spcPts val="0"/>
              </a:spcAft>
              <a:buNone/>
              <a:defRPr>
                <a:solidFill>
                  <a:schemeClr val="bg1"/>
                </a:solidFill>
              </a:defRPr>
            </a:lvl3pPr>
            <a:lvl4pPr marL="815975" indent="0">
              <a:spcAft>
                <a:spcPts val="0"/>
              </a:spcAft>
              <a:buNone/>
              <a:defRPr>
                <a:solidFill>
                  <a:schemeClr val="bg1"/>
                </a:solidFill>
              </a:defRPr>
            </a:lvl4pPr>
            <a:lvl5pPr marL="1104900" indent="0">
              <a:spcAft>
                <a:spcPts val="0"/>
              </a:spcAft>
              <a:buNone/>
              <a:defRPr>
                <a:solidFill>
                  <a:schemeClr val="bg1"/>
                </a:solidFill>
              </a:defRPr>
            </a:lvl5pPr>
          </a:lstStyle>
          <a:p>
            <a:pPr lvl="0"/>
            <a:r>
              <a:rPr lang="zh-CN" altLang="en-US"/>
              <a:t>单击此处编辑母版文本样式</a:t>
            </a:r>
          </a:p>
        </p:txBody>
      </p:sp>
      <p:sp>
        <p:nvSpPr>
          <p:cNvPr id="13" name="Text Placeholder 3"/>
          <p:cNvSpPr>
            <a:spLocks noGrp="1"/>
          </p:cNvSpPr>
          <p:nvPr>
            <p:ph type="body" sz="quarter" idx="10"/>
          </p:nvPr>
        </p:nvSpPr>
        <p:spPr>
          <a:xfrm>
            <a:off x="466269" y="4544968"/>
            <a:ext cx="9160723" cy="333425"/>
          </a:xfrm>
        </p:spPr>
        <p:txBody>
          <a:bodyPr anchor="ctr">
            <a:spAutoFit/>
          </a:bodyPr>
          <a:lstStyle>
            <a:lvl1pPr marL="0" indent="0">
              <a:lnSpc>
                <a:spcPts val="2600"/>
              </a:lnSpc>
              <a:spcAft>
                <a:spcPts val="0"/>
              </a:spcAft>
              <a:buNone/>
              <a:defRPr sz="2600" b="1">
                <a:solidFill>
                  <a:schemeClr val="bg1"/>
                </a:solidFill>
              </a:defRPr>
            </a:lvl1pPr>
            <a:lvl2pPr marL="271463" indent="0">
              <a:buNone/>
              <a:defRPr sz="2600" b="1">
                <a:solidFill>
                  <a:schemeClr val="bg1"/>
                </a:solidFill>
              </a:defRPr>
            </a:lvl2pPr>
            <a:lvl3pPr marL="533400" indent="0">
              <a:buNone/>
              <a:defRPr sz="2600" b="1">
                <a:solidFill>
                  <a:schemeClr val="bg1"/>
                </a:solidFill>
              </a:defRPr>
            </a:lvl3pPr>
            <a:lvl4pPr marL="815975" indent="0">
              <a:buNone/>
              <a:defRPr sz="2600" b="1">
                <a:solidFill>
                  <a:schemeClr val="bg1"/>
                </a:solidFill>
              </a:defRPr>
            </a:lvl4pPr>
            <a:lvl5pPr marL="1104900" indent="0">
              <a:buNone/>
              <a:defRPr sz="2600" b="1">
                <a:solidFill>
                  <a:schemeClr val="bg1"/>
                </a:solidFill>
              </a:defRPr>
            </a:lvl5pPr>
          </a:lstStyle>
          <a:p>
            <a:pPr lvl="0"/>
            <a:r>
              <a:rPr lang="zh-CN" altLang="en-US"/>
              <a:t>单击此处编辑母版文本样式</a:t>
            </a:r>
          </a:p>
        </p:txBody>
      </p:sp>
      <p:sp>
        <p:nvSpPr>
          <p:cNvPr id="9" name="Text Placeholder 6"/>
          <p:cNvSpPr>
            <a:spLocks noGrp="1"/>
          </p:cNvSpPr>
          <p:nvPr>
            <p:ph type="body" sz="quarter" idx="12"/>
          </p:nvPr>
        </p:nvSpPr>
        <p:spPr>
          <a:xfrm>
            <a:off x="483203" y="1519770"/>
            <a:ext cx="9152469" cy="400110"/>
          </a:xfrm>
        </p:spPr>
        <p:txBody>
          <a:bodyPr>
            <a:spAutoFit/>
          </a:bodyPr>
          <a:lstStyle>
            <a:lvl1pPr marL="0" indent="0">
              <a:spcAft>
                <a:spcPts val="0"/>
              </a:spcAft>
              <a:buNone/>
              <a:defRPr sz="2600" b="1">
                <a:solidFill>
                  <a:schemeClr val="bg1"/>
                </a:solidFill>
              </a:defRPr>
            </a:lvl1pPr>
            <a:lvl2pPr marL="271463" indent="0">
              <a:buNone/>
              <a:defRPr>
                <a:solidFill>
                  <a:schemeClr val="bg1"/>
                </a:solidFill>
              </a:defRPr>
            </a:lvl2pPr>
            <a:lvl3pPr marL="533400" indent="0">
              <a:buNone/>
              <a:defRPr>
                <a:solidFill>
                  <a:schemeClr val="bg1"/>
                </a:solidFill>
              </a:defRPr>
            </a:lvl3pPr>
            <a:lvl4pPr marL="815975" indent="0">
              <a:buNone/>
              <a:defRPr>
                <a:solidFill>
                  <a:schemeClr val="bg1"/>
                </a:solidFill>
              </a:defRPr>
            </a:lvl4pPr>
            <a:lvl5pPr marL="1104900" indent="0">
              <a:buNone/>
              <a:defRPr>
                <a:solidFill>
                  <a:schemeClr val="bg1"/>
                </a:solidFill>
              </a:defRPr>
            </a:lvl5pPr>
          </a:lstStyle>
          <a:p>
            <a:pPr lvl="0"/>
            <a:r>
              <a:rPr lang="zh-CN" altLang="en-US"/>
              <a:t>单击此处编辑母版文本样式</a:t>
            </a:r>
          </a:p>
        </p:txBody>
      </p:sp>
      <p:pic>
        <p:nvPicPr>
          <p:cNvPr id="7" name="Picture 14">
            <a:extLst>
              <a:ext uri="{FF2B5EF4-FFF2-40B4-BE49-F238E27FC236}">
                <a16:creationId xmlns:a16="http://schemas.microsoft.com/office/drawing/2014/main" id="{86B71DDE-CBD8-43C0-B02A-E2AB729635B3}"/>
              </a:ext>
            </a:extLst>
          </p:cNvPr>
          <p:cNvPicPr>
            <a:picLocks noChangeAspect="1"/>
          </p:cNvPicPr>
          <p:nvPr userDrawn="1"/>
        </p:nvPicPr>
        <p:blipFill rotWithShape="1">
          <a:blip r:embed="rId3" cstate="print">
            <a:alphaModFix/>
            <a:extLst>
              <a:ext uri="{28A0092B-C50C-407E-A947-70E740481C1C}">
                <a14:useLocalDpi xmlns:a14="http://schemas.microsoft.com/office/drawing/2010/main" val="0"/>
              </a:ext>
            </a:extLst>
          </a:blip>
          <a:srcRect t="1568" b="-1"/>
          <a:stretch/>
        </p:blipFill>
        <p:spPr>
          <a:xfrm>
            <a:off x="9928067" y="0"/>
            <a:ext cx="2263933" cy="1026156"/>
          </a:xfrm>
          <a:prstGeom prst="rect">
            <a:avLst/>
          </a:prstGeom>
        </p:spPr>
      </p:pic>
    </p:spTree>
    <p:extLst>
      <p:ext uri="{BB962C8B-B14F-4D97-AF65-F5344CB8AC3E}">
        <p14:creationId xmlns:p14="http://schemas.microsoft.com/office/powerpoint/2010/main" val="27901580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Section Header Image 4">
    <p:spTree>
      <p:nvGrpSpPr>
        <p:cNvPr id="1" name=""/>
        <p:cNvGrpSpPr/>
        <p:nvPr/>
      </p:nvGrpSpPr>
      <p:grpSpPr>
        <a:xfrm>
          <a:off x="0" y="0"/>
          <a:ext cx="0" cy="0"/>
          <a:chOff x="0" y="0"/>
          <a:chExt cx="0" cy="0"/>
        </a:xfrm>
      </p:grpSpPr>
      <p:pic>
        <p:nvPicPr>
          <p:cNvPr id="4" name="Picture 10" descr="4.3 template3.jpg"/>
          <p:cNvPicPr>
            <a:picLocks noChangeAspect="1"/>
          </p:cNvPicPr>
          <p:nvPr/>
        </p:nvPicPr>
        <p:blipFill>
          <a:blip r:embed="rId2" cstate="email"/>
          <a:srcRect/>
          <a:stretch>
            <a:fillRect/>
          </a:stretch>
        </p:blipFill>
        <p:spPr bwMode="auto">
          <a:xfrm>
            <a:off x="0" y="0"/>
            <a:ext cx="12192000" cy="6858000"/>
          </a:xfrm>
          <a:prstGeom prst="rect">
            <a:avLst/>
          </a:prstGeom>
          <a:noFill/>
          <a:ln w="9525">
            <a:noFill/>
            <a:miter lim="800000"/>
            <a:headEnd/>
            <a:tailEnd/>
          </a:ln>
        </p:spPr>
      </p:pic>
      <p:pic>
        <p:nvPicPr>
          <p:cNvPr id="5" name="Picture 7"/>
          <p:cNvPicPr>
            <a:picLocks noChangeAspect="1"/>
          </p:cNvPicPr>
          <p:nvPr/>
        </p:nvPicPr>
        <p:blipFill>
          <a:blip r:embed="rId3" cstate="email"/>
          <a:srcRect/>
          <a:stretch>
            <a:fillRect/>
          </a:stretch>
        </p:blipFill>
        <p:spPr bwMode="auto">
          <a:xfrm>
            <a:off x="-10584" y="2012950"/>
            <a:ext cx="5327651" cy="4857750"/>
          </a:xfrm>
          <a:prstGeom prst="rect">
            <a:avLst/>
          </a:prstGeom>
          <a:noFill/>
          <a:ln w="9525">
            <a:noFill/>
            <a:miter lim="800000"/>
            <a:headEnd/>
            <a:tailEnd/>
          </a:ln>
        </p:spPr>
      </p:pic>
      <p:pic>
        <p:nvPicPr>
          <p:cNvPr id="6" name="Picture 8"/>
          <p:cNvPicPr>
            <a:picLocks noChangeAspect="1"/>
          </p:cNvPicPr>
          <p:nvPr/>
        </p:nvPicPr>
        <p:blipFill>
          <a:blip r:embed="rId4" cstate="email"/>
          <a:srcRect/>
          <a:stretch>
            <a:fillRect/>
          </a:stretch>
        </p:blipFill>
        <p:spPr bwMode="auto">
          <a:xfrm>
            <a:off x="10977034" y="360363"/>
            <a:ext cx="738717" cy="476250"/>
          </a:xfrm>
          <a:prstGeom prst="rect">
            <a:avLst/>
          </a:prstGeom>
          <a:noFill/>
          <a:ln w="9525">
            <a:noFill/>
            <a:miter lim="800000"/>
            <a:headEnd/>
            <a:tailEnd/>
          </a:ln>
        </p:spPr>
      </p:pic>
      <p:sp>
        <p:nvSpPr>
          <p:cNvPr id="7" name="Text Placeholder 3"/>
          <p:cNvSpPr>
            <a:spLocks noGrp="1"/>
          </p:cNvSpPr>
          <p:nvPr>
            <p:ph type="body" sz="quarter" idx="10"/>
          </p:nvPr>
        </p:nvSpPr>
        <p:spPr>
          <a:xfrm>
            <a:off x="466356" y="4384801"/>
            <a:ext cx="3648000" cy="666849"/>
          </a:xfrm>
        </p:spPr>
        <p:txBody>
          <a:bodyPr anchor="ctr">
            <a:spAutoFit/>
          </a:bodyPr>
          <a:lstStyle>
            <a:lvl1pPr marL="0" indent="0">
              <a:lnSpc>
                <a:spcPts val="2600"/>
              </a:lnSpc>
              <a:spcAft>
                <a:spcPts val="0"/>
              </a:spcAft>
              <a:buNone/>
              <a:defRPr sz="2600" b="1">
                <a:solidFill>
                  <a:schemeClr val="bg1"/>
                </a:solidFill>
              </a:defRPr>
            </a:lvl1pPr>
            <a:lvl2pPr marL="271463" indent="0">
              <a:buNone/>
              <a:defRPr sz="2600" b="1">
                <a:solidFill>
                  <a:schemeClr val="bg1"/>
                </a:solidFill>
              </a:defRPr>
            </a:lvl2pPr>
            <a:lvl3pPr marL="533400" indent="0">
              <a:buNone/>
              <a:defRPr sz="2600" b="1">
                <a:solidFill>
                  <a:schemeClr val="bg1"/>
                </a:solidFill>
              </a:defRPr>
            </a:lvl3pPr>
            <a:lvl4pPr marL="815975" indent="0">
              <a:buNone/>
              <a:defRPr sz="2600" b="1">
                <a:solidFill>
                  <a:schemeClr val="bg1"/>
                </a:solidFill>
              </a:defRPr>
            </a:lvl4pPr>
            <a:lvl5pPr marL="1104900" indent="0">
              <a:buNone/>
              <a:defRPr sz="2600" b="1">
                <a:solidFill>
                  <a:schemeClr val="bg1"/>
                </a:solidFill>
              </a:defRPr>
            </a:lvl5pPr>
          </a:lstStyle>
          <a:p>
            <a:pPr lvl="0"/>
            <a:r>
              <a:rPr lang="zh-CN" altLang="en-US"/>
              <a:t>单击此处编辑母版文本样式</a:t>
            </a:r>
          </a:p>
        </p:txBody>
      </p:sp>
      <p:sp>
        <p:nvSpPr>
          <p:cNvPr id="10" name="Text Placeholder 23"/>
          <p:cNvSpPr>
            <a:spLocks noGrp="1"/>
          </p:cNvSpPr>
          <p:nvPr>
            <p:ph type="body" sz="quarter" idx="11"/>
          </p:nvPr>
        </p:nvSpPr>
        <p:spPr>
          <a:xfrm>
            <a:off x="464731" y="5400677"/>
            <a:ext cx="3627967" cy="246221"/>
          </a:xfrm>
        </p:spPr>
        <p:txBody>
          <a:bodyPr>
            <a:spAutoFit/>
          </a:bodyPr>
          <a:lstStyle>
            <a:lvl1pPr marL="0" indent="0">
              <a:spcAft>
                <a:spcPts val="0"/>
              </a:spcAft>
              <a:buNone/>
              <a:defRPr>
                <a:solidFill>
                  <a:schemeClr val="bg1"/>
                </a:solidFill>
              </a:defRPr>
            </a:lvl1pPr>
            <a:lvl2pPr marL="271463" indent="0">
              <a:buNone/>
              <a:defRPr>
                <a:solidFill>
                  <a:schemeClr val="bg1"/>
                </a:solidFill>
              </a:defRPr>
            </a:lvl2pPr>
            <a:lvl3pPr marL="533400" indent="0">
              <a:buNone/>
              <a:defRPr>
                <a:solidFill>
                  <a:schemeClr val="bg1"/>
                </a:solidFill>
              </a:defRPr>
            </a:lvl3pPr>
            <a:lvl4pPr marL="815975" indent="0">
              <a:buNone/>
              <a:defRPr>
                <a:solidFill>
                  <a:schemeClr val="bg1"/>
                </a:solidFill>
              </a:defRPr>
            </a:lvl4pPr>
            <a:lvl5pPr marL="1104900" indent="0">
              <a:buNone/>
              <a:defRPr>
                <a:solidFill>
                  <a:schemeClr val="bg1"/>
                </a:solidFill>
              </a:defRPr>
            </a:lvl5pPr>
          </a:lstStyle>
          <a:p>
            <a:pPr lvl="0"/>
            <a:r>
              <a:rPr lang="zh-CN" altLang="en-US"/>
              <a:t>单击此处编辑母版文本样式</a:t>
            </a:r>
          </a:p>
        </p:txBody>
      </p:sp>
    </p:spTree>
    <p:extLst>
      <p:ext uri="{BB962C8B-B14F-4D97-AF65-F5344CB8AC3E}">
        <p14:creationId xmlns:p14="http://schemas.microsoft.com/office/powerpoint/2010/main" val="15257404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cSld name="1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3980329" y="6437314"/>
            <a:ext cx="4219640" cy="365125"/>
          </a:xfrm>
          <a:prstGeom prst="rect">
            <a:avLst/>
          </a:prstGeom>
        </p:spPr>
        <p:txBody>
          <a:bodyPr/>
          <a:lstStyle/>
          <a:p>
            <a:endParaRPr lang="en-US" dirty="0"/>
          </a:p>
        </p:txBody>
      </p:sp>
      <p:sp>
        <p:nvSpPr>
          <p:cNvPr id="8" name="Footer Placeholder 7"/>
          <p:cNvSpPr>
            <a:spLocks noGrp="1"/>
          </p:cNvSpPr>
          <p:nvPr>
            <p:ph type="ftr" sz="quarter" idx="11"/>
          </p:nvPr>
        </p:nvSpPr>
        <p:spPr>
          <a:xfrm>
            <a:off x="383158" y="6437314"/>
            <a:ext cx="3515743" cy="365125"/>
          </a:xfrm>
          <a:prstGeom prst="rect">
            <a:avLst/>
          </a:prstGeom>
        </p:spPr>
        <p:txBody>
          <a:bodyPr/>
          <a:lstStyle/>
          <a:p>
            <a:endParaRPr lang="en-US" dirty="0"/>
          </a:p>
        </p:txBody>
      </p:sp>
      <p:sp>
        <p:nvSpPr>
          <p:cNvPr id="9" name="Slide Number Placeholder 8"/>
          <p:cNvSpPr>
            <a:spLocks noGrp="1"/>
          </p:cNvSpPr>
          <p:nvPr>
            <p:ph type="sldNum" sz="quarter" idx="12"/>
          </p:nvPr>
        </p:nvSpPr>
        <p:spPr>
          <a:xfrm>
            <a:off x="10623551" y="6437314"/>
            <a:ext cx="1107016" cy="365125"/>
          </a:xfrm>
          <a:prstGeom prst="rect">
            <a:avLst/>
          </a:prstGeom>
        </p:spPr>
        <p:txBody>
          <a:bodyPr/>
          <a:lstStyle/>
          <a:p>
            <a:fld id="{B6F15528-21DE-4FAA-801E-634DDDAF4B2B}" type="slidenum">
              <a:rPr lang="en-US" smtClean="0"/>
              <a:pPr/>
              <a:t>‹#›</a:t>
            </a:fld>
            <a:endParaRPr lang="en-US" dirty="0"/>
          </a:p>
        </p:txBody>
      </p:sp>
    </p:spTree>
    <p:extLst>
      <p:ext uri="{BB962C8B-B14F-4D97-AF65-F5344CB8AC3E}">
        <p14:creationId xmlns:p14="http://schemas.microsoft.com/office/powerpoint/2010/main" val="41892697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4"/>
          <p:cNvSpPr>
            <a:spLocks noGrp="1" noChangeArrowheads="1"/>
          </p:cNvSpPr>
          <p:nvPr>
            <p:ph type="dt" sz="half" idx="10"/>
          </p:nvPr>
        </p:nvSpPr>
        <p:spPr>
          <a:xfrm>
            <a:off x="609600" y="6243638"/>
            <a:ext cx="2846917" cy="457200"/>
          </a:xfrm>
          <a:prstGeom prst="rect">
            <a:avLst/>
          </a:prstGeom>
        </p:spPr>
        <p:txBody>
          <a:bodyPr/>
          <a:lstStyle>
            <a:lvl1pPr fontAlgn="auto">
              <a:spcBef>
                <a:spcPts val="0"/>
              </a:spcBef>
              <a:spcAft>
                <a:spcPts val="0"/>
              </a:spcAft>
              <a:defRPr>
                <a:latin typeface="+mn-lt"/>
                <a:ea typeface="+mn-ea"/>
              </a:defRPr>
            </a:lvl1pPr>
          </a:lstStyle>
          <a:p>
            <a:pPr>
              <a:defRPr/>
            </a:pPr>
            <a:endParaRPr lang="en-GB" dirty="0"/>
          </a:p>
        </p:txBody>
      </p:sp>
      <p:sp>
        <p:nvSpPr>
          <p:cNvPr id="5" name="Rectangle 45"/>
          <p:cNvSpPr>
            <a:spLocks noGrp="1" noChangeArrowheads="1"/>
          </p:cNvSpPr>
          <p:nvPr>
            <p:ph type="ftr" sz="quarter" idx="11"/>
          </p:nvPr>
        </p:nvSpPr>
        <p:spPr>
          <a:xfrm>
            <a:off x="383118" y="6437314"/>
            <a:ext cx="3515783" cy="365125"/>
          </a:xfrm>
          <a:prstGeom prst="rect">
            <a:avLst/>
          </a:prstGeom>
        </p:spPr>
        <p:txBody>
          <a:bodyPr/>
          <a:lstStyle>
            <a:lvl1pPr>
              <a:defRPr/>
            </a:lvl1pPr>
          </a:lstStyle>
          <a:p>
            <a:pPr>
              <a:defRPr/>
            </a:pPr>
            <a:endParaRPr lang="en-GB" dirty="0"/>
          </a:p>
        </p:txBody>
      </p:sp>
      <p:sp>
        <p:nvSpPr>
          <p:cNvPr id="6" name="Rectangle 46"/>
          <p:cNvSpPr>
            <a:spLocks noGrp="1" noChangeArrowheads="1"/>
          </p:cNvSpPr>
          <p:nvPr>
            <p:ph type="sldNum" sz="quarter" idx="12"/>
          </p:nvPr>
        </p:nvSpPr>
        <p:spPr>
          <a:xfrm>
            <a:off x="10623551" y="6437314"/>
            <a:ext cx="1107016" cy="365125"/>
          </a:xfrm>
          <a:prstGeom prst="rect">
            <a:avLst/>
          </a:prstGeom>
        </p:spPr>
        <p:txBody>
          <a:bodyPr/>
          <a:lstStyle>
            <a:lvl1pPr>
              <a:defRPr/>
            </a:lvl1pPr>
          </a:lstStyle>
          <a:p>
            <a:pPr>
              <a:defRPr/>
            </a:pPr>
            <a:fld id="{A6A148E2-82F0-4B18-B8CA-68C4D1164AFE}" type="slidenum">
              <a:rPr lang="en-GB"/>
              <a:pPr>
                <a:defRPr/>
              </a:pPr>
              <a:t>‹#›</a:t>
            </a:fld>
            <a:endParaRPr lang="en-GB" dirty="0"/>
          </a:p>
        </p:txBody>
      </p:sp>
    </p:spTree>
    <p:extLst>
      <p:ext uri="{BB962C8B-B14F-4D97-AF65-F5344CB8AC3E}">
        <p14:creationId xmlns:p14="http://schemas.microsoft.com/office/powerpoint/2010/main" val="26005149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486837" y="253118"/>
            <a:ext cx="10081312" cy="607241"/>
          </a:xfrm>
        </p:spPr>
        <p:txBody>
          <a:bodyPr/>
          <a:lstStyle>
            <a:lvl1pPr>
              <a:defRPr baseline="0">
                <a:latin typeface="Arial" panose="020B0604020202020204" pitchFamily="34" charset="0"/>
              </a:defRPr>
            </a:lvl1pPr>
          </a:lstStyle>
          <a:p>
            <a:r>
              <a:rPr lang="en-US" dirty="0"/>
              <a:t>Click to edit Master title style</a:t>
            </a:r>
            <a:endParaRPr lang="en-GB" dirty="0"/>
          </a:p>
        </p:txBody>
      </p:sp>
      <p:sp>
        <p:nvSpPr>
          <p:cNvPr id="16" name="Content Placeholder 15"/>
          <p:cNvSpPr>
            <a:spLocks noGrp="1"/>
          </p:cNvSpPr>
          <p:nvPr>
            <p:ph sz="quarter" idx="12"/>
          </p:nvPr>
        </p:nvSpPr>
        <p:spPr>
          <a:xfrm>
            <a:off x="486831" y="1151733"/>
            <a:ext cx="10801406" cy="4678917"/>
          </a:xfrm>
        </p:spPr>
        <p:txBody>
          <a:bodyPr/>
          <a:lstStyle>
            <a:lvl1pPr>
              <a:defRPr baseline="0">
                <a:solidFill>
                  <a:schemeClr val="accent2"/>
                </a:solidFill>
                <a:latin typeface="Arial" panose="020B0604020202020204" pitchFamily="34" charset="0"/>
              </a:defRPr>
            </a:lvl1pPr>
            <a:lvl2pPr>
              <a:defRPr baseline="0">
                <a:solidFill>
                  <a:schemeClr val="accent2"/>
                </a:solidFill>
                <a:latin typeface="Arial" panose="020B0604020202020204" pitchFamily="34" charset="0"/>
              </a:defRPr>
            </a:lvl2pPr>
            <a:lvl3pPr>
              <a:defRPr baseline="0">
                <a:solidFill>
                  <a:schemeClr val="accent2"/>
                </a:solidFill>
                <a:latin typeface="Arial" panose="020B0604020202020204" pitchFamily="34" charset="0"/>
              </a:defRPr>
            </a:lvl3pPr>
            <a:lvl4pPr>
              <a:defRPr baseline="0">
                <a:solidFill>
                  <a:schemeClr val="accent2"/>
                </a:solidFill>
                <a:latin typeface="Arial" panose="020B0604020202020204" pitchFamily="34" charset="0"/>
              </a:defRPr>
            </a:lvl4pPr>
            <a:lvl5pPr>
              <a:defRPr baseline="0">
                <a:solidFill>
                  <a:schemeClr val="accent2"/>
                </a:solidFill>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hasCustomPrompt="1"/>
          </p:nvPr>
        </p:nvSpPr>
        <p:spPr>
          <a:xfrm>
            <a:off x="486831" y="5969396"/>
            <a:ext cx="10801406" cy="248344"/>
          </a:xfrm>
        </p:spPr>
        <p:txBody>
          <a:bodyPr wrap="square" anchor="b" anchorCtr="0">
            <a:spAutoFit/>
          </a:bodyPr>
          <a:lstStyle>
            <a:lvl1pPr marL="0" indent="0">
              <a:lnSpc>
                <a:spcPct val="100000"/>
              </a:lnSpc>
              <a:spcBef>
                <a:spcPts val="0"/>
              </a:spcBef>
              <a:buNone/>
              <a:defRPr sz="1000" baseline="0">
                <a:latin typeface="Arial" panose="020B0604020202020204" pitchFamily="34" charset="0"/>
              </a:defRPr>
            </a:lvl1pPr>
            <a:lvl2pPr marL="357470" indent="0">
              <a:buNone/>
              <a:defRPr sz="1100"/>
            </a:lvl2pPr>
            <a:lvl3pPr marL="719838" indent="0">
              <a:buNone/>
              <a:defRPr sz="1100"/>
            </a:lvl3pPr>
            <a:lvl4pPr marL="1081208" indent="0">
              <a:buNone/>
              <a:defRPr sz="1100"/>
            </a:lvl4pPr>
            <a:lvl5pPr marL="1439676" indent="0">
              <a:buNone/>
              <a:defRPr sz="1100"/>
            </a:lvl5pPr>
          </a:lstStyle>
          <a:p>
            <a:pPr lvl="0"/>
            <a:r>
              <a:rPr lang="en-US" dirty="0"/>
              <a:t>Insert Source text here</a:t>
            </a:r>
          </a:p>
        </p:txBody>
      </p:sp>
    </p:spTree>
    <p:extLst>
      <p:ext uri="{BB962C8B-B14F-4D97-AF65-F5344CB8AC3E}">
        <p14:creationId xmlns:p14="http://schemas.microsoft.com/office/powerpoint/2010/main" val="1397593277"/>
      </p:ext>
    </p:extLst>
  </p:cSld>
  <p:clrMapOvr>
    <a:masterClrMapping/>
  </p:clrMapOvr>
  <p:transition spd="slow">
    <p:strips dir="rd"/>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itle 4"/>
          <p:cNvSpPr>
            <a:spLocks noGrp="1"/>
          </p:cNvSpPr>
          <p:nvPr>
            <p:ph type="title"/>
          </p:nvPr>
        </p:nvSpPr>
        <p:spPr>
          <a:xfrm>
            <a:off x="486833" y="294810"/>
            <a:ext cx="10102852" cy="338554"/>
          </a:xfrm>
        </p:spPr>
        <p:txBody>
          <a:bodyPr/>
          <a:lstStyle/>
          <a:p>
            <a:r>
              <a:rPr lang="en-US"/>
              <a:t>Click to edit Master title style</a:t>
            </a:r>
            <a:endParaRPr lang="en-GB"/>
          </a:p>
        </p:txBody>
      </p:sp>
      <p:sp>
        <p:nvSpPr>
          <p:cNvPr id="10" name="Text Placeholder 2"/>
          <p:cNvSpPr>
            <a:spLocks noGrp="1"/>
          </p:cNvSpPr>
          <p:nvPr>
            <p:ph type="body" sz="quarter" idx="14"/>
          </p:nvPr>
        </p:nvSpPr>
        <p:spPr>
          <a:xfrm>
            <a:off x="486832" y="692554"/>
            <a:ext cx="10130368" cy="234950"/>
          </a:xfrm>
        </p:spPr>
        <p:txBody>
          <a:bodyPr/>
          <a:lstStyle>
            <a:lvl1pPr marL="0" indent="0">
              <a:spcAft>
                <a:spcPts val="0"/>
              </a:spcAft>
              <a:buNone/>
              <a:defRPr sz="1800"/>
            </a:lvl1pPr>
            <a:lvl2pPr marL="271463" indent="0">
              <a:buNone/>
              <a:defRPr/>
            </a:lvl2pPr>
            <a:lvl3pPr marL="533400" indent="0">
              <a:buNone/>
              <a:defRPr/>
            </a:lvl3pPr>
            <a:lvl4pPr marL="815975" indent="0">
              <a:buNone/>
              <a:defRPr/>
            </a:lvl4pPr>
            <a:lvl5pPr marL="1104900" indent="0">
              <a:buNone/>
              <a:defRPr/>
            </a:lvl5pPr>
          </a:lstStyle>
          <a:p>
            <a:pPr lvl="0"/>
            <a:r>
              <a:rPr lang="zh-CN" altLang="en-US"/>
              <a:t>单击此处编辑母版文本样式</a:t>
            </a:r>
          </a:p>
        </p:txBody>
      </p:sp>
      <p:sp>
        <p:nvSpPr>
          <p:cNvPr id="4" name="Footer Placeholder 4"/>
          <p:cNvSpPr>
            <a:spLocks noGrp="1"/>
          </p:cNvSpPr>
          <p:nvPr>
            <p:ph type="ftr" sz="quarter" idx="15"/>
          </p:nvPr>
        </p:nvSpPr>
        <p:spPr>
          <a:xfrm>
            <a:off x="383117" y="6437314"/>
            <a:ext cx="11402483" cy="365125"/>
          </a:xfrm>
          <a:prstGeom prst="rect">
            <a:avLst/>
          </a:prstGeom>
        </p:spPr>
        <p:txBody>
          <a:bodyPr/>
          <a:lstStyle>
            <a:lvl1pPr>
              <a:defRPr/>
            </a:lvl1pPr>
          </a:lstStyle>
          <a:p>
            <a:pPr>
              <a:defRPr/>
            </a:pPr>
            <a:endParaRPr lang="en-GB" dirty="0"/>
          </a:p>
        </p:txBody>
      </p:sp>
    </p:spTree>
    <p:extLst>
      <p:ext uri="{BB962C8B-B14F-4D97-AF65-F5344CB8AC3E}">
        <p14:creationId xmlns:p14="http://schemas.microsoft.com/office/powerpoint/2010/main" val="25331854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5" name="Title 4"/>
          <p:cNvSpPr>
            <a:spLocks noGrp="1"/>
          </p:cNvSpPr>
          <p:nvPr>
            <p:ph type="title"/>
          </p:nvPr>
        </p:nvSpPr>
        <p:spPr>
          <a:xfrm>
            <a:off x="486833" y="882465"/>
            <a:ext cx="10102852" cy="430887"/>
          </a:xfrm>
        </p:spPr>
        <p:txBody>
          <a:bodyPr/>
          <a:lstStyle>
            <a:lvl1pPr>
              <a:defRPr sz="2800"/>
            </a:lvl1pPr>
          </a:lstStyle>
          <a:p>
            <a:r>
              <a:rPr lang="zh-CN" altLang="en-US" dirty="0"/>
              <a:t>单击此处编辑母版标题样式</a:t>
            </a:r>
            <a:endParaRPr lang="en-GB" dirty="0"/>
          </a:p>
        </p:txBody>
      </p:sp>
      <p:sp>
        <p:nvSpPr>
          <p:cNvPr id="16" name="Content Placeholder 15"/>
          <p:cNvSpPr>
            <a:spLocks noGrp="1"/>
          </p:cNvSpPr>
          <p:nvPr>
            <p:ph sz="quarter" idx="12"/>
          </p:nvPr>
        </p:nvSpPr>
        <p:spPr>
          <a:xfrm>
            <a:off x="486833" y="1428750"/>
            <a:ext cx="11231033" cy="4425950"/>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endParaRPr lang="en-GB" dirty="0"/>
          </a:p>
        </p:txBody>
      </p:sp>
      <p:sp>
        <p:nvSpPr>
          <p:cNvPr id="6" name="Text Placeholder 5"/>
          <p:cNvSpPr>
            <a:spLocks noGrp="1"/>
          </p:cNvSpPr>
          <p:nvPr>
            <p:ph type="body" sz="quarter" idx="18" hasCustomPrompt="1"/>
          </p:nvPr>
        </p:nvSpPr>
        <p:spPr>
          <a:xfrm>
            <a:off x="492758" y="6400987"/>
            <a:ext cx="11261093" cy="123111"/>
          </a:xfrm>
        </p:spPr>
        <p:txBody>
          <a:bodyPr wrap="square" anchor="b" anchorCtr="0">
            <a:spAutoFit/>
          </a:bodyPr>
          <a:lstStyle>
            <a:lvl1pPr marL="0" indent="0">
              <a:buNone/>
              <a:defRPr sz="800" baseline="0"/>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Insert Source text here</a:t>
            </a:r>
          </a:p>
        </p:txBody>
      </p:sp>
    </p:spTree>
    <p:extLst>
      <p:ext uri="{BB962C8B-B14F-4D97-AF65-F5344CB8AC3E}">
        <p14:creationId xmlns:p14="http://schemas.microsoft.com/office/powerpoint/2010/main" val="11287058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bl">
  <p:cSld name="标题和表格">
    <p:spTree>
      <p:nvGrpSpPr>
        <p:cNvPr id="1" name=""/>
        <p:cNvGrpSpPr/>
        <p:nvPr/>
      </p:nvGrpSpPr>
      <p:grpSpPr>
        <a:xfrm>
          <a:off x="0" y="0"/>
          <a:ext cx="0" cy="0"/>
          <a:chOff x="0" y="0"/>
          <a:chExt cx="0" cy="0"/>
        </a:xfrm>
      </p:grpSpPr>
      <p:sp>
        <p:nvSpPr>
          <p:cNvPr id="2" name="标题 1"/>
          <p:cNvSpPr>
            <a:spLocks noGrp="1"/>
          </p:cNvSpPr>
          <p:nvPr>
            <p:ph type="title"/>
          </p:nvPr>
        </p:nvSpPr>
        <p:spPr>
          <a:xfrm>
            <a:off x="406400" y="150813"/>
            <a:ext cx="9956800" cy="338554"/>
          </a:xfrm>
        </p:spPr>
        <p:txBody>
          <a:bodyPr/>
          <a:lstStyle/>
          <a:p>
            <a:r>
              <a:rPr lang="zh-CN" altLang="en-US"/>
              <a:t>单击此处编辑母版标题样式</a:t>
            </a:r>
            <a:endParaRPr lang="en-US"/>
          </a:p>
        </p:txBody>
      </p:sp>
      <p:sp>
        <p:nvSpPr>
          <p:cNvPr id="3" name="表格占位符 2"/>
          <p:cNvSpPr>
            <a:spLocks noGrp="1"/>
          </p:cNvSpPr>
          <p:nvPr>
            <p:ph type="tbl" idx="1"/>
          </p:nvPr>
        </p:nvSpPr>
        <p:spPr>
          <a:xfrm>
            <a:off x="406401" y="1447800"/>
            <a:ext cx="11377084" cy="5126038"/>
          </a:xfrm>
        </p:spPr>
        <p:txBody>
          <a:bodyPr/>
          <a:lstStyle/>
          <a:p>
            <a:endParaRPr lang="en-US" dirty="0"/>
          </a:p>
        </p:txBody>
      </p:sp>
    </p:spTree>
    <p:extLst>
      <p:ext uri="{BB962C8B-B14F-4D97-AF65-F5344CB8AC3E}">
        <p14:creationId xmlns:p14="http://schemas.microsoft.com/office/powerpoint/2010/main" val="2657304958"/>
      </p:ext>
    </p:extLst>
  </p:cSld>
  <p:clrMapOvr>
    <a:masterClrMapping/>
  </p:clrMapOvr>
  <p:transition spd="med">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486837" y="253118"/>
            <a:ext cx="10081312" cy="338554"/>
          </a:xfrm>
        </p:spPr>
        <p:txBody>
          <a:bodyPr/>
          <a:lstStyle>
            <a:lvl1pPr>
              <a:defRPr baseline="0">
                <a:latin typeface="Arial" panose="020B0604020202020204" pitchFamily="34" charset="0"/>
              </a:defRPr>
            </a:lvl1pPr>
          </a:lstStyle>
          <a:p>
            <a:r>
              <a:rPr lang="en-US" dirty="0"/>
              <a:t>Click to edit Master title style</a:t>
            </a:r>
            <a:endParaRPr lang="en-GB" dirty="0"/>
          </a:p>
        </p:txBody>
      </p:sp>
      <p:sp>
        <p:nvSpPr>
          <p:cNvPr id="16" name="Content Placeholder 15"/>
          <p:cNvSpPr>
            <a:spLocks noGrp="1"/>
          </p:cNvSpPr>
          <p:nvPr>
            <p:ph sz="quarter" idx="12"/>
          </p:nvPr>
        </p:nvSpPr>
        <p:spPr>
          <a:xfrm>
            <a:off x="486832" y="1151734"/>
            <a:ext cx="10801405" cy="4678917"/>
          </a:xfrm>
        </p:spPr>
        <p:txBody>
          <a:bodyPr/>
          <a:lstStyle>
            <a:lvl1pPr>
              <a:defRPr baseline="0">
                <a:solidFill>
                  <a:schemeClr val="accent2"/>
                </a:solidFill>
                <a:latin typeface="Arial" panose="020B0604020202020204" pitchFamily="34" charset="0"/>
              </a:defRPr>
            </a:lvl1pPr>
            <a:lvl2pPr>
              <a:defRPr baseline="0">
                <a:solidFill>
                  <a:schemeClr val="accent2"/>
                </a:solidFill>
                <a:latin typeface="Arial" panose="020B0604020202020204" pitchFamily="34" charset="0"/>
              </a:defRPr>
            </a:lvl2pPr>
            <a:lvl3pPr>
              <a:defRPr baseline="0">
                <a:solidFill>
                  <a:schemeClr val="accent2"/>
                </a:solidFill>
                <a:latin typeface="Arial" panose="020B0604020202020204" pitchFamily="34" charset="0"/>
              </a:defRPr>
            </a:lvl3pPr>
            <a:lvl4pPr>
              <a:defRPr baseline="0">
                <a:solidFill>
                  <a:schemeClr val="accent2"/>
                </a:solidFill>
                <a:latin typeface="Arial" panose="020B0604020202020204" pitchFamily="34" charset="0"/>
              </a:defRPr>
            </a:lvl4pPr>
            <a:lvl5pPr>
              <a:defRPr baseline="0">
                <a:solidFill>
                  <a:schemeClr val="accent2"/>
                </a:solidFill>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hasCustomPrompt="1"/>
          </p:nvPr>
        </p:nvSpPr>
        <p:spPr>
          <a:xfrm>
            <a:off x="486832" y="6102324"/>
            <a:ext cx="10801405" cy="115416"/>
          </a:xfrm>
        </p:spPr>
        <p:txBody>
          <a:bodyPr wrap="square" anchor="b" anchorCtr="0">
            <a:spAutoFit/>
          </a:bodyPr>
          <a:lstStyle>
            <a:lvl1pPr marL="0" indent="0">
              <a:lnSpc>
                <a:spcPct val="100000"/>
              </a:lnSpc>
              <a:spcBef>
                <a:spcPts val="0"/>
              </a:spcBef>
              <a:buNone/>
              <a:defRPr sz="750" baseline="0">
                <a:latin typeface="Arial" panose="020B0604020202020204" pitchFamily="34" charset="0"/>
              </a:defRPr>
            </a:lvl1pPr>
            <a:lvl2pPr marL="268192" indent="0">
              <a:buNone/>
              <a:defRPr sz="825"/>
            </a:lvl2pPr>
            <a:lvl3pPr marL="540058" indent="0">
              <a:buNone/>
              <a:defRPr sz="825"/>
            </a:lvl3pPr>
            <a:lvl4pPr marL="811176" indent="0">
              <a:buNone/>
              <a:defRPr sz="825"/>
            </a:lvl4pPr>
            <a:lvl5pPr marL="1080117" indent="0">
              <a:buNone/>
              <a:defRPr sz="825"/>
            </a:lvl5pPr>
          </a:lstStyle>
          <a:p>
            <a:pPr lvl="0"/>
            <a:r>
              <a:rPr lang="en-US" dirty="0"/>
              <a:t>Insert Source text here</a:t>
            </a:r>
          </a:p>
        </p:txBody>
      </p:sp>
    </p:spTree>
    <p:extLst>
      <p:ext uri="{BB962C8B-B14F-4D97-AF65-F5344CB8AC3E}">
        <p14:creationId xmlns:p14="http://schemas.microsoft.com/office/powerpoint/2010/main" val="1881084089"/>
      </p:ext>
    </p:extLst>
  </p:cSld>
  <p:clrMapOvr>
    <a:masterClrMapping/>
  </p:clrMapOvr>
  <p:transition spd="slow">
    <p:strips dir="rd"/>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486837" y="253119"/>
            <a:ext cx="10081312" cy="338554"/>
          </a:xfrm>
        </p:spPr>
        <p:txBody>
          <a:bodyPr/>
          <a:lstStyle>
            <a:lvl1pPr>
              <a:defRPr baseline="0">
                <a:latin typeface="Arial" panose="020B0604020202020204" pitchFamily="34" charset="0"/>
              </a:defRPr>
            </a:lvl1pPr>
          </a:lstStyle>
          <a:p>
            <a:r>
              <a:rPr lang="en-US" dirty="0"/>
              <a:t>Click to edit Master title style</a:t>
            </a:r>
            <a:endParaRPr lang="en-GB" dirty="0"/>
          </a:p>
        </p:txBody>
      </p:sp>
      <p:sp>
        <p:nvSpPr>
          <p:cNvPr id="16" name="Content Placeholder 15"/>
          <p:cNvSpPr>
            <a:spLocks noGrp="1"/>
          </p:cNvSpPr>
          <p:nvPr>
            <p:ph sz="quarter" idx="12"/>
          </p:nvPr>
        </p:nvSpPr>
        <p:spPr>
          <a:xfrm>
            <a:off x="486831" y="1151735"/>
            <a:ext cx="10801407" cy="4678917"/>
          </a:xfrm>
        </p:spPr>
        <p:txBody>
          <a:bodyPr/>
          <a:lstStyle>
            <a:lvl1pPr>
              <a:defRPr baseline="0">
                <a:solidFill>
                  <a:schemeClr val="accent2"/>
                </a:solidFill>
                <a:latin typeface="Arial" panose="020B0604020202020204" pitchFamily="34" charset="0"/>
              </a:defRPr>
            </a:lvl1pPr>
            <a:lvl2pPr>
              <a:defRPr baseline="0">
                <a:solidFill>
                  <a:schemeClr val="accent2"/>
                </a:solidFill>
                <a:latin typeface="Arial" panose="020B0604020202020204" pitchFamily="34" charset="0"/>
              </a:defRPr>
            </a:lvl2pPr>
            <a:lvl3pPr>
              <a:defRPr baseline="0">
                <a:solidFill>
                  <a:schemeClr val="accent2"/>
                </a:solidFill>
                <a:latin typeface="Arial" panose="020B0604020202020204" pitchFamily="34" charset="0"/>
              </a:defRPr>
            </a:lvl3pPr>
            <a:lvl4pPr>
              <a:defRPr baseline="0">
                <a:solidFill>
                  <a:schemeClr val="accent2"/>
                </a:solidFill>
                <a:latin typeface="Arial" panose="020B0604020202020204" pitchFamily="34" charset="0"/>
              </a:defRPr>
            </a:lvl4pPr>
            <a:lvl5pPr>
              <a:defRPr baseline="0">
                <a:solidFill>
                  <a:schemeClr val="accent2"/>
                </a:solidFill>
                <a:latin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hasCustomPrompt="1"/>
          </p:nvPr>
        </p:nvSpPr>
        <p:spPr>
          <a:xfrm>
            <a:off x="486831" y="6102324"/>
            <a:ext cx="10801407" cy="115416"/>
          </a:xfrm>
        </p:spPr>
        <p:txBody>
          <a:bodyPr wrap="square" anchor="b" anchorCtr="0">
            <a:spAutoFit/>
          </a:bodyPr>
          <a:lstStyle>
            <a:lvl1pPr marL="0" indent="0">
              <a:lnSpc>
                <a:spcPct val="100000"/>
              </a:lnSpc>
              <a:spcBef>
                <a:spcPts val="0"/>
              </a:spcBef>
              <a:buNone/>
              <a:defRPr sz="750" baseline="0">
                <a:latin typeface="Arial" panose="020B0604020202020204" pitchFamily="34" charset="0"/>
              </a:defRPr>
            </a:lvl1pPr>
            <a:lvl2pPr marL="268103" indent="0">
              <a:buNone/>
              <a:defRPr sz="825"/>
            </a:lvl2pPr>
            <a:lvl3pPr marL="539879" indent="0">
              <a:buNone/>
              <a:defRPr sz="825"/>
            </a:lvl3pPr>
            <a:lvl4pPr marL="810906" indent="0">
              <a:buNone/>
              <a:defRPr sz="825"/>
            </a:lvl4pPr>
            <a:lvl5pPr marL="1079757" indent="0">
              <a:buNone/>
              <a:defRPr sz="825"/>
            </a:lvl5pPr>
          </a:lstStyle>
          <a:p>
            <a:pPr lvl="0"/>
            <a:r>
              <a:rPr lang="en-US" dirty="0"/>
              <a:t>Insert Source text here</a:t>
            </a:r>
          </a:p>
        </p:txBody>
      </p:sp>
    </p:spTree>
    <p:extLst>
      <p:ext uri="{BB962C8B-B14F-4D97-AF65-F5344CB8AC3E}">
        <p14:creationId xmlns:p14="http://schemas.microsoft.com/office/powerpoint/2010/main" val="2924714863"/>
      </p:ext>
    </p:extLst>
  </p:cSld>
  <p:clrMapOvr>
    <a:masterClrMapping/>
  </p:clrMapOvr>
  <p:transition spd="slow">
    <p:strips dir="rd"/>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D3B36C6-A419-4E00-83AD-2FC4E82AA0A6}"/>
              </a:ext>
            </a:extLst>
          </p:cNvPr>
          <p:cNvSpPr>
            <a:spLocks noGrp="1"/>
          </p:cNvSpPr>
          <p:nvPr>
            <p:ph type="title"/>
          </p:nvPr>
        </p:nvSpPr>
        <p:spPr/>
        <p:txBody>
          <a:bodyPr/>
          <a:lstStyle/>
          <a:p>
            <a:r>
              <a:rPr lang="zh-CN" altLang="en-US"/>
              <a:t>单击此处编辑母版标题样式</a:t>
            </a:r>
          </a:p>
        </p:txBody>
      </p:sp>
      <p:sp>
        <p:nvSpPr>
          <p:cNvPr id="3" name="页脚占位符 2">
            <a:extLst>
              <a:ext uri="{FF2B5EF4-FFF2-40B4-BE49-F238E27FC236}">
                <a16:creationId xmlns:a16="http://schemas.microsoft.com/office/drawing/2014/main" id="{05DCA2E8-83A3-49D9-A11C-45A57656731A}"/>
              </a:ext>
            </a:extLst>
          </p:cNvPr>
          <p:cNvSpPr>
            <a:spLocks noGrp="1"/>
          </p:cNvSpPr>
          <p:nvPr>
            <p:ph type="ftr" sz="quarter" idx="10"/>
          </p:nvPr>
        </p:nvSpPr>
        <p:spPr>
          <a:xfrm>
            <a:off x="383118" y="6437314"/>
            <a:ext cx="3515783" cy="365125"/>
          </a:xfrm>
          <a:prstGeom prst="rect">
            <a:avLst/>
          </a:prstGeom>
        </p:spPr>
        <p:txBody>
          <a:bodyPr/>
          <a:lstStyle/>
          <a:p>
            <a:endParaRPr lang="en-US" dirty="0"/>
          </a:p>
        </p:txBody>
      </p:sp>
      <p:sp>
        <p:nvSpPr>
          <p:cNvPr id="4" name="灯片编号占位符 3">
            <a:extLst>
              <a:ext uri="{FF2B5EF4-FFF2-40B4-BE49-F238E27FC236}">
                <a16:creationId xmlns:a16="http://schemas.microsoft.com/office/drawing/2014/main" id="{08C6ACF3-4AB7-468D-AFD0-B33EDEDFB62B}"/>
              </a:ext>
            </a:extLst>
          </p:cNvPr>
          <p:cNvSpPr>
            <a:spLocks noGrp="1"/>
          </p:cNvSpPr>
          <p:nvPr>
            <p:ph type="sldNum" sz="quarter" idx="11"/>
          </p:nvPr>
        </p:nvSpPr>
        <p:spPr>
          <a:xfrm>
            <a:off x="10623551" y="6437314"/>
            <a:ext cx="1107016" cy="365125"/>
          </a:xfrm>
          <a:prstGeom prst="rect">
            <a:avLst/>
          </a:prstGeom>
        </p:spPr>
        <p:txBody>
          <a:bodyPr/>
          <a:lstStyle/>
          <a:p>
            <a:fld id="{D84CC882-AFCC-4976-BC4D-1B60CC60F3F3}" type="slidenum">
              <a:rPr lang="en-US" smtClean="0"/>
              <a:t>‹#›</a:t>
            </a:fld>
            <a:endParaRPr lang="en-US" dirty="0"/>
          </a:p>
        </p:txBody>
      </p:sp>
      <p:sp>
        <p:nvSpPr>
          <p:cNvPr id="5" name="日期占位符 4">
            <a:extLst>
              <a:ext uri="{FF2B5EF4-FFF2-40B4-BE49-F238E27FC236}">
                <a16:creationId xmlns:a16="http://schemas.microsoft.com/office/drawing/2014/main" id="{39A7AD8D-D47B-4253-829D-7FB17C42BACE}"/>
              </a:ext>
            </a:extLst>
          </p:cNvPr>
          <p:cNvSpPr>
            <a:spLocks noGrp="1"/>
          </p:cNvSpPr>
          <p:nvPr>
            <p:ph type="dt" sz="half" idx="12"/>
          </p:nvPr>
        </p:nvSpPr>
        <p:spPr>
          <a:xfrm>
            <a:off x="3979334" y="6437314"/>
            <a:ext cx="4220633" cy="365125"/>
          </a:xfrm>
          <a:prstGeom prst="rect">
            <a:avLst/>
          </a:prstGeom>
        </p:spPr>
        <p:txBody>
          <a:bodyPr/>
          <a:lstStyle/>
          <a:p>
            <a:endParaRPr lang="en-US" dirty="0"/>
          </a:p>
        </p:txBody>
      </p:sp>
    </p:spTree>
    <p:extLst>
      <p:ext uri="{BB962C8B-B14F-4D97-AF65-F5344CB8AC3E}">
        <p14:creationId xmlns:p14="http://schemas.microsoft.com/office/powerpoint/2010/main" val="37383863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486836" y="273537"/>
            <a:ext cx="10081312" cy="338554"/>
          </a:xfrm>
        </p:spPr>
        <p:txBody>
          <a:bodyPr/>
          <a:lstStyle>
            <a:lvl1pPr>
              <a:defRPr baseline="0">
                <a:latin typeface="Noto Sans CJK Regular" pitchFamily="34" charset="-122"/>
              </a:defRPr>
            </a:lvl1pPr>
          </a:lstStyle>
          <a:p>
            <a:r>
              <a:rPr lang="en-US" dirty="0"/>
              <a:t>Click to edit Master title style</a:t>
            </a:r>
            <a:endParaRPr lang="en-GB" dirty="0"/>
          </a:p>
        </p:txBody>
      </p:sp>
      <p:sp>
        <p:nvSpPr>
          <p:cNvPr id="16" name="Content Placeholder 15"/>
          <p:cNvSpPr>
            <a:spLocks noGrp="1"/>
          </p:cNvSpPr>
          <p:nvPr>
            <p:ph sz="quarter" idx="12"/>
          </p:nvPr>
        </p:nvSpPr>
        <p:spPr>
          <a:xfrm>
            <a:off x="486834" y="1151734"/>
            <a:ext cx="10801405" cy="4678917"/>
          </a:xfrm>
        </p:spPr>
        <p:txBody>
          <a:bodyPr/>
          <a:lstStyle>
            <a:lvl1pPr>
              <a:defRPr baseline="0">
                <a:solidFill>
                  <a:schemeClr val="accent2"/>
                </a:solidFill>
                <a:latin typeface="Noto Sans CJK Regular" pitchFamily="34" charset="-122"/>
              </a:defRPr>
            </a:lvl1pPr>
            <a:lvl2pPr>
              <a:defRPr baseline="0">
                <a:solidFill>
                  <a:schemeClr val="accent2"/>
                </a:solidFill>
                <a:latin typeface="Noto Sans CJK Regular" pitchFamily="34" charset="-122"/>
              </a:defRPr>
            </a:lvl2pPr>
            <a:lvl3pPr>
              <a:defRPr baseline="0">
                <a:solidFill>
                  <a:schemeClr val="accent2"/>
                </a:solidFill>
                <a:latin typeface="Noto Sans CJK Regular" pitchFamily="34" charset="-122"/>
              </a:defRPr>
            </a:lvl3pPr>
            <a:lvl4pPr>
              <a:defRPr baseline="0">
                <a:solidFill>
                  <a:schemeClr val="accent2"/>
                </a:solidFill>
                <a:latin typeface="Noto Sans CJK Regular" pitchFamily="34" charset="-122"/>
              </a:defRPr>
            </a:lvl4pPr>
            <a:lvl5pPr>
              <a:defRPr baseline="0">
                <a:solidFill>
                  <a:schemeClr val="accent2"/>
                </a:solidFill>
                <a:latin typeface="Noto Sans CJK Regular" pitchFamily="34" charset="-122"/>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hasCustomPrompt="1"/>
          </p:nvPr>
        </p:nvSpPr>
        <p:spPr>
          <a:xfrm>
            <a:off x="486834" y="6102324"/>
            <a:ext cx="10801405" cy="115416"/>
          </a:xfrm>
        </p:spPr>
        <p:txBody>
          <a:bodyPr wrap="square" anchor="b" anchorCtr="0">
            <a:spAutoFit/>
          </a:bodyPr>
          <a:lstStyle>
            <a:lvl1pPr marL="0" indent="0">
              <a:lnSpc>
                <a:spcPct val="100000"/>
              </a:lnSpc>
              <a:spcBef>
                <a:spcPts val="0"/>
              </a:spcBef>
              <a:buNone/>
              <a:defRPr sz="750" baseline="0">
                <a:latin typeface="Noto Sans CJK Regular" pitchFamily="34" charset="-122"/>
              </a:defRPr>
            </a:lvl1pPr>
            <a:lvl2pPr marL="268192" indent="0">
              <a:buNone/>
              <a:defRPr sz="825"/>
            </a:lvl2pPr>
            <a:lvl3pPr marL="540058" indent="0">
              <a:buNone/>
              <a:defRPr sz="825"/>
            </a:lvl3pPr>
            <a:lvl4pPr marL="811176" indent="0">
              <a:buNone/>
              <a:defRPr sz="825"/>
            </a:lvl4pPr>
            <a:lvl5pPr marL="1080117" indent="0">
              <a:buNone/>
              <a:defRPr sz="825"/>
            </a:lvl5pPr>
          </a:lstStyle>
          <a:p>
            <a:pPr lvl="0"/>
            <a:r>
              <a:rPr lang="en-US" dirty="0"/>
              <a:t>Insert Source text here</a:t>
            </a:r>
          </a:p>
        </p:txBody>
      </p:sp>
    </p:spTree>
    <p:extLst>
      <p:ext uri="{BB962C8B-B14F-4D97-AF65-F5344CB8AC3E}">
        <p14:creationId xmlns:p14="http://schemas.microsoft.com/office/powerpoint/2010/main" val="3557626439"/>
      </p:ext>
    </p:extLst>
  </p:cSld>
  <p:clrMapOvr>
    <a:masterClrMapping/>
  </p:clrMapOvr>
  <p:transition spd="slow">
    <p:strips dir="rd"/>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5" name="Title 4"/>
          <p:cNvSpPr>
            <a:spLocks noGrp="1"/>
          </p:cNvSpPr>
          <p:nvPr>
            <p:ph type="title"/>
          </p:nvPr>
        </p:nvSpPr>
        <p:spPr>
          <a:xfrm>
            <a:off x="486836" y="273537"/>
            <a:ext cx="10081312" cy="338554"/>
          </a:xfrm>
        </p:spPr>
        <p:txBody>
          <a:bodyPr/>
          <a:lstStyle>
            <a:lvl1pPr>
              <a:defRPr baseline="0">
                <a:latin typeface="Noto Sans CJK Regular" pitchFamily="34" charset="-122"/>
              </a:defRPr>
            </a:lvl1pPr>
          </a:lstStyle>
          <a:p>
            <a:r>
              <a:rPr lang="en-US" dirty="0"/>
              <a:t>Click to edit Master title style</a:t>
            </a:r>
            <a:endParaRPr lang="en-GB" dirty="0"/>
          </a:p>
        </p:txBody>
      </p:sp>
      <p:sp>
        <p:nvSpPr>
          <p:cNvPr id="16" name="Content Placeholder 15"/>
          <p:cNvSpPr>
            <a:spLocks noGrp="1"/>
          </p:cNvSpPr>
          <p:nvPr>
            <p:ph sz="quarter" idx="12"/>
          </p:nvPr>
        </p:nvSpPr>
        <p:spPr>
          <a:xfrm>
            <a:off x="486832" y="1151733"/>
            <a:ext cx="10801406" cy="4678917"/>
          </a:xfrm>
        </p:spPr>
        <p:txBody>
          <a:bodyPr/>
          <a:lstStyle>
            <a:lvl1pPr>
              <a:defRPr baseline="0">
                <a:solidFill>
                  <a:schemeClr val="accent2"/>
                </a:solidFill>
                <a:latin typeface="Noto Sans CJK Regular" pitchFamily="34" charset="-122"/>
              </a:defRPr>
            </a:lvl1pPr>
            <a:lvl2pPr>
              <a:defRPr baseline="0">
                <a:solidFill>
                  <a:schemeClr val="accent2"/>
                </a:solidFill>
                <a:latin typeface="Noto Sans CJK Regular" pitchFamily="34" charset="-122"/>
              </a:defRPr>
            </a:lvl2pPr>
            <a:lvl3pPr>
              <a:defRPr baseline="0">
                <a:solidFill>
                  <a:schemeClr val="accent2"/>
                </a:solidFill>
                <a:latin typeface="Noto Sans CJK Regular" pitchFamily="34" charset="-122"/>
              </a:defRPr>
            </a:lvl3pPr>
            <a:lvl4pPr>
              <a:defRPr baseline="0">
                <a:solidFill>
                  <a:schemeClr val="accent2"/>
                </a:solidFill>
                <a:latin typeface="Noto Sans CJK Regular" pitchFamily="34" charset="-122"/>
              </a:defRPr>
            </a:lvl4pPr>
            <a:lvl5pPr>
              <a:defRPr baseline="0">
                <a:solidFill>
                  <a:schemeClr val="accent2"/>
                </a:solidFill>
                <a:latin typeface="Noto Sans CJK Regular" pitchFamily="34" charset="-122"/>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Text Placeholder 5"/>
          <p:cNvSpPr>
            <a:spLocks noGrp="1"/>
          </p:cNvSpPr>
          <p:nvPr>
            <p:ph type="body" sz="quarter" idx="18" hasCustomPrompt="1"/>
          </p:nvPr>
        </p:nvSpPr>
        <p:spPr>
          <a:xfrm>
            <a:off x="486832" y="6063852"/>
            <a:ext cx="10801406" cy="153888"/>
          </a:xfrm>
        </p:spPr>
        <p:txBody>
          <a:bodyPr wrap="square" anchor="b" anchorCtr="0">
            <a:spAutoFit/>
          </a:bodyPr>
          <a:lstStyle>
            <a:lvl1pPr marL="0" indent="0">
              <a:lnSpc>
                <a:spcPct val="100000"/>
              </a:lnSpc>
              <a:spcBef>
                <a:spcPts val="0"/>
              </a:spcBef>
              <a:buNone/>
              <a:defRPr sz="1000" baseline="0">
                <a:latin typeface="Noto Sans CJK Regular" pitchFamily="34" charset="-122"/>
              </a:defRPr>
            </a:lvl1pPr>
            <a:lvl2pPr marL="357470" indent="0">
              <a:buNone/>
              <a:defRPr sz="1100"/>
            </a:lvl2pPr>
            <a:lvl3pPr marL="719838" indent="0">
              <a:buNone/>
              <a:defRPr sz="1100"/>
            </a:lvl3pPr>
            <a:lvl4pPr marL="1081208" indent="0">
              <a:buNone/>
              <a:defRPr sz="1100"/>
            </a:lvl4pPr>
            <a:lvl5pPr marL="1439676" indent="0">
              <a:buNone/>
              <a:defRPr sz="1100"/>
            </a:lvl5pPr>
          </a:lstStyle>
          <a:p>
            <a:pPr lvl="0"/>
            <a:r>
              <a:rPr lang="en-US" dirty="0"/>
              <a:t>Insert Source text here</a:t>
            </a:r>
          </a:p>
        </p:txBody>
      </p:sp>
    </p:spTree>
    <p:extLst>
      <p:ext uri="{BB962C8B-B14F-4D97-AF65-F5344CB8AC3E}">
        <p14:creationId xmlns:p14="http://schemas.microsoft.com/office/powerpoint/2010/main" val="3656798378"/>
      </p:ext>
    </p:extLst>
  </p:cSld>
  <p:clrMapOvr>
    <a:masterClrMapping/>
  </p:clrMapOvr>
  <p:transition spd="slow">
    <p:strips dir="rd"/>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标题和内容">
    <p:spTree>
      <p:nvGrpSpPr>
        <p:cNvPr id="1" name=""/>
        <p:cNvGrpSpPr/>
        <p:nvPr/>
      </p:nvGrpSpPr>
      <p:grpSpPr>
        <a:xfrm>
          <a:off x="0" y="0"/>
          <a:ext cx="0" cy="0"/>
          <a:chOff x="0" y="0"/>
          <a:chExt cx="0" cy="0"/>
        </a:xfrm>
      </p:grpSpPr>
      <p:cxnSp>
        <p:nvCxnSpPr>
          <p:cNvPr id="9" name="Straight Connector 10"/>
          <p:cNvCxnSpPr/>
          <p:nvPr userDrawn="1"/>
        </p:nvCxnSpPr>
        <p:spPr>
          <a:xfrm>
            <a:off x="499534" y="1076325"/>
            <a:ext cx="11222567" cy="0"/>
          </a:xfrm>
          <a:prstGeom prst="line">
            <a:avLst/>
          </a:prstGeom>
          <a:noFill/>
          <a:ln w="12700" cap="flat" cmpd="sng" algn="ctr">
            <a:solidFill>
              <a:srgbClr val="FF6600">
                <a:shade val="95000"/>
                <a:satMod val="105000"/>
              </a:srgbClr>
            </a:solidFill>
            <a:prstDash val="solid"/>
          </a:ln>
          <a:effectLst/>
        </p:spPr>
      </p:cxnSp>
    </p:spTree>
    <p:extLst>
      <p:ext uri="{BB962C8B-B14F-4D97-AF65-F5344CB8AC3E}">
        <p14:creationId xmlns:p14="http://schemas.microsoft.com/office/powerpoint/2010/main" val="85901943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7" name="Title 6"/>
          <p:cNvSpPr>
            <a:spLocks noGrp="1"/>
          </p:cNvSpPr>
          <p:nvPr>
            <p:ph type="title"/>
          </p:nvPr>
        </p:nvSpPr>
        <p:spPr>
          <a:xfrm>
            <a:off x="486834" y="294810"/>
            <a:ext cx="10102852" cy="338554"/>
          </a:xfrm>
        </p:spPr>
        <p:txBody>
          <a:bodyPr/>
          <a:lstStyle/>
          <a:p>
            <a:r>
              <a:rPr lang="en-US"/>
              <a:t>Click to edit Master title style</a:t>
            </a:r>
            <a:endParaRPr lang="en-GB" dirty="0"/>
          </a:p>
        </p:txBody>
      </p:sp>
      <p:sp>
        <p:nvSpPr>
          <p:cNvPr id="12" name="Content Placeholder 11"/>
          <p:cNvSpPr>
            <a:spLocks noGrp="1"/>
          </p:cNvSpPr>
          <p:nvPr>
            <p:ph sz="quarter" idx="17"/>
          </p:nvPr>
        </p:nvSpPr>
        <p:spPr>
          <a:xfrm>
            <a:off x="486832" y="1184276"/>
            <a:ext cx="5314951" cy="4673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13"/>
          <p:cNvSpPr>
            <a:spLocks noGrp="1"/>
          </p:cNvSpPr>
          <p:nvPr>
            <p:ph sz="quarter" idx="18"/>
          </p:nvPr>
        </p:nvSpPr>
        <p:spPr>
          <a:xfrm>
            <a:off x="6396290" y="1184276"/>
            <a:ext cx="5334279" cy="4673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Text Placeholder 2"/>
          <p:cNvSpPr>
            <a:spLocks noGrp="1"/>
          </p:cNvSpPr>
          <p:nvPr>
            <p:ph type="body" sz="quarter" idx="14" hasCustomPrompt="1"/>
          </p:nvPr>
        </p:nvSpPr>
        <p:spPr>
          <a:xfrm>
            <a:off x="486832" y="692554"/>
            <a:ext cx="10130368" cy="234950"/>
          </a:xfrm>
        </p:spPr>
        <p:txBody>
          <a:bodyPr vert="horz" lIns="0" tIns="0" rIns="0" bIns="0" rtlCol="0" anchor="t" anchorCtr="0">
            <a:noAutofit/>
          </a:bodyPr>
          <a:lstStyle>
            <a:lvl1pPr marL="202500" indent="-202500">
              <a:buNone/>
              <a:defRPr lang="en-US" i="1" dirty="0" smtClean="0">
                <a:latin typeface="Georgia" panose="02040502050405020303" pitchFamily="18" charset="0"/>
              </a:defRPr>
            </a:lvl1pPr>
          </a:lstStyle>
          <a:p>
            <a:pPr marL="0" lvl="0" indent="0">
              <a:spcAft>
                <a:spcPts val="0"/>
              </a:spcAft>
            </a:pPr>
            <a:r>
              <a:rPr lang="en-US" dirty="0"/>
              <a:t>Subtitle here if required</a:t>
            </a:r>
          </a:p>
        </p:txBody>
      </p:sp>
      <p:sp>
        <p:nvSpPr>
          <p:cNvPr id="16" name="Text Placeholder 5"/>
          <p:cNvSpPr>
            <a:spLocks noGrp="1"/>
          </p:cNvSpPr>
          <p:nvPr>
            <p:ph type="body" sz="quarter" idx="22" hasCustomPrompt="1"/>
          </p:nvPr>
        </p:nvSpPr>
        <p:spPr>
          <a:xfrm>
            <a:off x="486832" y="6088867"/>
            <a:ext cx="5280000" cy="92333"/>
          </a:xfrm>
        </p:spPr>
        <p:txBody>
          <a:bodyPr wrap="square" anchor="b" anchorCtr="0">
            <a:spAutoFit/>
          </a:bodyPr>
          <a:lstStyle>
            <a:lvl1pPr marL="0" indent="0">
              <a:buNone/>
              <a:defRPr sz="60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dirty="0"/>
              <a:t>Insert Source text here</a:t>
            </a:r>
          </a:p>
        </p:txBody>
      </p:sp>
      <p:sp>
        <p:nvSpPr>
          <p:cNvPr id="17" name="Text Placeholder 5"/>
          <p:cNvSpPr>
            <a:spLocks noGrp="1"/>
          </p:cNvSpPr>
          <p:nvPr>
            <p:ph type="body" sz="quarter" idx="23" hasCustomPrompt="1"/>
          </p:nvPr>
        </p:nvSpPr>
        <p:spPr>
          <a:xfrm>
            <a:off x="6402917" y="6088867"/>
            <a:ext cx="5280000" cy="92333"/>
          </a:xfrm>
        </p:spPr>
        <p:txBody>
          <a:bodyPr wrap="square" anchor="b" anchorCtr="0">
            <a:spAutoFit/>
          </a:bodyPr>
          <a:lstStyle>
            <a:lvl1pPr marL="0" indent="0">
              <a:buNone/>
              <a:defRPr sz="600" baseline="0"/>
            </a:lvl1pPr>
            <a:lvl2pPr marL="201122" indent="0">
              <a:buNone/>
              <a:defRPr sz="600"/>
            </a:lvl2pPr>
            <a:lvl3pPr marL="405000" indent="0">
              <a:buNone/>
              <a:defRPr sz="600"/>
            </a:lvl3pPr>
            <a:lvl4pPr marL="608316" indent="0">
              <a:buNone/>
              <a:defRPr sz="600"/>
            </a:lvl4pPr>
            <a:lvl5pPr marL="810000" indent="0">
              <a:buNone/>
              <a:defRPr sz="600"/>
            </a:lvl5pPr>
          </a:lstStyle>
          <a:p>
            <a:pPr lvl="0"/>
            <a:r>
              <a:rPr lang="en-US" dirty="0"/>
              <a:t>Insert Source text here</a:t>
            </a:r>
          </a:p>
        </p:txBody>
      </p:sp>
      <p:sp>
        <p:nvSpPr>
          <p:cNvPr id="2" name="Date Placeholder 1"/>
          <p:cNvSpPr>
            <a:spLocks noGrp="1"/>
          </p:cNvSpPr>
          <p:nvPr>
            <p:ph type="dt" sz="half" idx="24"/>
          </p:nvPr>
        </p:nvSpPr>
        <p:spPr>
          <a:xfrm>
            <a:off x="3979334" y="6437314"/>
            <a:ext cx="4220633" cy="365125"/>
          </a:xfrm>
          <a:prstGeom prst="rect">
            <a:avLst/>
          </a:prstGeom>
        </p:spPr>
        <p:txBody>
          <a:bodyPr/>
          <a:lstStyle/>
          <a:p>
            <a:pPr algn="ctr"/>
            <a:endParaRPr lang="en-GB" dirty="0"/>
          </a:p>
        </p:txBody>
      </p:sp>
      <p:sp>
        <p:nvSpPr>
          <p:cNvPr id="3" name="Footer Placeholder 2"/>
          <p:cNvSpPr>
            <a:spLocks noGrp="1"/>
          </p:cNvSpPr>
          <p:nvPr>
            <p:ph type="ftr" sz="quarter" idx="25"/>
          </p:nvPr>
        </p:nvSpPr>
        <p:spPr>
          <a:xfrm>
            <a:off x="383118" y="6437314"/>
            <a:ext cx="3515783" cy="365125"/>
          </a:xfrm>
          <a:prstGeom prst="rect">
            <a:avLst/>
          </a:prstGeom>
        </p:spPr>
        <p:txBody>
          <a:bodyPr/>
          <a:lstStyle/>
          <a:p>
            <a:endParaRPr lang="en-GB" dirty="0"/>
          </a:p>
        </p:txBody>
      </p:sp>
      <p:sp>
        <p:nvSpPr>
          <p:cNvPr id="4" name="Slide Number Placeholder 3"/>
          <p:cNvSpPr>
            <a:spLocks noGrp="1"/>
          </p:cNvSpPr>
          <p:nvPr>
            <p:ph type="sldNum" sz="quarter" idx="26"/>
          </p:nvPr>
        </p:nvSpPr>
        <p:spPr>
          <a:xfrm>
            <a:off x="10623551" y="6437314"/>
            <a:ext cx="1107016" cy="365125"/>
          </a:xfrm>
          <a:prstGeom prst="rect">
            <a:avLst/>
          </a:prstGeom>
        </p:spPr>
        <p:txBody>
          <a:bodyPr/>
          <a:lstStyle/>
          <a:p>
            <a:fld id="{9F9F533D-B52E-4A2F-BF72-0ADD2D94BD75}" type="slidenum">
              <a:rPr lang="en-GB" smtClean="0"/>
              <a:pPr/>
              <a:t>‹#›</a:t>
            </a:fld>
            <a:endParaRPr lang="en-GB" dirty="0"/>
          </a:p>
        </p:txBody>
      </p:sp>
    </p:spTree>
    <p:extLst>
      <p:ext uri="{BB962C8B-B14F-4D97-AF65-F5344CB8AC3E}">
        <p14:creationId xmlns:p14="http://schemas.microsoft.com/office/powerpoint/2010/main" val="11509430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cxnSp>
        <p:nvCxnSpPr>
          <p:cNvPr id="20" name="Straight Connector 19"/>
          <p:cNvCxnSpPr/>
          <p:nvPr userDrawn="1"/>
        </p:nvCxnSpPr>
        <p:spPr>
          <a:xfrm>
            <a:off x="515274" y="6298542"/>
            <a:ext cx="11161453" cy="0"/>
          </a:xfrm>
          <a:prstGeom prst="line">
            <a:avLst/>
          </a:prstGeom>
          <a:ln w="19050" cap="rnd">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0531829"/>
      </p:ext>
    </p:extLst>
  </p:cSld>
  <p:clrMapOvr>
    <a:masterClrMapping/>
  </p:clrMapOvr>
  <p:transition spd="slow">
    <p:strips dir="rd"/>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Section Header">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84B9F3FC-2453-4E5E-B4FA-36B8DC1A9644}"/>
              </a:ext>
            </a:extLst>
          </p:cNvPr>
          <p:cNvSpPr>
            <a:spLocks noGrp="1"/>
          </p:cNvSpPr>
          <p:nvPr>
            <p:ph idx="1"/>
          </p:nvPr>
        </p:nvSpPr>
        <p:spPr>
          <a:xfrm>
            <a:off x="378187" y="1188927"/>
            <a:ext cx="8414246" cy="466577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Placeholder 3">
            <a:extLst>
              <a:ext uri="{FF2B5EF4-FFF2-40B4-BE49-F238E27FC236}">
                <a16:creationId xmlns:a16="http://schemas.microsoft.com/office/drawing/2014/main" id="{7A0EE8E9-27FA-4C9A-B6AC-17A954D44710}"/>
              </a:ext>
            </a:extLst>
          </p:cNvPr>
          <p:cNvSpPr>
            <a:spLocks noGrp="1"/>
          </p:cNvSpPr>
          <p:nvPr>
            <p:ph type="title"/>
          </p:nvPr>
        </p:nvSpPr>
        <p:spPr>
          <a:xfrm>
            <a:off x="378187" y="511005"/>
            <a:ext cx="7681596" cy="451127"/>
          </a:xfrm>
          <a:prstGeom prst="rect">
            <a:avLst/>
          </a:prstGeom>
        </p:spPr>
        <p:txBody>
          <a:bodyPr vert="horz" wrap="square" lIns="0" tIns="0" rIns="0" bIns="0" rtlCol="0" anchor="t" anchorCtr="0">
            <a:spAutoFit/>
          </a:bodyPr>
          <a:lstStyle/>
          <a:p>
            <a:r>
              <a:rPr lang="en-US" dirty="0"/>
              <a:t>Click to edit Master title style</a:t>
            </a:r>
            <a:endParaRPr lang="en-GB" dirty="0"/>
          </a:p>
        </p:txBody>
      </p:sp>
      <p:cxnSp>
        <p:nvCxnSpPr>
          <p:cNvPr id="12" name="Straight Connector 11">
            <a:extLst>
              <a:ext uri="{FF2B5EF4-FFF2-40B4-BE49-F238E27FC236}">
                <a16:creationId xmlns:a16="http://schemas.microsoft.com/office/drawing/2014/main" id="{9115FE11-0ADF-41A3-8A01-5CC0A5A2993F}"/>
              </a:ext>
            </a:extLst>
          </p:cNvPr>
          <p:cNvCxnSpPr>
            <a:cxnSpLocks/>
          </p:cNvCxnSpPr>
          <p:nvPr userDrawn="1"/>
        </p:nvCxnSpPr>
        <p:spPr>
          <a:xfrm>
            <a:off x="374650" y="1075533"/>
            <a:ext cx="1131660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3" name="Text Placeholder 14">
            <a:extLst>
              <a:ext uri="{FF2B5EF4-FFF2-40B4-BE49-F238E27FC236}">
                <a16:creationId xmlns:a16="http://schemas.microsoft.com/office/drawing/2014/main" id="{DB9DF529-A9DB-4326-948D-DED9D9D18FDD}"/>
              </a:ext>
            </a:extLst>
          </p:cNvPr>
          <p:cNvSpPr>
            <a:spLocks noGrp="1"/>
          </p:cNvSpPr>
          <p:nvPr>
            <p:ph type="body" sz="quarter" idx="21" hasCustomPrompt="1"/>
          </p:nvPr>
        </p:nvSpPr>
        <p:spPr>
          <a:xfrm>
            <a:off x="387713" y="6403063"/>
            <a:ext cx="11316606" cy="245931"/>
          </a:xfrm>
          <a:prstGeom prst="rect">
            <a:avLst/>
          </a:prstGeom>
        </p:spPr>
        <p:txBody>
          <a:bodyPr lIns="0" tIns="0" rIns="0" bIns="0" anchor="t" anchorCtr="0"/>
          <a:lstStyle>
            <a:lvl1pPr marL="0" indent="0" algn="l">
              <a:lnSpc>
                <a:spcPct val="100000"/>
              </a:lnSpc>
              <a:spcBef>
                <a:spcPts val="0"/>
              </a:spcBef>
              <a:spcAft>
                <a:spcPts val="0"/>
              </a:spcAft>
              <a:buNone/>
              <a:defRPr sz="800">
                <a:latin typeface="+mj-lt"/>
              </a:defRPr>
            </a:lvl1pPr>
          </a:lstStyle>
          <a:p>
            <a:pPr lvl="0"/>
            <a:r>
              <a:rPr lang="en-GB" dirty="0"/>
              <a:t>References</a:t>
            </a:r>
          </a:p>
        </p:txBody>
      </p:sp>
      <p:cxnSp>
        <p:nvCxnSpPr>
          <p:cNvPr id="14" name="Straight Connector 13">
            <a:extLst>
              <a:ext uri="{FF2B5EF4-FFF2-40B4-BE49-F238E27FC236}">
                <a16:creationId xmlns:a16="http://schemas.microsoft.com/office/drawing/2014/main" id="{A190C420-B30D-428E-8D37-A49A7E061A36}"/>
              </a:ext>
            </a:extLst>
          </p:cNvPr>
          <p:cNvCxnSpPr>
            <a:cxnSpLocks/>
          </p:cNvCxnSpPr>
          <p:nvPr userDrawn="1"/>
        </p:nvCxnSpPr>
        <p:spPr>
          <a:xfrm>
            <a:off x="374650" y="6323289"/>
            <a:ext cx="1131660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37018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nd Content_no subheading">
    <p:spTree>
      <p:nvGrpSpPr>
        <p:cNvPr id="1" name=""/>
        <p:cNvGrpSpPr/>
        <p:nvPr/>
      </p:nvGrpSpPr>
      <p:grpSpPr>
        <a:xfrm>
          <a:off x="0" y="0"/>
          <a:ext cx="0" cy="0"/>
          <a:chOff x="0" y="0"/>
          <a:chExt cx="0" cy="0"/>
        </a:xfrm>
      </p:grpSpPr>
      <p:sp>
        <p:nvSpPr>
          <p:cNvPr id="16" name="Content Placeholder 15"/>
          <p:cNvSpPr>
            <a:spLocks noGrp="1" noChangeAspect="1"/>
          </p:cNvSpPr>
          <p:nvPr>
            <p:ph sz="quarter" idx="12"/>
          </p:nvPr>
        </p:nvSpPr>
        <p:spPr>
          <a:xfrm>
            <a:off x="478872" y="1589851"/>
            <a:ext cx="11231033" cy="4093400"/>
          </a:xfrm>
          <a:prstGeom prst="rect">
            <a:avLst/>
          </a:prstGeom>
        </p:spPr>
        <p:txBody>
          <a:bodyPr l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p:cNvSpPr>
            <a:spLocks noGrp="1"/>
          </p:cNvSpPr>
          <p:nvPr>
            <p:ph type="body" sz="quarter" idx="18" hasCustomPrompt="1"/>
          </p:nvPr>
        </p:nvSpPr>
        <p:spPr>
          <a:xfrm>
            <a:off x="474152" y="6655039"/>
            <a:ext cx="10040369" cy="164212"/>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4" name="Title 3"/>
          <p:cNvSpPr>
            <a:spLocks noGrp="1"/>
          </p:cNvSpPr>
          <p:nvPr>
            <p:ph type="title" hasCustomPrompt="1"/>
          </p:nvPr>
        </p:nvSpPr>
        <p:spPr>
          <a:xfrm>
            <a:off x="478871" y="668392"/>
            <a:ext cx="10102852" cy="338554"/>
          </a:xfrm>
        </p:spPr>
        <p:txBody>
          <a:bodyPr anchor="ctr"/>
          <a:lstStyle/>
          <a:p>
            <a:r>
              <a:rPr lang="en-US"/>
              <a:t>Click to edit Master heading style</a:t>
            </a:r>
            <a:endParaRPr lang="en-GB"/>
          </a:p>
        </p:txBody>
      </p:sp>
      <p:sp>
        <p:nvSpPr>
          <p:cNvPr id="7" name="Date Placeholder 6"/>
          <p:cNvSpPr>
            <a:spLocks noGrp="1"/>
          </p:cNvSpPr>
          <p:nvPr>
            <p:ph type="dt" sz="half" idx="19"/>
          </p:nvPr>
        </p:nvSpPr>
        <p:spPr>
          <a:xfrm>
            <a:off x="3980329" y="6272003"/>
            <a:ext cx="4219640" cy="178517"/>
          </a:xfrm>
          <a:prstGeom prst="rect">
            <a:avLst/>
          </a:prstGeom>
        </p:spPr>
        <p:txBody>
          <a:bodyPr/>
          <a:lstStyle>
            <a:lvl1pPr>
              <a:defRPr/>
            </a:lvl1pPr>
          </a:lstStyle>
          <a:p>
            <a:pPr algn="ctr"/>
            <a:endParaRPr lang="en-GB"/>
          </a:p>
        </p:txBody>
      </p:sp>
      <p:sp>
        <p:nvSpPr>
          <p:cNvPr id="9" name="Footer Placeholder 8"/>
          <p:cNvSpPr>
            <a:spLocks noGrp="1"/>
          </p:cNvSpPr>
          <p:nvPr>
            <p:ph type="ftr" sz="quarter" idx="20"/>
          </p:nvPr>
        </p:nvSpPr>
        <p:spPr>
          <a:xfrm>
            <a:off x="478869" y="6272003"/>
            <a:ext cx="3420032" cy="178517"/>
          </a:xfrm>
          <a:prstGeom prst="rect">
            <a:avLst/>
          </a:prstGeom>
        </p:spPr>
        <p:txBody>
          <a:bodyPr/>
          <a:lstStyle>
            <a:lvl1pPr>
              <a:defRPr/>
            </a:lvl1pPr>
          </a:lstStyle>
          <a:p>
            <a:endParaRPr lang="en-GB"/>
          </a:p>
        </p:txBody>
      </p:sp>
      <p:sp>
        <p:nvSpPr>
          <p:cNvPr id="10" name="Slide Number Placeholder 9"/>
          <p:cNvSpPr>
            <a:spLocks noGrp="1"/>
          </p:cNvSpPr>
          <p:nvPr>
            <p:ph type="sldNum" sz="quarter" idx="21"/>
          </p:nvPr>
        </p:nvSpPr>
        <p:spPr>
          <a:xfrm>
            <a:off x="10623551" y="6437314"/>
            <a:ext cx="1107016" cy="365125"/>
          </a:xfrm>
          <a:prstGeom prst="rect">
            <a:avLst/>
          </a:prstGeom>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D11399E0-9770-4AAF-96C6-4EF5F9A60E5D}"/>
              </a:ext>
            </a:extLst>
          </p:cNvPr>
          <p:cNvSpPr>
            <a:spLocks noGrp="1"/>
          </p:cNvSpPr>
          <p:nvPr>
            <p:ph type="body" sz="quarter" idx="22" hasCustomPrompt="1"/>
          </p:nvPr>
        </p:nvSpPr>
        <p:spPr>
          <a:xfrm>
            <a:off x="474136" y="5762176"/>
            <a:ext cx="11231033" cy="287259"/>
          </a:xfrm>
          <a:prstGeom prst="rect">
            <a:avLst/>
          </a:prstGeom>
        </p:spPr>
        <p:txBody>
          <a:bodyPr anchor="b"/>
          <a:lstStyle>
            <a:lvl1pPr marL="0" indent="0">
              <a:spcAft>
                <a:spcPts val="0"/>
              </a:spcAft>
              <a:buNone/>
              <a:defRPr sz="1067"/>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footnotes here</a:t>
            </a:r>
          </a:p>
        </p:txBody>
      </p:sp>
    </p:spTree>
    <p:extLst>
      <p:ext uri="{BB962C8B-B14F-4D97-AF65-F5344CB8AC3E}">
        <p14:creationId xmlns:p14="http://schemas.microsoft.com/office/powerpoint/2010/main" val="13763743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11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9" y="2118"/>
                        <a:ext cx="2116" cy="2116"/>
                      </a:xfrm>
                      <a:prstGeom prst="rect">
                        <a:avLst/>
                      </a:prstGeom>
                    </p:spPr>
                  </p:pic>
                </p:oleObj>
              </mc:Fallback>
            </mc:AlternateContent>
          </a:graphicData>
        </a:graphic>
      </p:graphicFrame>
      <p:sp>
        <p:nvSpPr>
          <p:cNvPr id="3" name="Text Placeholder 2"/>
          <p:cNvSpPr>
            <a:spLocks noGrp="1"/>
          </p:cNvSpPr>
          <p:nvPr>
            <p:ph type="body" idx="1"/>
          </p:nvPr>
        </p:nvSpPr>
        <p:spPr/>
        <p:txBody>
          <a:bodyPr/>
          <a:lstStyle>
            <a:lvl1pPr>
              <a:defRPr b="0">
                <a:solidFill>
                  <a:srgbClr val="4D4D4D"/>
                </a:solidFill>
              </a:defRPr>
            </a:lvl1pPr>
            <a:lvl2pPr>
              <a:defRPr b="0">
                <a:solidFill>
                  <a:srgbClr val="4D4D4D"/>
                </a:solidFill>
              </a:defRPr>
            </a:lvl2pPr>
            <a:lvl3pPr>
              <a:defRPr b="0">
                <a:solidFill>
                  <a:srgbClr val="4D4D4D"/>
                </a:solidFill>
              </a:defRPr>
            </a:lvl3pPr>
            <a:lvl4pPr>
              <a:defRPr b="0">
                <a:solidFill>
                  <a:srgbClr val="4D4D4D"/>
                </a:solidFill>
              </a:defRPr>
            </a:lvl4pPr>
            <a:lvl5pPr>
              <a:defRPr b="0">
                <a:solidFill>
                  <a:srgbClr val="4D4D4D"/>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1"/>
          </p:nvPr>
        </p:nvSpPr>
        <p:spPr>
          <a:xfrm>
            <a:off x="10623551" y="6437314"/>
            <a:ext cx="1107016" cy="365125"/>
          </a:xfrm>
          <a:prstGeom prst="rect">
            <a:avLst/>
          </a:prstGeom>
        </p:spPr>
        <p:txBody>
          <a:bodyPr/>
          <a:lstStyle/>
          <a:p>
            <a:pPr>
              <a:defRPr/>
            </a:pPr>
            <a:r>
              <a:rPr lang="en-US" altLang="zh-CN" dirty="0"/>
              <a:t>|</a:t>
            </a:r>
            <a:r>
              <a:rPr lang="en-US" altLang="zh-CN" sz="900" baseline="16000" dirty="0"/>
              <a:t>         </a:t>
            </a:r>
            <a:fld id="{FC36BCBC-72C3-4D79-BE47-EF91AA87C46D}" type="slidenum">
              <a:rPr lang="en-US" altLang="zh-CN" smtClean="0"/>
              <a:pPr>
                <a:defRPr/>
              </a:pPr>
              <a:t>‹#›</a:t>
            </a:fld>
            <a:endParaRPr lang="en-US" altLang="zh-CN" dirty="0"/>
          </a:p>
        </p:txBody>
      </p:sp>
      <p:sp>
        <p:nvSpPr>
          <p:cNvPr id="6" name="Title 1"/>
          <p:cNvSpPr>
            <a:spLocks noGrp="1"/>
          </p:cNvSpPr>
          <p:nvPr>
            <p:ph type="title"/>
          </p:nvPr>
        </p:nvSpPr>
        <p:spPr>
          <a:xfrm>
            <a:off x="836155" y="284247"/>
            <a:ext cx="10477500" cy="369332"/>
          </a:xfrm>
          <a:prstGeom prst="rect">
            <a:avLst/>
          </a:prstGeom>
        </p:spPr>
        <p:txBody>
          <a:bodyPr/>
          <a:lstStyle>
            <a:lvl1pPr>
              <a:defRPr sz="2400" b="1">
                <a:solidFill>
                  <a:srgbClr val="808080"/>
                </a:solidFill>
              </a:defRPr>
            </a:lvl1pPr>
          </a:lstStyle>
          <a:p>
            <a:r>
              <a:rPr lang="en-US" dirty="0"/>
              <a:t>Click to edit Master title style</a:t>
            </a:r>
          </a:p>
        </p:txBody>
      </p:sp>
    </p:spTree>
    <p:extLst>
      <p:ext uri="{BB962C8B-B14F-4D97-AF65-F5344CB8AC3E}">
        <p14:creationId xmlns:p14="http://schemas.microsoft.com/office/powerpoint/2010/main" val="17675845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Blank">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val="0"/>
              </a:ext>
            </a:extLst>
          </a:blip>
          <a:srcRect l="12534"/>
          <a:stretch/>
        </p:blipFill>
        <p:spPr>
          <a:xfrm>
            <a:off x="1" y="1421233"/>
            <a:ext cx="5469731" cy="5103195"/>
          </a:xfrm>
          <a:prstGeom prst="rect">
            <a:avLst/>
          </a:prstGeom>
        </p:spPr>
      </p:pic>
      <p:sp>
        <p:nvSpPr>
          <p:cNvPr id="17" name="Title 1"/>
          <p:cNvSpPr>
            <a:spLocks noGrp="1"/>
          </p:cNvSpPr>
          <p:nvPr>
            <p:ph type="ctrTitle" hasCustomPrompt="1"/>
          </p:nvPr>
        </p:nvSpPr>
        <p:spPr>
          <a:xfrm>
            <a:off x="395363" y="2758588"/>
            <a:ext cx="3835980" cy="1333699"/>
          </a:xfrm>
          <a:prstGeom prst="rect">
            <a:avLst/>
          </a:prstGeom>
        </p:spPr>
        <p:txBody>
          <a:bodyPr anchor="b" anchorCtr="0"/>
          <a:lstStyle>
            <a:lvl1pPr>
              <a:lnSpc>
                <a:spcPts val="3467"/>
              </a:lnSpc>
              <a:defRPr sz="3467">
                <a:solidFill>
                  <a:schemeClr val="bg1"/>
                </a:solidFill>
              </a:defRPr>
            </a:lvl1pPr>
          </a:lstStyle>
          <a:p>
            <a:r>
              <a:rPr lang="en-US"/>
              <a:t>Click to edit Master heading style</a:t>
            </a:r>
            <a:endParaRPr lang="en-GB"/>
          </a:p>
        </p:txBody>
      </p:sp>
      <p:sp>
        <p:nvSpPr>
          <p:cNvPr id="20" name="Subtitle 2"/>
          <p:cNvSpPr>
            <a:spLocks noGrp="1"/>
          </p:cNvSpPr>
          <p:nvPr>
            <p:ph type="subTitle" idx="1" hasCustomPrompt="1"/>
          </p:nvPr>
        </p:nvSpPr>
        <p:spPr>
          <a:xfrm>
            <a:off x="395361" y="4570121"/>
            <a:ext cx="3405675" cy="656591"/>
          </a:xfrm>
          <a:prstGeom prst="rect">
            <a:avLst/>
          </a:prstGeom>
        </p:spPr>
        <p:txBody>
          <a:bodyPr wrap="square" lIns="0" tIns="0" rIns="0" bIns="0" anchor="t" anchorCtr="0">
            <a:spAutoFit/>
          </a:bodyPr>
          <a:lstStyle>
            <a:lvl1pPr marL="0" indent="0" algn="l">
              <a:spcAft>
                <a:spcPts val="0"/>
              </a:spcAft>
              <a:buNone/>
              <a:defRPr i="0">
                <a:solidFill>
                  <a:schemeClr val="bg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heading</a:t>
            </a:r>
            <a:endParaRPr lang="en-GB"/>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82719" y="316145"/>
            <a:ext cx="1952861" cy="963168"/>
          </a:xfrm>
          <a:prstGeom prst="rect">
            <a:avLst/>
          </a:prstGeom>
        </p:spPr>
      </p:pic>
      <p:sp>
        <p:nvSpPr>
          <p:cNvPr id="8" name="Date Placeholder 6">
            <a:extLst>
              <a:ext uri="{FF2B5EF4-FFF2-40B4-BE49-F238E27FC236}">
                <a16:creationId xmlns:a16="http://schemas.microsoft.com/office/drawing/2014/main" id="{171C76A8-5C2C-420A-8548-42FAF2718CAA}"/>
              </a:ext>
            </a:extLst>
          </p:cNvPr>
          <p:cNvSpPr>
            <a:spLocks noGrp="1"/>
          </p:cNvSpPr>
          <p:nvPr>
            <p:ph type="dt" sz="half" idx="19"/>
          </p:nvPr>
        </p:nvSpPr>
        <p:spPr>
          <a:xfrm>
            <a:off x="3980329" y="6272003"/>
            <a:ext cx="4219640" cy="365125"/>
          </a:xfrm>
          <a:prstGeom prst="rect">
            <a:avLst/>
          </a:prstGeom>
        </p:spPr>
        <p:txBody>
          <a:bodyPr/>
          <a:lstStyle>
            <a:lvl1pPr>
              <a:defRPr/>
            </a:lvl1pPr>
          </a:lstStyle>
          <a:p>
            <a:pPr algn="ctr"/>
            <a:endParaRPr lang="en-GB"/>
          </a:p>
        </p:txBody>
      </p:sp>
    </p:spTree>
    <p:extLst>
      <p:ext uri="{BB962C8B-B14F-4D97-AF65-F5344CB8AC3E}">
        <p14:creationId xmlns:p14="http://schemas.microsoft.com/office/powerpoint/2010/main" val="8982185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Text Only">
    <p:spTree>
      <p:nvGrpSpPr>
        <p:cNvPr id="1" name=""/>
        <p:cNvGrpSpPr/>
        <p:nvPr/>
      </p:nvGrpSpPr>
      <p:grpSpPr>
        <a:xfrm>
          <a:off x="0" y="0"/>
          <a:ext cx="0" cy="0"/>
          <a:chOff x="0" y="0"/>
          <a:chExt cx="0" cy="0"/>
        </a:xfrm>
      </p:grpSpPr>
      <p:sp>
        <p:nvSpPr>
          <p:cNvPr id="9" name="Title 1"/>
          <p:cNvSpPr>
            <a:spLocks noGrp="1"/>
          </p:cNvSpPr>
          <p:nvPr>
            <p:ph type="ctrTitle" hasCustomPrompt="1"/>
          </p:nvPr>
        </p:nvSpPr>
        <p:spPr>
          <a:xfrm>
            <a:off x="395362" y="3203155"/>
            <a:ext cx="6723193" cy="889132"/>
          </a:xfrm>
          <a:prstGeom prst="rect">
            <a:avLst/>
          </a:prstGeom>
        </p:spPr>
        <p:txBody>
          <a:bodyPr anchor="b" anchorCtr="0"/>
          <a:lstStyle>
            <a:lvl1pPr>
              <a:lnSpc>
                <a:spcPts val="3467"/>
              </a:lnSpc>
              <a:defRPr sz="3467">
                <a:solidFill>
                  <a:schemeClr val="bg2"/>
                </a:solidFill>
              </a:defRPr>
            </a:lvl1pPr>
          </a:lstStyle>
          <a:p>
            <a:r>
              <a:rPr lang="en-US"/>
              <a:t>Click to edit Master </a:t>
            </a:r>
            <a:br>
              <a:rPr lang="en-US"/>
            </a:br>
            <a:r>
              <a:rPr lang="en-US"/>
              <a:t>heading style</a:t>
            </a:r>
            <a:endParaRPr lang="en-GB"/>
          </a:p>
        </p:txBody>
      </p:sp>
      <p:sp>
        <p:nvSpPr>
          <p:cNvPr id="10" name="Subtitle 2"/>
          <p:cNvSpPr>
            <a:spLocks noGrp="1"/>
          </p:cNvSpPr>
          <p:nvPr>
            <p:ph type="subTitle" idx="1" hasCustomPrompt="1"/>
          </p:nvPr>
        </p:nvSpPr>
        <p:spPr>
          <a:xfrm>
            <a:off x="395362" y="4570120"/>
            <a:ext cx="6723193" cy="420564"/>
          </a:xfrm>
          <a:prstGeom prst="rect">
            <a:avLst/>
          </a:prstGeom>
        </p:spPr>
        <p:txBody>
          <a:bodyPr wrap="square" lIns="0" anchor="t" anchorCtr="0">
            <a:spAutoFit/>
          </a:bodyPr>
          <a:lstStyle>
            <a:lvl1pPr marL="0" indent="0" algn="l">
              <a:spcAft>
                <a:spcPts val="0"/>
              </a:spcAft>
              <a:buNone/>
              <a:defRPr i="0">
                <a:solidFill>
                  <a:schemeClr val="tx1"/>
                </a:solidFill>
                <a:latin typeface="+mn-lt"/>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heading</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82719" y="316145"/>
            <a:ext cx="1952861" cy="963168"/>
          </a:xfrm>
          <a:prstGeom prst="rect">
            <a:avLst/>
          </a:prstGeom>
        </p:spPr>
      </p:pic>
    </p:spTree>
    <p:extLst>
      <p:ext uri="{BB962C8B-B14F-4D97-AF65-F5344CB8AC3E}">
        <p14:creationId xmlns:p14="http://schemas.microsoft.com/office/powerpoint/2010/main" val="25001700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Content_no subheading">
    <p:spTree>
      <p:nvGrpSpPr>
        <p:cNvPr id="1" name=""/>
        <p:cNvGrpSpPr/>
        <p:nvPr/>
      </p:nvGrpSpPr>
      <p:grpSpPr>
        <a:xfrm>
          <a:off x="0" y="0"/>
          <a:ext cx="0" cy="0"/>
          <a:chOff x="0" y="0"/>
          <a:chExt cx="0" cy="0"/>
        </a:xfrm>
      </p:grpSpPr>
      <p:sp>
        <p:nvSpPr>
          <p:cNvPr id="16" name="Content Placeholder 15"/>
          <p:cNvSpPr>
            <a:spLocks noGrp="1" noChangeAspect="1"/>
          </p:cNvSpPr>
          <p:nvPr>
            <p:ph sz="quarter" idx="12"/>
          </p:nvPr>
        </p:nvSpPr>
        <p:spPr>
          <a:xfrm>
            <a:off x="478872" y="1589851"/>
            <a:ext cx="11231033" cy="4093400"/>
          </a:xfrm>
          <a:prstGeom prst="rect">
            <a:avLst/>
          </a:prstGeom>
        </p:spPr>
        <p:txBody>
          <a:bodyPr l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p:cNvSpPr>
            <a:spLocks noGrp="1"/>
          </p:cNvSpPr>
          <p:nvPr>
            <p:ph type="body" sz="quarter" idx="18"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4" name="Title 3"/>
          <p:cNvSpPr>
            <a:spLocks noGrp="1"/>
          </p:cNvSpPr>
          <p:nvPr>
            <p:ph type="title" hasCustomPrompt="1"/>
          </p:nvPr>
        </p:nvSpPr>
        <p:spPr>
          <a:xfrm>
            <a:off x="478871" y="611967"/>
            <a:ext cx="10102852" cy="451405"/>
          </a:xfrm>
        </p:spPr>
        <p:txBody>
          <a:bodyPr anchor="ctr"/>
          <a:lstStyle/>
          <a:p>
            <a:r>
              <a:rPr lang="en-US"/>
              <a:t>Click to edit Master heading style</a:t>
            </a:r>
            <a:endParaRPr lang="en-GB"/>
          </a:p>
        </p:txBody>
      </p:sp>
      <p:sp>
        <p:nvSpPr>
          <p:cNvPr id="7" name="Date Placeholder 6"/>
          <p:cNvSpPr>
            <a:spLocks noGrp="1"/>
          </p:cNvSpPr>
          <p:nvPr>
            <p:ph type="dt" sz="half" idx="19"/>
          </p:nvPr>
        </p:nvSpPr>
        <p:spPr>
          <a:xfrm>
            <a:off x="3980329" y="6272003"/>
            <a:ext cx="4219640" cy="178517"/>
          </a:xfrm>
          <a:prstGeom prst="rect">
            <a:avLst/>
          </a:prstGeom>
        </p:spPr>
        <p:txBody>
          <a:bodyPr/>
          <a:lstStyle>
            <a:lvl1pPr>
              <a:defRPr/>
            </a:lvl1pPr>
          </a:lstStyle>
          <a:p>
            <a:pPr algn="ctr"/>
            <a:endParaRPr lang="en-GB"/>
          </a:p>
        </p:txBody>
      </p:sp>
      <p:sp>
        <p:nvSpPr>
          <p:cNvPr id="9" name="Footer Placeholder 8"/>
          <p:cNvSpPr>
            <a:spLocks noGrp="1"/>
          </p:cNvSpPr>
          <p:nvPr>
            <p:ph type="ftr" sz="quarter" idx="20"/>
          </p:nvPr>
        </p:nvSpPr>
        <p:spPr>
          <a:xfrm>
            <a:off x="478869" y="6272003"/>
            <a:ext cx="3420032" cy="178517"/>
          </a:xfrm>
          <a:prstGeom prst="rect">
            <a:avLst/>
          </a:prstGeom>
        </p:spPr>
        <p:txBody>
          <a:bodyPr/>
          <a:lstStyle>
            <a:lvl1pPr>
              <a:defRPr/>
            </a:lvl1pPr>
          </a:lstStyle>
          <a:p>
            <a:endParaRPr lang="en-GB"/>
          </a:p>
        </p:txBody>
      </p:sp>
      <p:sp>
        <p:nvSpPr>
          <p:cNvPr id="10" name="Slide Number Placeholder 9"/>
          <p:cNvSpPr>
            <a:spLocks noGrp="1"/>
          </p:cNvSpPr>
          <p:nvPr>
            <p:ph type="sldNum" sz="quarter" idx="21"/>
          </p:nvPr>
        </p:nvSpPr>
        <p:spPr>
          <a:xfrm>
            <a:off x="10604041" y="6272003"/>
            <a:ext cx="1106831" cy="365125"/>
          </a:xfrm>
          <a:prstGeom prst="rect">
            <a:avLst/>
          </a:prstGeom>
        </p:spPr>
        <p:txBody>
          <a:bodyPr/>
          <a:lstStyle/>
          <a:p>
            <a:fld id="{9F9F533D-B52E-4A2F-BF72-0ADD2D94BD75}" type="slidenum">
              <a:rPr lang="en-GB" smtClean="0"/>
              <a:pPr/>
              <a:t>‹#›</a:t>
            </a:fld>
            <a:endParaRPr lang="en-GB"/>
          </a:p>
        </p:txBody>
      </p:sp>
      <p:sp>
        <p:nvSpPr>
          <p:cNvPr id="3" name="Text Placeholder 2">
            <a:extLst>
              <a:ext uri="{FF2B5EF4-FFF2-40B4-BE49-F238E27FC236}">
                <a16:creationId xmlns:a16="http://schemas.microsoft.com/office/drawing/2014/main" id="{D11399E0-9770-4AAF-96C6-4EF5F9A60E5D}"/>
              </a:ext>
            </a:extLst>
          </p:cNvPr>
          <p:cNvSpPr>
            <a:spLocks noGrp="1"/>
          </p:cNvSpPr>
          <p:nvPr>
            <p:ph type="body" sz="quarter" idx="22" hasCustomPrompt="1"/>
          </p:nvPr>
        </p:nvSpPr>
        <p:spPr>
          <a:xfrm>
            <a:off x="474136" y="5762176"/>
            <a:ext cx="11231033" cy="287259"/>
          </a:xfrm>
          <a:prstGeom prst="rect">
            <a:avLst/>
          </a:prstGeom>
        </p:spPr>
        <p:txBody>
          <a:bodyPr anchor="b"/>
          <a:lstStyle>
            <a:lvl1pPr marL="0" indent="0">
              <a:spcAft>
                <a:spcPts val="0"/>
              </a:spcAft>
              <a:buNone/>
              <a:defRPr sz="1067"/>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footnotes here</a:t>
            </a:r>
          </a:p>
        </p:txBody>
      </p:sp>
    </p:spTree>
    <p:extLst>
      <p:ext uri="{BB962C8B-B14F-4D97-AF65-F5344CB8AC3E}">
        <p14:creationId xmlns:p14="http://schemas.microsoft.com/office/powerpoint/2010/main" val="20050627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6" name="Content Placeholder 15"/>
          <p:cNvSpPr>
            <a:spLocks noGrp="1" noChangeAspect="1"/>
          </p:cNvSpPr>
          <p:nvPr>
            <p:ph sz="quarter" idx="12"/>
          </p:nvPr>
        </p:nvSpPr>
        <p:spPr>
          <a:xfrm>
            <a:off x="478872" y="1589851"/>
            <a:ext cx="11231033" cy="4093400"/>
          </a:xfrm>
          <a:prstGeom prst="rect">
            <a:avLst/>
          </a:prstGeom>
        </p:spPr>
        <p:txBody>
          <a:bodyPr l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2"/>
          <p:cNvSpPr>
            <a:spLocks noGrp="1"/>
          </p:cNvSpPr>
          <p:nvPr>
            <p:ph type="body" sz="quarter" idx="14" hasCustomPrompt="1"/>
          </p:nvPr>
        </p:nvSpPr>
        <p:spPr>
          <a:xfrm>
            <a:off x="478869" y="924739"/>
            <a:ext cx="10104000" cy="369332"/>
          </a:xfrm>
          <a:prstGeom prst="rect">
            <a:avLst/>
          </a:prstGeom>
        </p:spPr>
        <p:txBody>
          <a:bodyPr lIns="0" anchor="t" anchorCtr="0">
            <a:noAutofit/>
          </a:bodyPr>
          <a:lstStyle>
            <a:lvl1pPr marL="0" marR="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sz="2133" i="0">
                <a:latin typeface="+mn-lt"/>
              </a:defRPr>
            </a:lvl1pPr>
            <a:lvl2pPr marL="361934" indent="0">
              <a:buNone/>
              <a:defRPr/>
            </a:lvl2pPr>
            <a:lvl3pPr marL="711165" indent="0">
              <a:buNone/>
              <a:defRPr/>
            </a:lvl3pPr>
            <a:lvl4pPr marL="1087911" indent="0">
              <a:buNone/>
              <a:defRPr/>
            </a:lvl4pPr>
            <a:lvl5pPr marL="1473126" indent="0">
              <a:buNone/>
              <a:defRPr/>
            </a:lvl5pPr>
          </a:lstStyle>
          <a:p>
            <a:pPr marL="0" marR="0" lvl="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4" name="Title 3"/>
          <p:cNvSpPr>
            <a:spLocks noGrp="1"/>
          </p:cNvSpPr>
          <p:nvPr>
            <p:ph type="title" hasCustomPrompt="1"/>
          </p:nvPr>
        </p:nvSpPr>
        <p:spPr>
          <a:xfrm>
            <a:off x="478871" y="384852"/>
            <a:ext cx="10102852" cy="451405"/>
          </a:xfrm>
        </p:spPr>
        <p:txBody>
          <a:bodyPr/>
          <a:lstStyle/>
          <a:p>
            <a:r>
              <a:rPr lang="en-US"/>
              <a:t>Click to edit Master heading style</a:t>
            </a:r>
            <a:endParaRPr lang="en-GB"/>
          </a:p>
        </p:txBody>
      </p:sp>
      <p:sp>
        <p:nvSpPr>
          <p:cNvPr id="10" name="Slide Number Placeholder 9"/>
          <p:cNvSpPr>
            <a:spLocks noGrp="1"/>
          </p:cNvSpPr>
          <p:nvPr>
            <p:ph type="sldNum" sz="quarter" idx="21"/>
          </p:nvPr>
        </p:nvSpPr>
        <p:spPr>
          <a:xfrm>
            <a:off x="10604041" y="6272003"/>
            <a:ext cx="1106831" cy="365125"/>
          </a:xfrm>
          <a:prstGeom prst="rect">
            <a:avLst/>
          </a:prstGeom>
        </p:spPr>
        <p:txBody>
          <a:bodyPr/>
          <a:lstStyle/>
          <a:p>
            <a:fld id="{9F9F533D-B52E-4A2F-BF72-0ADD2D94BD75}" type="slidenum">
              <a:rPr lang="en-GB" smtClean="0"/>
              <a:pPr/>
              <a:t>‹#›</a:t>
            </a:fld>
            <a:endParaRPr lang="en-GB"/>
          </a:p>
        </p:txBody>
      </p:sp>
      <p:sp>
        <p:nvSpPr>
          <p:cNvPr id="12" name="Date Placeholder 6">
            <a:extLst>
              <a:ext uri="{FF2B5EF4-FFF2-40B4-BE49-F238E27FC236}">
                <a16:creationId xmlns:a16="http://schemas.microsoft.com/office/drawing/2014/main" id="{3C472C9A-CE36-40D0-9BBF-0219DB845BEC}"/>
              </a:ext>
            </a:extLst>
          </p:cNvPr>
          <p:cNvSpPr>
            <a:spLocks noGrp="1"/>
          </p:cNvSpPr>
          <p:nvPr>
            <p:ph type="dt" sz="half" idx="19"/>
          </p:nvPr>
        </p:nvSpPr>
        <p:spPr>
          <a:xfrm>
            <a:off x="3980329" y="6272003"/>
            <a:ext cx="4219640" cy="178517"/>
          </a:xfrm>
          <a:prstGeom prst="rect">
            <a:avLst/>
          </a:prstGeom>
        </p:spPr>
        <p:txBody>
          <a:bodyPr/>
          <a:lstStyle>
            <a:lvl1pPr>
              <a:defRPr/>
            </a:lvl1pPr>
          </a:lstStyle>
          <a:p>
            <a:pPr algn="ctr"/>
            <a:endParaRPr lang="en-GB"/>
          </a:p>
        </p:txBody>
      </p:sp>
      <p:sp>
        <p:nvSpPr>
          <p:cNvPr id="13" name="Footer Placeholder 8">
            <a:extLst>
              <a:ext uri="{FF2B5EF4-FFF2-40B4-BE49-F238E27FC236}">
                <a16:creationId xmlns:a16="http://schemas.microsoft.com/office/drawing/2014/main" id="{07B12923-65D5-469F-862A-889C1C2385CE}"/>
              </a:ext>
            </a:extLst>
          </p:cNvPr>
          <p:cNvSpPr>
            <a:spLocks noGrp="1"/>
          </p:cNvSpPr>
          <p:nvPr>
            <p:ph type="ftr" sz="quarter" idx="20"/>
          </p:nvPr>
        </p:nvSpPr>
        <p:spPr>
          <a:xfrm>
            <a:off x="478869" y="6272003"/>
            <a:ext cx="3420032" cy="178517"/>
          </a:xfrm>
          <a:prstGeom prst="rect">
            <a:avLst/>
          </a:prstGeom>
        </p:spPr>
        <p:txBody>
          <a:bodyPr/>
          <a:lstStyle>
            <a:lvl1pPr>
              <a:defRPr/>
            </a:lvl1pPr>
          </a:lstStyle>
          <a:p>
            <a:endParaRPr lang="en-GB"/>
          </a:p>
        </p:txBody>
      </p:sp>
      <p:sp>
        <p:nvSpPr>
          <p:cNvPr id="14" name="Text Placeholder 5">
            <a:extLst>
              <a:ext uri="{FF2B5EF4-FFF2-40B4-BE49-F238E27FC236}">
                <a16:creationId xmlns:a16="http://schemas.microsoft.com/office/drawing/2014/main" id="{9E3F25BC-C8FA-4B72-A264-4166722C40BA}"/>
              </a:ext>
            </a:extLst>
          </p:cNvPr>
          <p:cNvSpPr>
            <a:spLocks noGrp="1"/>
          </p:cNvSpPr>
          <p:nvPr>
            <p:ph type="body" sz="quarter" idx="18"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15" name="Text Placeholder 2">
            <a:extLst>
              <a:ext uri="{FF2B5EF4-FFF2-40B4-BE49-F238E27FC236}">
                <a16:creationId xmlns:a16="http://schemas.microsoft.com/office/drawing/2014/main" id="{94506938-8AA2-4275-8C66-72C264C2917A}"/>
              </a:ext>
            </a:extLst>
          </p:cNvPr>
          <p:cNvSpPr>
            <a:spLocks noGrp="1"/>
          </p:cNvSpPr>
          <p:nvPr>
            <p:ph type="body" sz="quarter" idx="22" hasCustomPrompt="1"/>
          </p:nvPr>
        </p:nvSpPr>
        <p:spPr>
          <a:xfrm>
            <a:off x="474136" y="5762176"/>
            <a:ext cx="11231033" cy="287259"/>
          </a:xfrm>
          <a:prstGeom prst="rect">
            <a:avLst/>
          </a:prstGeom>
        </p:spPr>
        <p:txBody>
          <a:bodyPr anchor="b"/>
          <a:lstStyle>
            <a:lvl1pPr marL="0" indent="0">
              <a:spcAft>
                <a:spcPts val="0"/>
              </a:spcAft>
              <a:buNone/>
              <a:defRPr sz="1067"/>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footnotes here</a:t>
            </a:r>
          </a:p>
        </p:txBody>
      </p:sp>
    </p:spTree>
    <p:extLst>
      <p:ext uri="{BB962C8B-B14F-4D97-AF65-F5344CB8AC3E}">
        <p14:creationId xmlns:p14="http://schemas.microsoft.com/office/powerpoint/2010/main" val="27113250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10" name="Content Placeholder 9"/>
          <p:cNvSpPr>
            <a:spLocks noGrp="1" noChangeAspect="1"/>
          </p:cNvSpPr>
          <p:nvPr>
            <p:ph sz="quarter" idx="19"/>
          </p:nvPr>
        </p:nvSpPr>
        <p:spPr>
          <a:xfrm>
            <a:off x="480002" y="2052915"/>
            <a:ext cx="11224684" cy="3638805"/>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
          <p:cNvSpPr>
            <a:spLocks noGrp="1"/>
          </p:cNvSpPr>
          <p:nvPr>
            <p:ph type="body" sz="quarter" idx="13" hasCustomPrompt="1"/>
          </p:nvPr>
        </p:nvSpPr>
        <p:spPr>
          <a:xfrm>
            <a:off x="478871" y="1588948"/>
            <a:ext cx="11224684" cy="420564"/>
          </a:xfrm>
          <a:prstGeom prst="rect">
            <a:avLst/>
          </a:prstGeom>
        </p:spPr>
        <p:txBody>
          <a:bodyPr lIns="0" anchor="t" anchorCtr="0">
            <a:spAutoFit/>
          </a:bodyPr>
          <a:lstStyle>
            <a:lvl1pPr marL="0" indent="0">
              <a:spcAft>
                <a:spcPts val="0"/>
              </a:spcAft>
              <a:buNone/>
              <a:defRPr sz="2133" b="1">
                <a:solidFill>
                  <a:schemeClr val="accent1"/>
                </a:solidFill>
              </a:defRPr>
            </a:lvl1pPr>
            <a:lvl2pPr marL="361934" indent="0">
              <a:buNone/>
              <a:defRPr/>
            </a:lvl2pPr>
            <a:lvl3pPr marL="711165" indent="0">
              <a:buNone/>
              <a:defRPr/>
            </a:lvl3pPr>
            <a:lvl4pPr marL="1087911" indent="0">
              <a:buNone/>
              <a:defRPr/>
            </a:lvl4pPr>
            <a:lvl5pPr marL="1473126" indent="0">
              <a:buNone/>
              <a:defRPr/>
            </a:lvl5pPr>
          </a:lstStyle>
          <a:p>
            <a:pPr lvl="0"/>
            <a:r>
              <a:rPr lang="en-US"/>
              <a:t>Subheading here if required</a:t>
            </a:r>
          </a:p>
        </p:txBody>
      </p:sp>
      <p:sp>
        <p:nvSpPr>
          <p:cNvPr id="14" name="Text Placeholder 2"/>
          <p:cNvSpPr>
            <a:spLocks noGrp="1"/>
          </p:cNvSpPr>
          <p:nvPr>
            <p:ph type="body" sz="quarter" idx="14" hasCustomPrompt="1"/>
          </p:nvPr>
        </p:nvSpPr>
        <p:spPr>
          <a:xfrm>
            <a:off x="478869" y="924739"/>
            <a:ext cx="10104000" cy="369332"/>
          </a:xfrm>
          <a:prstGeom prst="rect">
            <a:avLst/>
          </a:prstGeom>
        </p:spPr>
        <p:txBody>
          <a:bodyPr lIns="0" anchor="t" anchorCtr="0">
            <a:noAutofit/>
          </a:bodyPr>
          <a:lstStyle>
            <a:lvl1pPr marL="0" marR="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sz="2133" i="0">
                <a:latin typeface="+mn-lt"/>
              </a:defRPr>
            </a:lvl1pPr>
            <a:lvl2pPr marL="361934" indent="0">
              <a:buNone/>
              <a:defRPr/>
            </a:lvl2pPr>
            <a:lvl3pPr marL="711165" indent="0">
              <a:buNone/>
              <a:defRPr/>
            </a:lvl3pPr>
            <a:lvl4pPr marL="1087911" indent="0">
              <a:buNone/>
              <a:defRPr/>
            </a:lvl4pPr>
            <a:lvl5pPr marL="1473126" indent="0">
              <a:buNone/>
              <a:defRPr/>
            </a:lvl5pPr>
          </a:lstStyle>
          <a:p>
            <a:pPr marL="0" marR="0" lvl="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20" name="Title 19"/>
          <p:cNvSpPr>
            <a:spLocks noGrp="1"/>
          </p:cNvSpPr>
          <p:nvPr>
            <p:ph type="title" hasCustomPrompt="1"/>
          </p:nvPr>
        </p:nvSpPr>
        <p:spPr/>
        <p:txBody>
          <a:bodyPr/>
          <a:lstStyle/>
          <a:p>
            <a:r>
              <a:rPr lang="en-US"/>
              <a:t>Click to edit Master heading style</a:t>
            </a:r>
            <a:endParaRPr lang="en-GB"/>
          </a:p>
        </p:txBody>
      </p:sp>
      <p:sp>
        <p:nvSpPr>
          <p:cNvPr id="7" name="Slide Number Placeholder 6"/>
          <p:cNvSpPr>
            <a:spLocks noGrp="1"/>
          </p:cNvSpPr>
          <p:nvPr>
            <p:ph type="sldNum" sz="quarter" idx="22"/>
          </p:nvPr>
        </p:nvSpPr>
        <p:spPr>
          <a:xfrm>
            <a:off x="10604041" y="6272003"/>
            <a:ext cx="1106831" cy="365125"/>
          </a:xfrm>
          <a:prstGeom prst="rect">
            <a:avLst/>
          </a:prstGeom>
        </p:spPr>
        <p:txBody>
          <a:bodyPr/>
          <a:lstStyle/>
          <a:p>
            <a:fld id="{9F9F533D-B52E-4A2F-BF72-0ADD2D94BD75}" type="slidenum">
              <a:rPr lang="en-GB" smtClean="0"/>
              <a:pPr/>
              <a:t>‹#›</a:t>
            </a:fld>
            <a:endParaRPr lang="en-GB"/>
          </a:p>
        </p:txBody>
      </p:sp>
      <p:sp>
        <p:nvSpPr>
          <p:cNvPr id="13" name="Date Placeholder 6">
            <a:extLst>
              <a:ext uri="{FF2B5EF4-FFF2-40B4-BE49-F238E27FC236}">
                <a16:creationId xmlns:a16="http://schemas.microsoft.com/office/drawing/2014/main" id="{BE03B00A-65BA-40E4-B8F0-B0E091CC7970}"/>
              </a:ext>
            </a:extLst>
          </p:cNvPr>
          <p:cNvSpPr>
            <a:spLocks noGrp="1"/>
          </p:cNvSpPr>
          <p:nvPr>
            <p:ph type="dt" sz="half" idx="23"/>
          </p:nvPr>
        </p:nvSpPr>
        <p:spPr>
          <a:xfrm>
            <a:off x="3980329" y="6272003"/>
            <a:ext cx="4219640" cy="178517"/>
          </a:xfrm>
          <a:prstGeom prst="rect">
            <a:avLst/>
          </a:prstGeom>
        </p:spPr>
        <p:txBody>
          <a:bodyPr/>
          <a:lstStyle>
            <a:lvl1pPr>
              <a:defRPr/>
            </a:lvl1pPr>
          </a:lstStyle>
          <a:p>
            <a:pPr algn="ctr"/>
            <a:endParaRPr lang="en-GB"/>
          </a:p>
        </p:txBody>
      </p:sp>
      <p:sp>
        <p:nvSpPr>
          <p:cNvPr id="15" name="Footer Placeholder 8">
            <a:extLst>
              <a:ext uri="{FF2B5EF4-FFF2-40B4-BE49-F238E27FC236}">
                <a16:creationId xmlns:a16="http://schemas.microsoft.com/office/drawing/2014/main" id="{BB580724-2E6B-400E-8CFB-330038BCE02D}"/>
              </a:ext>
            </a:extLst>
          </p:cNvPr>
          <p:cNvSpPr>
            <a:spLocks noGrp="1"/>
          </p:cNvSpPr>
          <p:nvPr>
            <p:ph type="ftr" sz="quarter" idx="20"/>
          </p:nvPr>
        </p:nvSpPr>
        <p:spPr>
          <a:xfrm>
            <a:off x="478869" y="6272003"/>
            <a:ext cx="3420032" cy="178517"/>
          </a:xfrm>
          <a:prstGeom prst="rect">
            <a:avLst/>
          </a:prstGeom>
        </p:spPr>
        <p:txBody>
          <a:bodyPr/>
          <a:lstStyle>
            <a:lvl1pPr>
              <a:defRPr/>
            </a:lvl1pPr>
          </a:lstStyle>
          <a:p>
            <a:endParaRPr lang="en-GB"/>
          </a:p>
        </p:txBody>
      </p:sp>
      <p:sp>
        <p:nvSpPr>
          <p:cNvPr id="16" name="Text Placeholder 5">
            <a:extLst>
              <a:ext uri="{FF2B5EF4-FFF2-40B4-BE49-F238E27FC236}">
                <a16:creationId xmlns:a16="http://schemas.microsoft.com/office/drawing/2014/main" id="{F78648EF-3A69-4CDD-87B2-E79BEEF3CA83}"/>
              </a:ext>
            </a:extLst>
          </p:cNvPr>
          <p:cNvSpPr>
            <a:spLocks noGrp="1"/>
          </p:cNvSpPr>
          <p:nvPr>
            <p:ph type="body" sz="quarter" idx="18"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17" name="Text Placeholder 2">
            <a:extLst>
              <a:ext uri="{FF2B5EF4-FFF2-40B4-BE49-F238E27FC236}">
                <a16:creationId xmlns:a16="http://schemas.microsoft.com/office/drawing/2014/main" id="{B59F32C1-8823-4113-96D9-9523A71D57EB}"/>
              </a:ext>
            </a:extLst>
          </p:cNvPr>
          <p:cNvSpPr>
            <a:spLocks noGrp="1"/>
          </p:cNvSpPr>
          <p:nvPr>
            <p:ph type="body" sz="quarter" idx="24" hasCustomPrompt="1"/>
          </p:nvPr>
        </p:nvSpPr>
        <p:spPr>
          <a:xfrm>
            <a:off x="474136" y="5762176"/>
            <a:ext cx="11231033" cy="287259"/>
          </a:xfrm>
          <a:prstGeom prst="rect">
            <a:avLst/>
          </a:prstGeom>
        </p:spPr>
        <p:txBody>
          <a:bodyPr anchor="b"/>
          <a:lstStyle>
            <a:lvl1pPr marL="0" indent="0">
              <a:spcAft>
                <a:spcPts val="0"/>
              </a:spcAft>
              <a:buNone/>
              <a:defRPr sz="1067"/>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footnotes here</a:t>
            </a:r>
          </a:p>
        </p:txBody>
      </p:sp>
    </p:spTree>
    <p:extLst>
      <p:ext uri="{BB962C8B-B14F-4D97-AF65-F5344CB8AC3E}">
        <p14:creationId xmlns:p14="http://schemas.microsoft.com/office/powerpoint/2010/main" val="21064956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and Content with Subheading">
    <p:spTree>
      <p:nvGrpSpPr>
        <p:cNvPr id="1" name=""/>
        <p:cNvGrpSpPr/>
        <p:nvPr/>
      </p:nvGrpSpPr>
      <p:grpSpPr>
        <a:xfrm>
          <a:off x="0" y="0"/>
          <a:ext cx="0" cy="0"/>
          <a:chOff x="0" y="0"/>
          <a:chExt cx="0" cy="0"/>
        </a:xfrm>
      </p:grpSpPr>
      <p:sp>
        <p:nvSpPr>
          <p:cNvPr id="10" name="Content Placeholder 9"/>
          <p:cNvSpPr>
            <a:spLocks noGrp="1" noChangeAspect="1"/>
          </p:cNvSpPr>
          <p:nvPr>
            <p:ph sz="quarter" idx="19"/>
          </p:nvPr>
        </p:nvSpPr>
        <p:spPr>
          <a:xfrm>
            <a:off x="480002" y="2052915"/>
            <a:ext cx="11224684" cy="3638805"/>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
          <p:cNvSpPr>
            <a:spLocks noGrp="1"/>
          </p:cNvSpPr>
          <p:nvPr>
            <p:ph type="body" sz="quarter" idx="13" hasCustomPrompt="1"/>
          </p:nvPr>
        </p:nvSpPr>
        <p:spPr>
          <a:xfrm>
            <a:off x="478871" y="1588948"/>
            <a:ext cx="11224684" cy="420564"/>
          </a:xfrm>
          <a:prstGeom prst="rect">
            <a:avLst/>
          </a:prstGeom>
        </p:spPr>
        <p:txBody>
          <a:bodyPr lIns="0" anchor="t" anchorCtr="0">
            <a:spAutoFit/>
          </a:bodyPr>
          <a:lstStyle>
            <a:lvl1pPr marL="0" indent="0">
              <a:spcAft>
                <a:spcPts val="0"/>
              </a:spcAft>
              <a:buNone/>
              <a:defRPr sz="2133" b="1">
                <a:solidFill>
                  <a:schemeClr val="accent1"/>
                </a:solidFill>
              </a:defRPr>
            </a:lvl1pPr>
            <a:lvl2pPr marL="361934" indent="0">
              <a:buNone/>
              <a:defRPr/>
            </a:lvl2pPr>
            <a:lvl3pPr marL="711165" indent="0">
              <a:buNone/>
              <a:defRPr/>
            </a:lvl3pPr>
            <a:lvl4pPr marL="1087911" indent="0">
              <a:buNone/>
              <a:defRPr/>
            </a:lvl4pPr>
            <a:lvl5pPr marL="1473126" indent="0">
              <a:buNone/>
              <a:defRPr/>
            </a:lvl5pPr>
          </a:lstStyle>
          <a:p>
            <a:pPr lvl="0"/>
            <a:r>
              <a:rPr lang="en-US"/>
              <a:t>Subheading here if required</a:t>
            </a:r>
          </a:p>
        </p:txBody>
      </p:sp>
      <p:sp>
        <p:nvSpPr>
          <p:cNvPr id="7" name="Slide Number Placeholder 6"/>
          <p:cNvSpPr>
            <a:spLocks noGrp="1"/>
          </p:cNvSpPr>
          <p:nvPr>
            <p:ph type="sldNum" sz="quarter" idx="22"/>
          </p:nvPr>
        </p:nvSpPr>
        <p:spPr>
          <a:xfrm>
            <a:off x="10604041" y="6272003"/>
            <a:ext cx="1106831" cy="365125"/>
          </a:xfrm>
          <a:prstGeom prst="rect">
            <a:avLst/>
          </a:prstGeom>
        </p:spPr>
        <p:txBody>
          <a:bodyPr/>
          <a:lstStyle/>
          <a:p>
            <a:fld id="{9F9F533D-B52E-4A2F-BF72-0ADD2D94BD75}" type="slidenum">
              <a:rPr lang="en-GB" smtClean="0"/>
              <a:pPr/>
              <a:t>‹#›</a:t>
            </a:fld>
            <a:endParaRPr lang="en-GB"/>
          </a:p>
        </p:txBody>
      </p:sp>
      <p:sp>
        <p:nvSpPr>
          <p:cNvPr id="16" name="Title 3">
            <a:extLst>
              <a:ext uri="{FF2B5EF4-FFF2-40B4-BE49-F238E27FC236}">
                <a16:creationId xmlns:a16="http://schemas.microsoft.com/office/drawing/2014/main" id="{4DB07AAB-1B3F-4903-B72F-900230283226}"/>
              </a:ext>
            </a:extLst>
          </p:cNvPr>
          <p:cNvSpPr>
            <a:spLocks noGrp="1"/>
          </p:cNvSpPr>
          <p:nvPr>
            <p:ph type="title" hasCustomPrompt="1"/>
          </p:nvPr>
        </p:nvSpPr>
        <p:spPr>
          <a:xfrm>
            <a:off x="478871" y="611967"/>
            <a:ext cx="10102852" cy="451405"/>
          </a:xfrm>
        </p:spPr>
        <p:txBody>
          <a:bodyPr anchor="ctr"/>
          <a:lstStyle/>
          <a:p>
            <a:r>
              <a:rPr lang="en-US"/>
              <a:t>Click to edit Master heading style</a:t>
            </a:r>
            <a:endParaRPr lang="en-GB"/>
          </a:p>
        </p:txBody>
      </p:sp>
      <p:sp>
        <p:nvSpPr>
          <p:cNvPr id="9" name="Date Placeholder 6">
            <a:extLst>
              <a:ext uri="{FF2B5EF4-FFF2-40B4-BE49-F238E27FC236}">
                <a16:creationId xmlns:a16="http://schemas.microsoft.com/office/drawing/2014/main" id="{22EA2AF0-A6F5-4111-B093-2CB833E4AE2D}"/>
              </a:ext>
            </a:extLst>
          </p:cNvPr>
          <p:cNvSpPr>
            <a:spLocks noGrp="1"/>
          </p:cNvSpPr>
          <p:nvPr>
            <p:ph type="dt" sz="half" idx="23"/>
          </p:nvPr>
        </p:nvSpPr>
        <p:spPr>
          <a:xfrm>
            <a:off x="3980329" y="6272003"/>
            <a:ext cx="4219640" cy="178517"/>
          </a:xfrm>
          <a:prstGeom prst="rect">
            <a:avLst/>
          </a:prstGeom>
        </p:spPr>
        <p:txBody>
          <a:bodyPr/>
          <a:lstStyle>
            <a:lvl1pPr>
              <a:defRPr/>
            </a:lvl1pPr>
          </a:lstStyle>
          <a:p>
            <a:pPr algn="ctr"/>
            <a:endParaRPr lang="en-GB"/>
          </a:p>
        </p:txBody>
      </p:sp>
      <p:sp>
        <p:nvSpPr>
          <p:cNvPr id="13" name="Footer Placeholder 8">
            <a:extLst>
              <a:ext uri="{FF2B5EF4-FFF2-40B4-BE49-F238E27FC236}">
                <a16:creationId xmlns:a16="http://schemas.microsoft.com/office/drawing/2014/main" id="{6ECB73C0-8742-4322-BFEA-60B5B987D999}"/>
              </a:ext>
            </a:extLst>
          </p:cNvPr>
          <p:cNvSpPr>
            <a:spLocks noGrp="1"/>
          </p:cNvSpPr>
          <p:nvPr>
            <p:ph type="ftr" sz="quarter" idx="20"/>
          </p:nvPr>
        </p:nvSpPr>
        <p:spPr>
          <a:xfrm>
            <a:off x="478869" y="6272003"/>
            <a:ext cx="3420032" cy="178517"/>
          </a:xfrm>
          <a:prstGeom prst="rect">
            <a:avLst/>
          </a:prstGeom>
        </p:spPr>
        <p:txBody>
          <a:bodyPr/>
          <a:lstStyle>
            <a:lvl1pPr>
              <a:defRPr/>
            </a:lvl1pPr>
          </a:lstStyle>
          <a:p>
            <a:endParaRPr lang="en-GB"/>
          </a:p>
        </p:txBody>
      </p:sp>
      <p:sp>
        <p:nvSpPr>
          <p:cNvPr id="14" name="Text Placeholder 5">
            <a:extLst>
              <a:ext uri="{FF2B5EF4-FFF2-40B4-BE49-F238E27FC236}">
                <a16:creationId xmlns:a16="http://schemas.microsoft.com/office/drawing/2014/main" id="{898FD64C-1878-4DB8-BD6B-ACECFFEF7D50}"/>
              </a:ext>
            </a:extLst>
          </p:cNvPr>
          <p:cNvSpPr>
            <a:spLocks noGrp="1"/>
          </p:cNvSpPr>
          <p:nvPr>
            <p:ph type="body" sz="quarter" idx="18"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15" name="Text Placeholder 2">
            <a:extLst>
              <a:ext uri="{FF2B5EF4-FFF2-40B4-BE49-F238E27FC236}">
                <a16:creationId xmlns:a16="http://schemas.microsoft.com/office/drawing/2014/main" id="{60A8972C-43B2-4211-B5CC-EF58BB73CBC5}"/>
              </a:ext>
            </a:extLst>
          </p:cNvPr>
          <p:cNvSpPr>
            <a:spLocks noGrp="1"/>
          </p:cNvSpPr>
          <p:nvPr>
            <p:ph type="body" sz="quarter" idx="24" hasCustomPrompt="1"/>
          </p:nvPr>
        </p:nvSpPr>
        <p:spPr>
          <a:xfrm>
            <a:off x="474136" y="5762176"/>
            <a:ext cx="11231033" cy="287259"/>
          </a:xfrm>
          <a:prstGeom prst="rect">
            <a:avLst/>
          </a:prstGeom>
        </p:spPr>
        <p:txBody>
          <a:bodyPr anchor="b"/>
          <a:lstStyle>
            <a:lvl1pPr marL="0" indent="0">
              <a:spcAft>
                <a:spcPts val="0"/>
              </a:spcAft>
              <a:buNone/>
              <a:defRPr sz="1067"/>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footnotes here</a:t>
            </a:r>
          </a:p>
        </p:txBody>
      </p:sp>
    </p:spTree>
    <p:extLst>
      <p:ext uri="{BB962C8B-B14F-4D97-AF65-F5344CB8AC3E}">
        <p14:creationId xmlns:p14="http://schemas.microsoft.com/office/powerpoint/2010/main" val="12075365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Slide Number Placeholder 7"/>
          <p:cNvSpPr>
            <a:spLocks noGrp="1"/>
          </p:cNvSpPr>
          <p:nvPr>
            <p:ph type="sldNum" sz="quarter" idx="32"/>
          </p:nvPr>
        </p:nvSpPr>
        <p:spPr>
          <a:xfrm>
            <a:off x="10604041" y="6272003"/>
            <a:ext cx="1106831" cy="365125"/>
          </a:xfrm>
          <a:prstGeom prst="rect">
            <a:avLst/>
          </a:prstGeom>
        </p:spPr>
        <p:txBody>
          <a:bodyPr/>
          <a:lstStyle/>
          <a:p>
            <a:fld id="{9F9F533D-B52E-4A2F-BF72-0ADD2D94BD75}" type="slidenum">
              <a:rPr lang="en-GB" smtClean="0"/>
              <a:pPr/>
              <a:t>‹#›</a:t>
            </a:fld>
            <a:endParaRPr lang="en-GB"/>
          </a:p>
        </p:txBody>
      </p:sp>
      <p:sp>
        <p:nvSpPr>
          <p:cNvPr id="10" name="Title 3">
            <a:extLst>
              <a:ext uri="{FF2B5EF4-FFF2-40B4-BE49-F238E27FC236}">
                <a16:creationId xmlns:a16="http://schemas.microsoft.com/office/drawing/2014/main" id="{727C3C92-9A33-4DC8-8015-A2309B64D85E}"/>
              </a:ext>
            </a:extLst>
          </p:cNvPr>
          <p:cNvSpPr>
            <a:spLocks noGrp="1"/>
          </p:cNvSpPr>
          <p:nvPr>
            <p:ph type="title" hasCustomPrompt="1"/>
          </p:nvPr>
        </p:nvSpPr>
        <p:spPr>
          <a:xfrm>
            <a:off x="478871" y="611967"/>
            <a:ext cx="10102852" cy="451405"/>
          </a:xfrm>
        </p:spPr>
        <p:txBody>
          <a:bodyPr anchor="ctr"/>
          <a:lstStyle/>
          <a:p>
            <a:r>
              <a:rPr lang="en-US"/>
              <a:t>Click to edit Master heading style</a:t>
            </a:r>
            <a:endParaRPr lang="en-GB"/>
          </a:p>
        </p:txBody>
      </p:sp>
      <p:sp>
        <p:nvSpPr>
          <p:cNvPr id="11" name="Date Placeholder 6">
            <a:extLst>
              <a:ext uri="{FF2B5EF4-FFF2-40B4-BE49-F238E27FC236}">
                <a16:creationId xmlns:a16="http://schemas.microsoft.com/office/drawing/2014/main" id="{9784682D-B1E4-48BA-B739-5C66433D3960}"/>
              </a:ext>
            </a:extLst>
          </p:cNvPr>
          <p:cNvSpPr>
            <a:spLocks noGrp="1"/>
          </p:cNvSpPr>
          <p:nvPr>
            <p:ph type="dt" sz="half" idx="19"/>
          </p:nvPr>
        </p:nvSpPr>
        <p:spPr>
          <a:xfrm>
            <a:off x="3980329" y="6272003"/>
            <a:ext cx="4219640" cy="178517"/>
          </a:xfrm>
          <a:prstGeom prst="rect">
            <a:avLst/>
          </a:prstGeom>
        </p:spPr>
        <p:txBody>
          <a:bodyPr/>
          <a:lstStyle>
            <a:lvl1pPr>
              <a:defRPr/>
            </a:lvl1pPr>
          </a:lstStyle>
          <a:p>
            <a:pPr algn="ctr"/>
            <a:endParaRPr lang="en-GB"/>
          </a:p>
        </p:txBody>
      </p:sp>
      <p:sp>
        <p:nvSpPr>
          <p:cNvPr id="12" name="Footer Placeholder 8">
            <a:extLst>
              <a:ext uri="{FF2B5EF4-FFF2-40B4-BE49-F238E27FC236}">
                <a16:creationId xmlns:a16="http://schemas.microsoft.com/office/drawing/2014/main" id="{8FF866E2-F371-4F3E-84FC-D33C17E5E7B5}"/>
              </a:ext>
            </a:extLst>
          </p:cNvPr>
          <p:cNvSpPr>
            <a:spLocks noGrp="1"/>
          </p:cNvSpPr>
          <p:nvPr>
            <p:ph type="ftr" sz="quarter" idx="20"/>
          </p:nvPr>
        </p:nvSpPr>
        <p:spPr>
          <a:xfrm>
            <a:off x="478869" y="6272003"/>
            <a:ext cx="3420032" cy="178517"/>
          </a:xfrm>
          <a:prstGeom prst="rect">
            <a:avLst/>
          </a:prstGeom>
        </p:spPr>
        <p:txBody>
          <a:bodyPr/>
          <a:lstStyle>
            <a:lvl1pPr>
              <a:defRPr/>
            </a:lvl1pPr>
          </a:lstStyle>
          <a:p>
            <a:endParaRPr lang="en-GB"/>
          </a:p>
        </p:txBody>
      </p:sp>
      <p:sp>
        <p:nvSpPr>
          <p:cNvPr id="13" name="Text Placeholder 5">
            <a:extLst>
              <a:ext uri="{FF2B5EF4-FFF2-40B4-BE49-F238E27FC236}">
                <a16:creationId xmlns:a16="http://schemas.microsoft.com/office/drawing/2014/main" id="{5507803A-5D8E-4C99-BD4D-9F0FC0C6F24A}"/>
              </a:ext>
            </a:extLst>
          </p:cNvPr>
          <p:cNvSpPr>
            <a:spLocks noGrp="1"/>
          </p:cNvSpPr>
          <p:nvPr>
            <p:ph type="body" sz="quarter" idx="18"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14" name="Text Placeholder 2">
            <a:extLst>
              <a:ext uri="{FF2B5EF4-FFF2-40B4-BE49-F238E27FC236}">
                <a16:creationId xmlns:a16="http://schemas.microsoft.com/office/drawing/2014/main" id="{E215D7C9-0CFF-44CE-88BE-194E86863ACA}"/>
              </a:ext>
            </a:extLst>
          </p:cNvPr>
          <p:cNvSpPr>
            <a:spLocks noGrp="1"/>
          </p:cNvSpPr>
          <p:nvPr>
            <p:ph type="body" sz="quarter" idx="22" hasCustomPrompt="1"/>
          </p:nvPr>
        </p:nvSpPr>
        <p:spPr>
          <a:xfrm>
            <a:off x="474136" y="5762176"/>
            <a:ext cx="11231033" cy="287259"/>
          </a:xfrm>
          <a:prstGeom prst="rect">
            <a:avLst/>
          </a:prstGeom>
        </p:spPr>
        <p:txBody>
          <a:bodyPr anchor="b"/>
          <a:lstStyle>
            <a:lvl1pPr marL="0" indent="0">
              <a:spcAft>
                <a:spcPts val="0"/>
              </a:spcAft>
              <a:buNone/>
              <a:defRPr sz="1067"/>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footnotes here</a:t>
            </a:r>
          </a:p>
        </p:txBody>
      </p:sp>
    </p:spTree>
    <p:extLst>
      <p:ext uri="{BB962C8B-B14F-4D97-AF65-F5344CB8AC3E}">
        <p14:creationId xmlns:p14="http://schemas.microsoft.com/office/powerpoint/2010/main" val="3453735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5" name="Title 4"/>
          <p:cNvSpPr>
            <a:spLocks noGrp="1"/>
          </p:cNvSpPr>
          <p:nvPr>
            <p:ph type="title" hasCustomPrompt="1"/>
          </p:nvPr>
        </p:nvSpPr>
        <p:spPr>
          <a:xfrm>
            <a:off x="498764" y="26123"/>
            <a:ext cx="10090921" cy="607241"/>
          </a:xfrm>
        </p:spPr>
        <p:txBody>
          <a:bodyPr/>
          <a:lstStyle/>
          <a:p>
            <a:r>
              <a:rPr lang="en-US" dirty="0"/>
              <a:t>Click to edit Master heading style</a:t>
            </a:r>
            <a:endParaRPr lang="en-GB" dirty="0"/>
          </a:p>
        </p:txBody>
      </p:sp>
      <p:sp>
        <p:nvSpPr>
          <p:cNvPr id="16" name="Content Placeholder 15"/>
          <p:cNvSpPr>
            <a:spLocks noGrp="1"/>
          </p:cNvSpPr>
          <p:nvPr>
            <p:ph sz="quarter" idx="12"/>
          </p:nvPr>
        </p:nvSpPr>
        <p:spPr>
          <a:xfrm>
            <a:off x="500098" y="1177489"/>
            <a:ext cx="11217769" cy="4658549"/>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2"/>
          <p:cNvSpPr>
            <a:spLocks noGrp="1"/>
          </p:cNvSpPr>
          <p:nvPr>
            <p:ph type="body" sz="quarter" idx="14" hasCustomPrompt="1"/>
          </p:nvPr>
        </p:nvSpPr>
        <p:spPr>
          <a:xfrm>
            <a:off x="498796" y="692554"/>
            <a:ext cx="10118404" cy="234950"/>
          </a:xfrm>
        </p:spPr>
        <p:txBody>
          <a:bodyPr anchor="t" anchorCtr="0"/>
          <a:lstStyle>
            <a:lvl1pPr marL="0" marR="0" indent="0" algn="l" defTabSz="1088284" rtl="0" eaLnBrk="1" fontAlgn="auto" latinLnBrk="0" hangingPunct="1">
              <a:lnSpc>
                <a:spcPct val="100000"/>
              </a:lnSpc>
              <a:spcBef>
                <a:spcPts val="0"/>
              </a:spcBef>
              <a:spcAft>
                <a:spcPts val="0"/>
              </a:spcAft>
              <a:buClr>
                <a:schemeClr val="tx1"/>
              </a:buClr>
              <a:buSzTx/>
              <a:buFont typeface="Arial" pitchFamily="34" charset="0"/>
              <a:buNone/>
              <a:tabLst/>
              <a:defRPr sz="1900" i="0">
                <a:latin typeface="+mn-lt"/>
              </a:defRPr>
            </a:lvl1pPr>
            <a:lvl2pPr marL="323085" indent="0">
              <a:buNone/>
              <a:defRPr/>
            </a:lvl2pPr>
            <a:lvl3pPr marL="634832" indent="0">
              <a:buNone/>
              <a:defRPr/>
            </a:lvl3pPr>
            <a:lvl4pPr marL="971143" indent="0">
              <a:buNone/>
              <a:defRPr/>
            </a:lvl4pPr>
            <a:lvl5pPr marL="1315010" indent="0">
              <a:buNone/>
              <a:defRPr/>
            </a:lvl5pPr>
          </a:lstStyle>
          <a:p>
            <a:pPr marL="0" marR="0" lvl="0" indent="0" algn="l" defTabSz="1088284"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6" name="Text Placeholder 5"/>
          <p:cNvSpPr>
            <a:spLocks noGrp="1"/>
          </p:cNvSpPr>
          <p:nvPr>
            <p:ph type="body" sz="quarter" idx="18" hasCustomPrompt="1"/>
          </p:nvPr>
        </p:nvSpPr>
        <p:spPr>
          <a:xfrm>
            <a:off x="499872" y="5919009"/>
            <a:ext cx="11261094" cy="262189"/>
          </a:xfrm>
        </p:spPr>
        <p:txBody>
          <a:bodyPr wrap="square" anchor="b" anchorCtr="0">
            <a:spAutoFit/>
          </a:bodyPr>
          <a:lstStyle>
            <a:lvl1pPr marL="0" indent="0">
              <a:buNone/>
              <a:defRPr sz="1000" baseline="0"/>
            </a:lvl1pPr>
            <a:lvl2pPr marL="319157" indent="0">
              <a:buNone/>
              <a:defRPr sz="1000"/>
            </a:lvl2pPr>
            <a:lvl3pPr marL="642687" indent="0">
              <a:buNone/>
              <a:defRPr sz="1000"/>
            </a:lvl3pPr>
            <a:lvl4pPr marL="965326" indent="0">
              <a:buNone/>
              <a:defRPr sz="1000"/>
            </a:lvl4pPr>
            <a:lvl5pPr marL="1285375" indent="0">
              <a:buNone/>
              <a:defRPr sz="1000"/>
            </a:lvl5pPr>
          </a:lstStyle>
          <a:p>
            <a:pPr lvl="0"/>
            <a:r>
              <a:rPr lang="en-US" dirty="0"/>
              <a:t>Insert Source text here</a:t>
            </a:r>
          </a:p>
        </p:txBody>
      </p:sp>
      <p:sp>
        <p:nvSpPr>
          <p:cNvPr id="4" name="Date Placeholder 3"/>
          <p:cNvSpPr>
            <a:spLocks noGrp="1"/>
          </p:cNvSpPr>
          <p:nvPr>
            <p:ph type="dt" sz="half" idx="19"/>
          </p:nvPr>
        </p:nvSpPr>
        <p:spPr>
          <a:xfrm>
            <a:off x="3980331" y="6437314"/>
            <a:ext cx="4219640" cy="365125"/>
          </a:xfrm>
          <a:prstGeom prst="rect">
            <a:avLst/>
          </a:prstGeom>
        </p:spPr>
        <p:txBody>
          <a:bodyPr lIns="108850" tIns="54425" rIns="108850" bIns="54425"/>
          <a:lstStyle/>
          <a:p>
            <a:pPr algn="ctr"/>
            <a:endParaRPr lang="en-GB" dirty="0"/>
          </a:p>
        </p:txBody>
      </p:sp>
      <p:sp>
        <p:nvSpPr>
          <p:cNvPr id="7" name="Footer Placeholder 6"/>
          <p:cNvSpPr>
            <a:spLocks noGrp="1"/>
          </p:cNvSpPr>
          <p:nvPr>
            <p:ph type="ftr" sz="quarter" idx="20"/>
          </p:nvPr>
        </p:nvSpPr>
        <p:spPr>
          <a:xfrm>
            <a:off x="499535" y="6437314"/>
            <a:ext cx="3399365" cy="365125"/>
          </a:xfrm>
          <a:prstGeom prst="rect">
            <a:avLst/>
          </a:prstGeom>
        </p:spPr>
        <p:txBody>
          <a:bodyPr lIns="108850" tIns="54425" rIns="108850" bIns="54425"/>
          <a:lstStyle/>
          <a:p>
            <a:endParaRPr lang="en-GB" dirty="0"/>
          </a:p>
        </p:txBody>
      </p:sp>
      <p:sp>
        <p:nvSpPr>
          <p:cNvPr id="10" name="Slide Number Placeholder 9"/>
          <p:cNvSpPr>
            <a:spLocks noGrp="1"/>
          </p:cNvSpPr>
          <p:nvPr>
            <p:ph type="sldNum" sz="quarter" idx="21"/>
          </p:nvPr>
        </p:nvSpPr>
        <p:spPr>
          <a:xfrm>
            <a:off x="10606804" y="6437314"/>
            <a:ext cx="1106832" cy="365125"/>
          </a:xfrm>
          <a:prstGeom prst="rect">
            <a:avLst/>
          </a:prstGeom>
        </p:spPr>
        <p:txBody>
          <a:bodyPr lIns="108850" tIns="54425" rIns="108850" bIns="54425"/>
          <a:lstStyle/>
          <a:p>
            <a:fld id="{9F9F533D-B52E-4A2F-BF72-0ADD2D94BD75}" type="slidenum">
              <a:rPr lang="en-GB" smtClean="0"/>
              <a:pPr/>
              <a:t>‹#›</a:t>
            </a:fld>
            <a:endParaRPr lang="en-GB" dirty="0"/>
          </a:p>
        </p:txBody>
      </p:sp>
    </p:spTree>
    <p:extLst>
      <p:ext uri="{BB962C8B-B14F-4D97-AF65-F5344CB8AC3E}">
        <p14:creationId xmlns:p14="http://schemas.microsoft.com/office/powerpoint/2010/main" val="3786470785"/>
      </p:ext>
    </p:extLst>
  </p:cSld>
  <p:clrMapOvr>
    <a:masterClrMapping/>
  </p:clrMapOvr>
  <p:transition spd="slow">
    <p:strips dir="rd"/>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edit Master heading style</a:t>
            </a:r>
            <a:endParaRPr lang="en-GB"/>
          </a:p>
        </p:txBody>
      </p:sp>
      <p:sp>
        <p:nvSpPr>
          <p:cNvPr id="11" name="Text Placeholder 2"/>
          <p:cNvSpPr>
            <a:spLocks noGrp="1"/>
          </p:cNvSpPr>
          <p:nvPr>
            <p:ph type="body" sz="quarter" idx="29" hasCustomPrompt="1"/>
          </p:nvPr>
        </p:nvSpPr>
        <p:spPr>
          <a:xfrm>
            <a:off x="478869" y="924739"/>
            <a:ext cx="10104000" cy="369332"/>
          </a:xfrm>
          <a:prstGeom prst="rect">
            <a:avLst/>
          </a:prstGeom>
        </p:spPr>
        <p:txBody>
          <a:bodyPr lIns="0" anchor="t" anchorCtr="0">
            <a:noAutofit/>
          </a:bodyPr>
          <a:lstStyle>
            <a:lvl1pPr marL="0" marR="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sz="2133" i="0">
                <a:latin typeface="+mn-lt"/>
              </a:defRPr>
            </a:lvl1pPr>
            <a:lvl2pPr marL="361934" indent="0">
              <a:buNone/>
              <a:defRPr/>
            </a:lvl2pPr>
            <a:lvl3pPr marL="711165" indent="0">
              <a:buNone/>
              <a:defRPr/>
            </a:lvl3pPr>
            <a:lvl4pPr marL="1087911" indent="0">
              <a:buNone/>
              <a:defRPr/>
            </a:lvl4pPr>
            <a:lvl5pPr marL="1473126" indent="0">
              <a:buNone/>
              <a:defRPr/>
            </a:lvl5pPr>
          </a:lstStyle>
          <a:p>
            <a:pPr marL="0" marR="0" lvl="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8" name="Slide Number Placeholder 7"/>
          <p:cNvSpPr>
            <a:spLocks noGrp="1"/>
          </p:cNvSpPr>
          <p:nvPr>
            <p:ph type="sldNum" sz="quarter" idx="32"/>
          </p:nvPr>
        </p:nvSpPr>
        <p:spPr>
          <a:xfrm>
            <a:off x="10604041" y="6272003"/>
            <a:ext cx="1106831" cy="365125"/>
          </a:xfrm>
          <a:prstGeom prst="rect">
            <a:avLst/>
          </a:prstGeom>
        </p:spPr>
        <p:txBody>
          <a:bodyPr/>
          <a:lstStyle/>
          <a:p>
            <a:fld id="{9F9F533D-B52E-4A2F-BF72-0ADD2D94BD75}" type="slidenum">
              <a:rPr lang="en-GB" smtClean="0"/>
              <a:pPr/>
              <a:t>‹#›</a:t>
            </a:fld>
            <a:endParaRPr lang="en-GB"/>
          </a:p>
        </p:txBody>
      </p:sp>
      <p:sp>
        <p:nvSpPr>
          <p:cNvPr id="10" name="Date Placeholder 6">
            <a:extLst>
              <a:ext uri="{FF2B5EF4-FFF2-40B4-BE49-F238E27FC236}">
                <a16:creationId xmlns:a16="http://schemas.microsoft.com/office/drawing/2014/main" id="{D3C61986-1A01-410B-8B7B-24C55DBFE70F}"/>
              </a:ext>
            </a:extLst>
          </p:cNvPr>
          <p:cNvSpPr>
            <a:spLocks noGrp="1"/>
          </p:cNvSpPr>
          <p:nvPr>
            <p:ph type="dt" sz="half" idx="19"/>
          </p:nvPr>
        </p:nvSpPr>
        <p:spPr>
          <a:xfrm>
            <a:off x="3980329" y="6272003"/>
            <a:ext cx="4219640" cy="178517"/>
          </a:xfrm>
          <a:prstGeom prst="rect">
            <a:avLst/>
          </a:prstGeom>
        </p:spPr>
        <p:txBody>
          <a:bodyPr/>
          <a:lstStyle>
            <a:lvl1pPr>
              <a:defRPr/>
            </a:lvl1pPr>
          </a:lstStyle>
          <a:p>
            <a:pPr algn="ctr"/>
            <a:endParaRPr lang="en-GB"/>
          </a:p>
        </p:txBody>
      </p:sp>
      <p:sp>
        <p:nvSpPr>
          <p:cNvPr id="12" name="Footer Placeholder 8">
            <a:extLst>
              <a:ext uri="{FF2B5EF4-FFF2-40B4-BE49-F238E27FC236}">
                <a16:creationId xmlns:a16="http://schemas.microsoft.com/office/drawing/2014/main" id="{B2E4B159-160F-4EF5-8428-7721CA774746}"/>
              </a:ext>
            </a:extLst>
          </p:cNvPr>
          <p:cNvSpPr>
            <a:spLocks noGrp="1"/>
          </p:cNvSpPr>
          <p:nvPr>
            <p:ph type="ftr" sz="quarter" idx="20"/>
          </p:nvPr>
        </p:nvSpPr>
        <p:spPr>
          <a:xfrm>
            <a:off x="478869" y="6272003"/>
            <a:ext cx="3420032" cy="178517"/>
          </a:xfrm>
          <a:prstGeom prst="rect">
            <a:avLst/>
          </a:prstGeom>
        </p:spPr>
        <p:txBody>
          <a:bodyPr/>
          <a:lstStyle>
            <a:lvl1pPr>
              <a:defRPr/>
            </a:lvl1pPr>
          </a:lstStyle>
          <a:p>
            <a:endParaRPr lang="en-GB"/>
          </a:p>
        </p:txBody>
      </p:sp>
      <p:sp>
        <p:nvSpPr>
          <p:cNvPr id="13" name="Text Placeholder 5">
            <a:extLst>
              <a:ext uri="{FF2B5EF4-FFF2-40B4-BE49-F238E27FC236}">
                <a16:creationId xmlns:a16="http://schemas.microsoft.com/office/drawing/2014/main" id="{8FA69162-016D-4AF6-A29A-0CE08387C0B4}"/>
              </a:ext>
            </a:extLst>
          </p:cNvPr>
          <p:cNvSpPr>
            <a:spLocks noGrp="1"/>
          </p:cNvSpPr>
          <p:nvPr>
            <p:ph type="body" sz="quarter" idx="18"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14" name="Text Placeholder 2">
            <a:extLst>
              <a:ext uri="{FF2B5EF4-FFF2-40B4-BE49-F238E27FC236}">
                <a16:creationId xmlns:a16="http://schemas.microsoft.com/office/drawing/2014/main" id="{F24385C4-951F-46F9-AE45-B01851E5AD50}"/>
              </a:ext>
            </a:extLst>
          </p:cNvPr>
          <p:cNvSpPr>
            <a:spLocks noGrp="1"/>
          </p:cNvSpPr>
          <p:nvPr>
            <p:ph type="body" sz="quarter" idx="22" hasCustomPrompt="1"/>
          </p:nvPr>
        </p:nvSpPr>
        <p:spPr>
          <a:xfrm>
            <a:off x="474136" y="5762176"/>
            <a:ext cx="11231033" cy="287259"/>
          </a:xfrm>
          <a:prstGeom prst="rect">
            <a:avLst/>
          </a:prstGeom>
        </p:spPr>
        <p:txBody>
          <a:bodyPr anchor="b"/>
          <a:lstStyle>
            <a:lvl1pPr marL="0" indent="0">
              <a:spcAft>
                <a:spcPts val="0"/>
              </a:spcAft>
              <a:buNone/>
              <a:defRPr sz="1067"/>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footnotes here</a:t>
            </a:r>
          </a:p>
        </p:txBody>
      </p:sp>
    </p:spTree>
    <p:extLst>
      <p:ext uri="{BB962C8B-B14F-4D97-AF65-F5344CB8AC3E}">
        <p14:creationId xmlns:p14="http://schemas.microsoft.com/office/powerpoint/2010/main" val="72213102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V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0660D-4BC9-44B5-AD73-868B32A6D4B9}"/>
              </a:ext>
            </a:extLst>
          </p:cNvPr>
          <p:cNvSpPr>
            <a:spLocks noGrp="1"/>
          </p:cNvSpPr>
          <p:nvPr>
            <p:ph type="title" hasCustomPrompt="1"/>
          </p:nvPr>
        </p:nvSpPr>
        <p:spPr>
          <a:xfrm>
            <a:off x="478871" y="384852"/>
            <a:ext cx="1224136" cy="451405"/>
          </a:xfrm>
        </p:spPr>
        <p:txBody>
          <a:bodyPr>
            <a:noAutofit/>
          </a:bodyPr>
          <a:lstStyle>
            <a:lvl1pPr>
              <a:defRPr sz="1200">
                <a:solidFill>
                  <a:schemeClr val="accent1">
                    <a:lumMod val="20000"/>
                    <a:lumOff val="80000"/>
                  </a:schemeClr>
                </a:solidFill>
              </a:defRPr>
            </a:lvl1pPr>
          </a:lstStyle>
          <a:p>
            <a:r>
              <a:rPr lang="en-US"/>
              <a:t>Click to edit PVP Master title style</a:t>
            </a:r>
            <a:endParaRPr lang="en-GB"/>
          </a:p>
        </p:txBody>
      </p:sp>
      <p:sp>
        <p:nvSpPr>
          <p:cNvPr id="3" name="Footer Placeholder 2">
            <a:extLst>
              <a:ext uri="{FF2B5EF4-FFF2-40B4-BE49-F238E27FC236}">
                <a16:creationId xmlns:a16="http://schemas.microsoft.com/office/drawing/2014/main" id="{D879615A-CC9C-4704-8925-10B76CC616E8}"/>
              </a:ext>
            </a:extLst>
          </p:cNvPr>
          <p:cNvSpPr>
            <a:spLocks noGrp="1"/>
          </p:cNvSpPr>
          <p:nvPr>
            <p:ph type="ftr" sz="quarter" idx="10"/>
          </p:nvPr>
        </p:nvSpPr>
        <p:spPr>
          <a:xfrm>
            <a:off x="478869" y="6272003"/>
            <a:ext cx="3420032" cy="201147"/>
          </a:xfrm>
          <a:prstGeom prst="rect">
            <a:avLst/>
          </a:prstGeom>
        </p:spPr>
        <p:txBody>
          <a:bodyPr/>
          <a:lstStyle/>
          <a:p>
            <a:endParaRPr lang="en-GB"/>
          </a:p>
        </p:txBody>
      </p:sp>
      <p:sp>
        <p:nvSpPr>
          <p:cNvPr id="4" name="Slide Number Placeholder 3">
            <a:extLst>
              <a:ext uri="{FF2B5EF4-FFF2-40B4-BE49-F238E27FC236}">
                <a16:creationId xmlns:a16="http://schemas.microsoft.com/office/drawing/2014/main" id="{A1C7AAE5-BF69-424B-A7AE-001E9C7FEDA6}"/>
              </a:ext>
            </a:extLst>
          </p:cNvPr>
          <p:cNvSpPr>
            <a:spLocks noGrp="1"/>
          </p:cNvSpPr>
          <p:nvPr>
            <p:ph type="sldNum" sz="quarter" idx="11"/>
          </p:nvPr>
        </p:nvSpPr>
        <p:spPr>
          <a:xfrm>
            <a:off x="10604041" y="6272003"/>
            <a:ext cx="1106831" cy="201147"/>
          </a:xfrm>
          <a:prstGeom prst="rect">
            <a:avLst/>
          </a:prstGeom>
        </p:spPr>
        <p:txBody>
          <a:bodyPr/>
          <a:lstStyle/>
          <a:p>
            <a:fld id="{9F9F533D-B52E-4A2F-BF72-0ADD2D94BD75}" type="slidenum">
              <a:rPr lang="en-GB" smtClean="0"/>
              <a:pPr/>
              <a:t>‹#›</a:t>
            </a:fld>
            <a:endParaRPr lang="en-GB"/>
          </a:p>
        </p:txBody>
      </p:sp>
      <p:sp>
        <p:nvSpPr>
          <p:cNvPr id="5" name="Date Placeholder 4">
            <a:extLst>
              <a:ext uri="{FF2B5EF4-FFF2-40B4-BE49-F238E27FC236}">
                <a16:creationId xmlns:a16="http://schemas.microsoft.com/office/drawing/2014/main" id="{D74310E2-B02B-4532-9405-14E84012F910}"/>
              </a:ext>
            </a:extLst>
          </p:cNvPr>
          <p:cNvSpPr>
            <a:spLocks noGrp="1"/>
          </p:cNvSpPr>
          <p:nvPr>
            <p:ph type="dt" sz="half" idx="12"/>
          </p:nvPr>
        </p:nvSpPr>
        <p:spPr>
          <a:xfrm>
            <a:off x="3980329" y="6272003"/>
            <a:ext cx="4219640" cy="201147"/>
          </a:xfrm>
          <a:prstGeom prst="rect">
            <a:avLst/>
          </a:prstGeom>
        </p:spPr>
        <p:txBody>
          <a:bodyPr/>
          <a:lstStyle/>
          <a:p>
            <a:pPr algn="ctr"/>
            <a:endParaRPr lang="en-GB"/>
          </a:p>
        </p:txBody>
      </p:sp>
      <p:sp>
        <p:nvSpPr>
          <p:cNvPr id="7" name="Rectangle 6">
            <a:extLst>
              <a:ext uri="{FF2B5EF4-FFF2-40B4-BE49-F238E27FC236}">
                <a16:creationId xmlns:a16="http://schemas.microsoft.com/office/drawing/2014/main" id="{583F8B02-D923-4E1F-81A7-30C61E3C9AA9}"/>
              </a:ext>
            </a:extLst>
          </p:cNvPr>
          <p:cNvSpPr/>
          <p:nvPr userDrawn="1"/>
        </p:nvSpPr>
        <p:spPr bwMode="auto">
          <a:xfrm>
            <a:off x="263353" y="1272451"/>
            <a:ext cx="11774585" cy="451405"/>
          </a:xfrm>
          <a:prstGeom prst="rect">
            <a:avLst/>
          </a:prstGeom>
          <a:solidFill>
            <a:schemeClr val="bg1"/>
          </a:solidFill>
          <a:ln w="28575">
            <a:solidFill>
              <a:schemeClr val="bg1"/>
            </a:solid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eaLnBrk="0" fontAlgn="auto" hangingPunct="0">
              <a:spcBef>
                <a:spcPts val="0"/>
              </a:spcBef>
              <a:spcAft>
                <a:spcPts val="0"/>
              </a:spcAft>
              <a:buClr>
                <a:schemeClr val="bg1"/>
              </a:buClr>
            </a:pPr>
            <a:endParaRPr lang="en-GB" sz="1200" b="1" kern="0">
              <a:solidFill>
                <a:srgbClr val="FFFFFF"/>
              </a:solidFill>
              <a:latin typeface="Arial"/>
            </a:endParaRPr>
          </a:p>
        </p:txBody>
      </p:sp>
      <p:sp>
        <p:nvSpPr>
          <p:cNvPr id="8" name="Text Placeholder 5">
            <a:extLst>
              <a:ext uri="{FF2B5EF4-FFF2-40B4-BE49-F238E27FC236}">
                <a16:creationId xmlns:a16="http://schemas.microsoft.com/office/drawing/2014/main" id="{78A939D2-FB91-497E-844D-869B45378622}"/>
              </a:ext>
            </a:extLst>
          </p:cNvPr>
          <p:cNvSpPr>
            <a:spLocks noGrp="1"/>
          </p:cNvSpPr>
          <p:nvPr>
            <p:ph type="body" sz="quarter" idx="18"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9" name="Text Placeholder 2">
            <a:extLst>
              <a:ext uri="{FF2B5EF4-FFF2-40B4-BE49-F238E27FC236}">
                <a16:creationId xmlns:a16="http://schemas.microsoft.com/office/drawing/2014/main" id="{3D9912B6-A34A-4D2B-9EBF-E7BF3FB18DD3}"/>
              </a:ext>
            </a:extLst>
          </p:cNvPr>
          <p:cNvSpPr>
            <a:spLocks noGrp="1"/>
          </p:cNvSpPr>
          <p:nvPr>
            <p:ph type="body" sz="quarter" idx="22" hasCustomPrompt="1"/>
          </p:nvPr>
        </p:nvSpPr>
        <p:spPr>
          <a:xfrm>
            <a:off x="474136" y="5762176"/>
            <a:ext cx="11231033" cy="287259"/>
          </a:xfrm>
          <a:prstGeom prst="rect">
            <a:avLst/>
          </a:prstGeom>
        </p:spPr>
        <p:txBody>
          <a:bodyPr anchor="b"/>
          <a:lstStyle>
            <a:lvl1pPr marL="0" indent="0">
              <a:spcAft>
                <a:spcPts val="0"/>
              </a:spcAft>
              <a:buNone/>
              <a:defRPr sz="1067"/>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footnotes here</a:t>
            </a:r>
          </a:p>
        </p:txBody>
      </p:sp>
    </p:spTree>
    <p:extLst>
      <p:ext uri="{BB962C8B-B14F-4D97-AF65-F5344CB8AC3E}">
        <p14:creationId xmlns:p14="http://schemas.microsoft.com/office/powerpoint/2010/main" val="10282330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4" name="Content Placeholder 13"/>
          <p:cNvSpPr>
            <a:spLocks noGrp="1" noChangeAspect="1"/>
          </p:cNvSpPr>
          <p:nvPr>
            <p:ph sz="quarter" idx="18"/>
          </p:nvPr>
        </p:nvSpPr>
        <p:spPr>
          <a:xfrm>
            <a:off x="6407153" y="1591735"/>
            <a:ext cx="5304367" cy="4087284"/>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hasCustomPrompt="1"/>
          </p:nvPr>
        </p:nvSpPr>
        <p:spPr>
          <a:xfrm>
            <a:off x="478871" y="384852"/>
            <a:ext cx="10102852" cy="451405"/>
          </a:xfrm>
        </p:spPr>
        <p:txBody>
          <a:bodyPr/>
          <a:lstStyle/>
          <a:p>
            <a:r>
              <a:rPr lang="en-US"/>
              <a:t>Click to edit Master heading style</a:t>
            </a:r>
            <a:endParaRPr lang="en-GB"/>
          </a:p>
        </p:txBody>
      </p:sp>
      <p:sp>
        <p:nvSpPr>
          <p:cNvPr id="18" name="Text Placeholder 2"/>
          <p:cNvSpPr>
            <a:spLocks noGrp="1"/>
          </p:cNvSpPr>
          <p:nvPr>
            <p:ph type="body" sz="quarter" idx="14" hasCustomPrompt="1"/>
          </p:nvPr>
        </p:nvSpPr>
        <p:spPr>
          <a:xfrm>
            <a:off x="478869" y="924739"/>
            <a:ext cx="10104000" cy="369332"/>
          </a:xfrm>
          <a:prstGeom prst="rect">
            <a:avLst/>
          </a:prstGeom>
        </p:spPr>
        <p:txBody>
          <a:bodyPr lIns="0" anchor="t" anchorCtr="0">
            <a:noAutofit/>
          </a:bodyPr>
          <a:lstStyle>
            <a:lvl1pPr marL="0" marR="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sz="2133" i="0">
                <a:latin typeface="+mn-lt"/>
              </a:defRPr>
            </a:lvl1pPr>
            <a:lvl2pPr marL="361934" indent="0">
              <a:buNone/>
              <a:defRPr/>
            </a:lvl2pPr>
            <a:lvl3pPr marL="711165" indent="0">
              <a:buNone/>
              <a:defRPr/>
            </a:lvl3pPr>
            <a:lvl4pPr marL="1087911" indent="0">
              <a:buNone/>
              <a:defRPr/>
            </a:lvl4pPr>
            <a:lvl5pPr marL="1473126" indent="0">
              <a:buNone/>
              <a:defRPr/>
            </a:lvl5pPr>
          </a:lstStyle>
          <a:p>
            <a:pPr marL="0" marR="0" lvl="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19" name="Text Placeholder 5"/>
          <p:cNvSpPr>
            <a:spLocks noGrp="1"/>
          </p:cNvSpPr>
          <p:nvPr>
            <p:ph type="body" sz="quarter" idx="19" hasCustomPrompt="1"/>
          </p:nvPr>
        </p:nvSpPr>
        <p:spPr>
          <a:xfrm>
            <a:off x="478871" y="5777878"/>
            <a:ext cx="5305981" cy="256545"/>
          </a:xfrm>
          <a:prstGeom prst="rect">
            <a:avLst/>
          </a:prstGeom>
        </p:spPr>
        <p:txBody>
          <a:bodyPr wrap="square" lIns="0"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20" name="Text Placeholder 5"/>
          <p:cNvSpPr>
            <a:spLocks noGrp="1"/>
          </p:cNvSpPr>
          <p:nvPr>
            <p:ph type="body" sz="quarter" idx="20" hasCustomPrompt="1"/>
          </p:nvPr>
        </p:nvSpPr>
        <p:spPr>
          <a:xfrm>
            <a:off x="6396289" y="5801785"/>
            <a:ext cx="5328000" cy="256545"/>
          </a:xfrm>
          <a:prstGeom prst="rect">
            <a:avLst/>
          </a:prstGeom>
        </p:spPr>
        <p:txBody>
          <a:bodyPr wrap="square" lIns="0"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5" name="Slide Number Placeholder 4"/>
          <p:cNvSpPr>
            <a:spLocks noGrp="1"/>
          </p:cNvSpPr>
          <p:nvPr>
            <p:ph type="sldNum" sz="quarter" idx="23"/>
          </p:nvPr>
        </p:nvSpPr>
        <p:spPr>
          <a:xfrm>
            <a:off x="10604041" y="6272003"/>
            <a:ext cx="1106831" cy="365125"/>
          </a:xfrm>
          <a:prstGeom prst="rect">
            <a:avLst/>
          </a:prstGeom>
        </p:spPr>
        <p:txBody>
          <a:bodyPr/>
          <a:lstStyle/>
          <a:p>
            <a:fld id="{9F9F533D-B52E-4A2F-BF72-0ADD2D94BD75}" type="slidenum">
              <a:rPr lang="en-GB" smtClean="0"/>
              <a:pPr/>
              <a:t>‹#›</a:t>
            </a:fld>
            <a:endParaRPr lang="en-GB"/>
          </a:p>
        </p:txBody>
      </p:sp>
      <p:sp>
        <p:nvSpPr>
          <p:cNvPr id="11" name="Content Placeholder 11"/>
          <p:cNvSpPr>
            <a:spLocks noGrp="1" noChangeAspect="1"/>
          </p:cNvSpPr>
          <p:nvPr>
            <p:ph sz="quarter" idx="17"/>
          </p:nvPr>
        </p:nvSpPr>
        <p:spPr>
          <a:xfrm>
            <a:off x="480002" y="1591735"/>
            <a:ext cx="5298500" cy="4087284"/>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Date Placeholder 6">
            <a:extLst>
              <a:ext uri="{FF2B5EF4-FFF2-40B4-BE49-F238E27FC236}">
                <a16:creationId xmlns:a16="http://schemas.microsoft.com/office/drawing/2014/main" id="{9068C7B6-7330-401D-99F0-15AC0E2BA8A5}"/>
              </a:ext>
            </a:extLst>
          </p:cNvPr>
          <p:cNvSpPr>
            <a:spLocks noGrp="1"/>
          </p:cNvSpPr>
          <p:nvPr>
            <p:ph type="dt" sz="half" idx="24"/>
          </p:nvPr>
        </p:nvSpPr>
        <p:spPr>
          <a:xfrm>
            <a:off x="3980329" y="6272003"/>
            <a:ext cx="4219640" cy="178517"/>
          </a:xfrm>
          <a:prstGeom prst="rect">
            <a:avLst/>
          </a:prstGeom>
        </p:spPr>
        <p:txBody>
          <a:bodyPr/>
          <a:lstStyle>
            <a:lvl1pPr>
              <a:defRPr/>
            </a:lvl1pPr>
          </a:lstStyle>
          <a:p>
            <a:pPr algn="ctr"/>
            <a:endParaRPr lang="en-GB"/>
          </a:p>
        </p:txBody>
      </p:sp>
      <p:sp>
        <p:nvSpPr>
          <p:cNvPr id="13" name="Footer Placeholder 8">
            <a:extLst>
              <a:ext uri="{FF2B5EF4-FFF2-40B4-BE49-F238E27FC236}">
                <a16:creationId xmlns:a16="http://schemas.microsoft.com/office/drawing/2014/main" id="{060D88E2-D7F2-4439-950C-43A29B634B6F}"/>
              </a:ext>
            </a:extLst>
          </p:cNvPr>
          <p:cNvSpPr>
            <a:spLocks noGrp="1"/>
          </p:cNvSpPr>
          <p:nvPr>
            <p:ph type="ftr" sz="quarter" idx="25"/>
          </p:nvPr>
        </p:nvSpPr>
        <p:spPr>
          <a:xfrm>
            <a:off x="478869" y="6272003"/>
            <a:ext cx="3420032" cy="178517"/>
          </a:xfrm>
          <a:prstGeom prst="rect">
            <a:avLst/>
          </a:prstGeom>
        </p:spPr>
        <p:txBody>
          <a:bodyPr/>
          <a:lstStyle>
            <a:lvl1pPr>
              <a:defRPr/>
            </a:lvl1pPr>
          </a:lstStyle>
          <a:p>
            <a:endParaRPr lang="en-GB"/>
          </a:p>
        </p:txBody>
      </p:sp>
      <p:sp>
        <p:nvSpPr>
          <p:cNvPr id="15" name="Text Placeholder 5">
            <a:extLst>
              <a:ext uri="{FF2B5EF4-FFF2-40B4-BE49-F238E27FC236}">
                <a16:creationId xmlns:a16="http://schemas.microsoft.com/office/drawing/2014/main" id="{2AE2C399-EE7B-4B54-A3BE-864642E81C2A}"/>
              </a:ext>
            </a:extLst>
          </p:cNvPr>
          <p:cNvSpPr>
            <a:spLocks noGrp="1"/>
          </p:cNvSpPr>
          <p:nvPr>
            <p:ph type="body" sz="quarter" idx="26"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Tree>
    <p:extLst>
      <p:ext uri="{BB962C8B-B14F-4D97-AF65-F5344CB8AC3E}">
        <p14:creationId xmlns:p14="http://schemas.microsoft.com/office/powerpoint/2010/main" val="24568494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14" name="Content Placeholder 13"/>
          <p:cNvSpPr>
            <a:spLocks noGrp="1" noChangeAspect="1"/>
          </p:cNvSpPr>
          <p:nvPr>
            <p:ph sz="quarter" idx="18"/>
          </p:nvPr>
        </p:nvSpPr>
        <p:spPr>
          <a:xfrm>
            <a:off x="6407153" y="1591735"/>
            <a:ext cx="5304367" cy="4087284"/>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9" name="Text Placeholder 5"/>
          <p:cNvSpPr>
            <a:spLocks noGrp="1"/>
          </p:cNvSpPr>
          <p:nvPr>
            <p:ph type="body" sz="quarter" idx="19" hasCustomPrompt="1"/>
          </p:nvPr>
        </p:nvSpPr>
        <p:spPr>
          <a:xfrm>
            <a:off x="478871" y="5777878"/>
            <a:ext cx="5305981" cy="256545"/>
          </a:xfrm>
          <a:prstGeom prst="rect">
            <a:avLst/>
          </a:prstGeom>
        </p:spPr>
        <p:txBody>
          <a:bodyPr wrap="square" lIns="0"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20" name="Text Placeholder 5"/>
          <p:cNvSpPr>
            <a:spLocks noGrp="1"/>
          </p:cNvSpPr>
          <p:nvPr>
            <p:ph type="body" sz="quarter" idx="20" hasCustomPrompt="1"/>
          </p:nvPr>
        </p:nvSpPr>
        <p:spPr>
          <a:xfrm>
            <a:off x="6396289" y="5801785"/>
            <a:ext cx="5328000" cy="256545"/>
          </a:xfrm>
          <a:prstGeom prst="rect">
            <a:avLst/>
          </a:prstGeom>
        </p:spPr>
        <p:txBody>
          <a:bodyPr wrap="square" lIns="0"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5" name="Slide Number Placeholder 4"/>
          <p:cNvSpPr>
            <a:spLocks noGrp="1"/>
          </p:cNvSpPr>
          <p:nvPr>
            <p:ph type="sldNum" sz="quarter" idx="23"/>
          </p:nvPr>
        </p:nvSpPr>
        <p:spPr>
          <a:xfrm>
            <a:off x="10604041" y="6272003"/>
            <a:ext cx="1106831" cy="365125"/>
          </a:xfrm>
          <a:prstGeom prst="rect">
            <a:avLst/>
          </a:prstGeom>
        </p:spPr>
        <p:txBody>
          <a:bodyPr/>
          <a:lstStyle/>
          <a:p>
            <a:fld id="{9F9F533D-B52E-4A2F-BF72-0ADD2D94BD75}" type="slidenum">
              <a:rPr lang="en-GB" smtClean="0"/>
              <a:pPr/>
              <a:t>‹#›</a:t>
            </a:fld>
            <a:endParaRPr lang="en-GB"/>
          </a:p>
        </p:txBody>
      </p:sp>
      <p:sp>
        <p:nvSpPr>
          <p:cNvPr id="11" name="Content Placeholder 11"/>
          <p:cNvSpPr>
            <a:spLocks noGrp="1" noChangeAspect="1"/>
          </p:cNvSpPr>
          <p:nvPr>
            <p:ph sz="quarter" idx="17"/>
          </p:nvPr>
        </p:nvSpPr>
        <p:spPr>
          <a:xfrm>
            <a:off x="480002" y="1591735"/>
            <a:ext cx="5298500" cy="4087284"/>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Date Placeholder 6">
            <a:extLst>
              <a:ext uri="{FF2B5EF4-FFF2-40B4-BE49-F238E27FC236}">
                <a16:creationId xmlns:a16="http://schemas.microsoft.com/office/drawing/2014/main" id="{9068C7B6-7330-401D-99F0-15AC0E2BA8A5}"/>
              </a:ext>
            </a:extLst>
          </p:cNvPr>
          <p:cNvSpPr>
            <a:spLocks noGrp="1"/>
          </p:cNvSpPr>
          <p:nvPr>
            <p:ph type="dt" sz="half" idx="24"/>
          </p:nvPr>
        </p:nvSpPr>
        <p:spPr>
          <a:xfrm>
            <a:off x="3980329" y="6272003"/>
            <a:ext cx="4219640" cy="178517"/>
          </a:xfrm>
          <a:prstGeom prst="rect">
            <a:avLst/>
          </a:prstGeom>
        </p:spPr>
        <p:txBody>
          <a:bodyPr/>
          <a:lstStyle>
            <a:lvl1pPr>
              <a:defRPr/>
            </a:lvl1pPr>
          </a:lstStyle>
          <a:p>
            <a:pPr algn="ctr"/>
            <a:endParaRPr lang="en-GB"/>
          </a:p>
        </p:txBody>
      </p:sp>
      <p:sp>
        <p:nvSpPr>
          <p:cNvPr id="13" name="Footer Placeholder 8">
            <a:extLst>
              <a:ext uri="{FF2B5EF4-FFF2-40B4-BE49-F238E27FC236}">
                <a16:creationId xmlns:a16="http://schemas.microsoft.com/office/drawing/2014/main" id="{060D88E2-D7F2-4439-950C-43A29B634B6F}"/>
              </a:ext>
            </a:extLst>
          </p:cNvPr>
          <p:cNvSpPr>
            <a:spLocks noGrp="1"/>
          </p:cNvSpPr>
          <p:nvPr>
            <p:ph type="ftr" sz="quarter" idx="25"/>
          </p:nvPr>
        </p:nvSpPr>
        <p:spPr>
          <a:xfrm>
            <a:off x="478869" y="6272003"/>
            <a:ext cx="3420032" cy="178517"/>
          </a:xfrm>
          <a:prstGeom prst="rect">
            <a:avLst/>
          </a:prstGeom>
        </p:spPr>
        <p:txBody>
          <a:bodyPr/>
          <a:lstStyle>
            <a:lvl1pPr>
              <a:defRPr/>
            </a:lvl1pPr>
          </a:lstStyle>
          <a:p>
            <a:endParaRPr lang="en-GB"/>
          </a:p>
        </p:txBody>
      </p:sp>
      <p:sp>
        <p:nvSpPr>
          <p:cNvPr id="15" name="Text Placeholder 5">
            <a:extLst>
              <a:ext uri="{FF2B5EF4-FFF2-40B4-BE49-F238E27FC236}">
                <a16:creationId xmlns:a16="http://schemas.microsoft.com/office/drawing/2014/main" id="{2AE2C399-EE7B-4B54-A3BE-864642E81C2A}"/>
              </a:ext>
            </a:extLst>
          </p:cNvPr>
          <p:cNvSpPr>
            <a:spLocks noGrp="1"/>
          </p:cNvSpPr>
          <p:nvPr>
            <p:ph type="body" sz="quarter" idx="26"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16" name="Title 3">
            <a:extLst>
              <a:ext uri="{FF2B5EF4-FFF2-40B4-BE49-F238E27FC236}">
                <a16:creationId xmlns:a16="http://schemas.microsoft.com/office/drawing/2014/main" id="{AA4A6BE6-7B3D-4021-BA20-EEDC337E2B63}"/>
              </a:ext>
            </a:extLst>
          </p:cNvPr>
          <p:cNvSpPr>
            <a:spLocks noGrp="1"/>
          </p:cNvSpPr>
          <p:nvPr>
            <p:ph type="title" hasCustomPrompt="1"/>
          </p:nvPr>
        </p:nvSpPr>
        <p:spPr>
          <a:xfrm>
            <a:off x="478871" y="611967"/>
            <a:ext cx="10102852" cy="451405"/>
          </a:xfrm>
        </p:spPr>
        <p:txBody>
          <a:bodyPr anchor="ctr"/>
          <a:lstStyle/>
          <a:p>
            <a:r>
              <a:rPr lang="en-US"/>
              <a:t>Click to edit Master heading style</a:t>
            </a:r>
            <a:endParaRPr lang="en-GB"/>
          </a:p>
        </p:txBody>
      </p:sp>
    </p:spTree>
    <p:extLst>
      <p:ext uri="{BB962C8B-B14F-4D97-AF65-F5344CB8AC3E}">
        <p14:creationId xmlns:p14="http://schemas.microsoft.com/office/powerpoint/2010/main" val="15391193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8" name="Text Placeholder 2"/>
          <p:cNvSpPr>
            <a:spLocks noGrp="1"/>
          </p:cNvSpPr>
          <p:nvPr>
            <p:ph type="body" idx="19" hasCustomPrompt="1"/>
          </p:nvPr>
        </p:nvSpPr>
        <p:spPr>
          <a:xfrm>
            <a:off x="480002" y="1592272"/>
            <a:ext cx="5298500" cy="420564"/>
          </a:xfrm>
          <a:prstGeom prst="rect">
            <a:avLst/>
          </a:prstGeom>
        </p:spPr>
        <p:txBody>
          <a:bodyPr wrap="square" lIns="0" anchor="t" anchorCtr="0">
            <a:spAutoFit/>
          </a:bodyPr>
          <a:lstStyle>
            <a:lvl1pPr marL="0" indent="0">
              <a:buNone/>
              <a:defRPr sz="2133" b="1">
                <a:solidFill>
                  <a:schemeClr val="accent1"/>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Subheading here if required</a:t>
            </a:r>
          </a:p>
        </p:txBody>
      </p:sp>
      <p:sp>
        <p:nvSpPr>
          <p:cNvPr id="20" name="Text Placeholder 2"/>
          <p:cNvSpPr>
            <a:spLocks noGrp="1"/>
          </p:cNvSpPr>
          <p:nvPr>
            <p:ph type="body" idx="21" hasCustomPrompt="1"/>
          </p:nvPr>
        </p:nvSpPr>
        <p:spPr>
          <a:xfrm>
            <a:off x="6407153" y="1592274"/>
            <a:ext cx="5304367" cy="420564"/>
          </a:xfrm>
          <a:prstGeom prst="rect">
            <a:avLst/>
          </a:prstGeom>
        </p:spPr>
        <p:txBody>
          <a:bodyPr wrap="square" anchor="t" anchorCtr="0">
            <a:spAutoFit/>
          </a:bodyPr>
          <a:lstStyle>
            <a:lvl1pPr marL="0" indent="0">
              <a:buNone/>
              <a:defRPr sz="2133" b="1">
                <a:solidFill>
                  <a:schemeClr val="accent1"/>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Subheading here if required</a:t>
            </a:r>
          </a:p>
        </p:txBody>
      </p:sp>
      <p:sp>
        <p:nvSpPr>
          <p:cNvPr id="2" name="Title 1"/>
          <p:cNvSpPr>
            <a:spLocks noGrp="1"/>
          </p:cNvSpPr>
          <p:nvPr>
            <p:ph type="title" hasCustomPrompt="1"/>
          </p:nvPr>
        </p:nvSpPr>
        <p:spPr>
          <a:xfrm>
            <a:off x="480002" y="384852"/>
            <a:ext cx="10102852" cy="451405"/>
          </a:xfrm>
        </p:spPr>
        <p:txBody>
          <a:bodyPr/>
          <a:lstStyle/>
          <a:p>
            <a:r>
              <a:rPr lang="en-US"/>
              <a:t>Click to edit Master heading style</a:t>
            </a:r>
            <a:endParaRPr lang="en-GB"/>
          </a:p>
        </p:txBody>
      </p:sp>
      <p:sp>
        <p:nvSpPr>
          <p:cNvPr id="17" name="Content Placeholder 11"/>
          <p:cNvSpPr>
            <a:spLocks noGrp="1" noChangeAspect="1"/>
          </p:cNvSpPr>
          <p:nvPr>
            <p:ph sz="quarter" idx="17"/>
          </p:nvPr>
        </p:nvSpPr>
        <p:spPr>
          <a:xfrm>
            <a:off x="480002" y="2021981"/>
            <a:ext cx="5298500" cy="3657039"/>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3"/>
          <p:cNvSpPr>
            <a:spLocks noGrp="1" noChangeAspect="1"/>
          </p:cNvSpPr>
          <p:nvPr>
            <p:ph sz="quarter" idx="18"/>
          </p:nvPr>
        </p:nvSpPr>
        <p:spPr>
          <a:xfrm>
            <a:off x="6407153" y="2021979"/>
            <a:ext cx="5304367" cy="3661272"/>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2"/>
          <p:cNvSpPr>
            <a:spLocks noGrp="1"/>
          </p:cNvSpPr>
          <p:nvPr>
            <p:ph type="body" sz="quarter" idx="14" hasCustomPrompt="1"/>
          </p:nvPr>
        </p:nvSpPr>
        <p:spPr>
          <a:xfrm>
            <a:off x="480000" y="924739"/>
            <a:ext cx="10104000" cy="369332"/>
          </a:xfrm>
          <a:prstGeom prst="rect">
            <a:avLst/>
          </a:prstGeom>
        </p:spPr>
        <p:txBody>
          <a:bodyPr lIns="0" anchor="t" anchorCtr="0">
            <a:noAutofit/>
          </a:bodyPr>
          <a:lstStyle>
            <a:lvl1pPr marL="0" marR="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sz="2133" i="0">
                <a:latin typeface="+mn-lt"/>
              </a:defRPr>
            </a:lvl1pPr>
            <a:lvl2pPr marL="361934" indent="0">
              <a:buNone/>
              <a:defRPr/>
            </a:lvl2pPr>
            <a:lvl3pPr marL="711165" indent="0">
              <a:buNone/>
              <a:defRPr/>
            </a:lvl3pPr>
            <a:lvl4pPr marL="1087911" indent="0">
              <a:buNone/>
              <a:defRPr/>
            </a:lvl4pPr>
            <a:lvl5pPr marL="1473126" indent="0">
              <a:buNone/>
              <a:defRPr/>
            </a:lvl5pPr>
          </a:lstStyle>
          <a:p>
            <a:pPr marL="0" marR="0" lvl="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8" name="Slide Number Placeholder 7"/>
          <p:cNvSpPr>
            <a:spLocks noGrp="1"/>
          </p:cNvSpPr>
          <p:nvPr>
            <p:ph type="sldNum" sz="quarter" idx="34"/>
          </p:nvPr>
        </p:nvSpPr>
        <p:spPr>
          <a:xfrm>
            <a:off x="10604041" y="6272003"/>
            <a:ext cx="1106831" cy="365125"/>
          </a:xfrm>
          <a:prstGeom prst="rect">
            <a:avLst/>
          </a:prstGeom>
        </p:spPr>
        <p:txBody>
          <a:bodyPr/>
          <a:lstStyle/>
          <a:p>
            <a:fld id="{9F9F533D-B52E-4A2F-BF72-0ADD2D94BD75}" type="slidenum">
              <a:rPr lang="en-GB" smtClean="0"/>
              <a:pPr/>
              <a:t>‹#›</a:t>
            </a:fld>
            <a:endParaRPr lang="en-GB"/>
          </a:p>
        </p:txBody>
      </p:sp>
      <p:sp>
        <p:nvSpPr>
          <p:cNvPr id="15" name="Date Placeholder 6">
            <a:extLst>
              <a:ext uri="{FF2B5EF4-FFF2-40B4-BE49-F238E27FC236}">
                <a16:creationId xmlns:a16="http://schemas.microsoft.com/office/drawing/2014/main" id="{FFB94072-901F-4DBA-9982-722889E48E7D}"/>
              </a:ext>
            </a:extLst>
          </p:cNvPr>
          <p:cNvSpPr>
            <a:spLocks noGrp="1"/>
          </p:cNvSpPr>
          <p:nvPr>
            <p:ph type="dt" sz="half" idx="36"/>
          </p:nvPr>
        </p:nvSpPr>
        <p:spPr>
          <a:xfrm>
            <a:off x="3980329" y="6272003"/>
            <a:ext cx="4219640" cy="178517"/>
          </a:xfrm>
          <a:prstGeom prst="rect">
            <a:avLst/>
          </a:prstGeom>
        </p:spPr>
        <p:txBody>
          <a:bodyPr/>
          <a:lstStyle>
            <a:lvl1pPr>
              <a:defRPr/>
            </a:lvl1pPr>
          </a:lstStyle>
          <a:p>
            <a:pPr algn="ctr"/>
            <a:endParaRPr lang="en-GB"/>
          </a:p>
        </p:txBody>
      </p:sp>
      <p:sp>
        <p:nvSpPr>
          <p:cNvPr id="16" name="Footer Placeholder 8">
            <a:extLst>
              <a:ext uri="{FF2B5EF4-FFF2-40B4-BE49-F238E27FC236}">
                <a16:creationId xmlns:a16="http://schemas.microsoft.com/office/drawing/2014/main" id="{78CFB98E-330D-41C0-9A8A-58C25DED1960}"/>
              </a:ext>
            </a:extLst>
          </p:cNvPr>
          <p:cNvSpPr>
            <a:spLocks noGrp="1"/>
          </p:cNvSpPr>
          <p:nvPr>
            <p:ph type="ftr" sz="quarter" idx="37"/>
          </p:nvPr>
        </p:nvSpPr>
        <p:spPr>
          <a:xfrm>
            <a:off x="478869" y="6272003"/>
            <a:ext cx="3420032" cy="178517"/>
          </a:xfrm>
          <a:prstGeom prst="rect">
            <a:avLst/>
          </a:prstGeom>
        </p:spPr>
        <p:txBody>
          <a:bodyPr/>
          <a:lstStyle>
            <a:lvl1pPr>
              <a:defRPr/>
            </a:lvl1pPr>
          </a:lstStyle>
          <a:p>
            <a:endParaRPr lang="en-GB"/>
          </a:p>
        </p:txBody>
      </p:sp>
      <p:sp>
        <p:nvSpPr>
          <p:cNvPr id="19" name="Text Placeholder 5">
            <a:extLst>
              <a:ext uri="{FF2B5EF4-FFF2-40B4-BE49-F238E27FC236}">
                <a16:creationId xmlns:a16="http://schemas.microsoft.com/office/drawing/2014/main" id="{7B9B7F14-79AC-45AC-8464-808D1A3FE26D}"/>
              </a:ext>
            </a:extLst>
          </p:cNvPr>
          <p:cNvSpPr>
            <a:spLocks noGrp="1"/>
          </p:cNvSpPr>
          <p:nvPr>
            <p:ph type="body" sz="quarter" idx="38"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Tree>
    <p:extLst>
      <p:ext uri="{BB962C8B-B14F-4D97-AF65-F5344CB8AC3E}">
        <p14:creationId xmlns:p14="http://schemas.microsoft.com/office/powerpoint/2010/main" val="36268764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Comparison no subheading">
    <p:spTree>
      <p:nvGrpSpPr>
        <p:cNvPr id="1" name=""/>
        <p:cNvGrpSpPr/>
        <p:nvPr/>
      </p:nvGrpSpPr>
      <p:grpSpPr>
        <a:xfrm>
          <a:off x="0" y="0"/>
          <a:ext cx="0" cy="0"/>
          <a:chOff x="0" y="0"/>
          <a:chExt cx="0" cy="0"/>
        </a:xfrm>
      </p:grpSpPr>
      <p:sp>
        <p:nvSpPr>
          <p:cNvPr id="18" name="Text Placeholder 2"/>
          <p:cNvSpPr>
            <a:spLocks noGrp="1"/>
          </p:cNvSpPr>
          <p:nvPr>
            <p:ph type="body" idx="19" hasCustomPrompt="1"/>
          </p:nvPr>
        </p:nvSpPr>
        <p:spPr>
          <a:xfrm>
            <a:off x="480002" y="1592272"/>
            <a:ext cx="5298500" cy="420564"/>
          </a:xfrm>
          <a:prstGeom prst="rect">
            <a:avLst/>
          </a:prstGeom>
        </p:spPr>
        <p:txBody>
          <a:bodyPr wrap="square" lIns="0" anchor="t" anchorCtr="0">
            <a:spAutoFit/>
          </a:bodyPr>
          <a:lstStyle>
            <a:lvl1pPr marL="0" indent="0">
              <a:buNone/>
              <a:defRPr sz="2133" b="1">
                <a:solidFill>
                  <a:schemeClr val="accent1"/>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Subheading here if required</a:t>
            </a:r>
          </a:p>
        </p:txBody>
      </p:sp>
      <p:sp>
        <p:nvSpPr>
          <p:cNvPr id="20" name="Text Placeholder 2"/>
          <p:cNvSpPr>
            <a:spLocks noGrp="1"/>
          </p:cNvSpPr>
          <p:nvPr>
            <p:ph type="body" idx="21" hasCustomPrompt="1"/>
          </p:nvPr>
        </p:nvSpPr>
        <p:spPr>
          <a:xfrm>
            <a:off x="6407153" y="1592274"/>
            <a:ext cx="5304367" cy="420564"/>
          </a:xfrm>
          <a:prstGeom prst="rect">
            <a:avLst/>
          </a:prstGeom>
        </p:spPr>
        <p:txBody>
          <a:bodyPr wrap="square" anchor="t" anchorCtr="0">
            <a:spAutoFit/>
          </a:bodyPr>
          <a:lstStyle>
            <a:lvl1pPr marL="0" indent="0">
              <a:buNone/>
              <a:defRPr sz="2133" b="1">
                <a:solidFill>
                  <a:schemeClr val="accent1"/>
                </a:solidFill>
              </a:defRPr>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Subheading here if required</a:t>
            </a:r>
          </a:p>
        </p:txBody>
      </p:sp>
      <p:sp>
        <p:nvSpPr>
          <p:cNvPr id="17" name="Content Placeholder 11"/>
          <p:cNvSpPr>
            <a:spLocks noGrp="1" noChangeAspect="1"/>
          </p:cNvSpPr>
          <p:nvPr>
            <p:ph sz="quarter" idx="17"/>
          </p:nvPr>
        </p:nvSpPr>
        <p:spPr>
          <a:xfrm>
            <a:off x="480002" y="2021981"/>
            <a:ext cx="5298500" cy="3657039"/>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Content Placeholder 13"/>
          <p:cNvSpPr>
            <a:spLocks noGrp="1" noChangeAspect="1"/>
          </p:cNvSpPr>
          <p:nvPr>
            <p:ph sz="quarter" idx="18"/>
          </p:nvPr>
        </p:nvSpPr>
        <p:spPr>
          <a:xfrm>
            <a:off x="6407153" y="2021979"/>
            <a:ext cx="5304367" cy="3661272"/>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5"/>
          <p:cNvSpPr>
            <a:spLocks noGrp="1"/>
          </p:cNvSpPr>
          <p:nvPr>
            <p:ph type="body" sz="quarter" idx="31" hasCustomPrompt="1"/>
          </p:nvPr>
        </p:nvSpPr>
        <p:spPr>
          <a:xfrm>
            <a:off x="480002" y="5670298"/>
            <a:ext cx="5298500" cy="256545"/>
          </a:xfrm>
          <a:prstGeom prst="rect">
            <a:avLst/>
          </a:prstGeom>
        </p:spPr>
        <p:txBody>
          <a:bodyPr wrap="square" lIns="0" anchor="b" anchorCtr="0">
            <a:spAutoFit/>
          </a:bodyPr>
          <a:lstStyle>
            <a:lvl1pPr marL="0" indent="0">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24" name="Text Placeholder 5"/>
          <p:cNvSpPr>
            <a:spLocks noGrp="1"/>
          </p:cNvSpPr>
          <p:nvPr>
            <p:ph type="body" sz="quarter" idx="20" hasCustomPrompt="1"/>
          </p:nvPr>
        </p:nvSpPr>
        <p:spPr>
          <a:xfrm>
            <a:off x="6398400" y="5670298"/>
            <a:ext cx="5313117" cy="256545"/>
          </a:xfrm>
          <a:prstGeom prst="rect">
            <a:avLst/>
          </a:prstGeom>
        </p:spPr>
        <p:txBody>
          <a:bodyPr wrap="square" lIns="0" anchor="b" anchorCtr="0">
            <a:spAutoFit/>
          </a:bodyPr>
          <a:lstStyle>
            <a:lvl1pPr marL="0" indent="0">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8" name="Slide Number Placeholder 7"/>
          <p:cNvSpPr>
            <a:spLocks noGrp="1"/>
          </p:cNvSpPr>
          <p:nvPr>
            <p:ph type="sldNum" sz="quarter" idx="34"/>
          </p:nvPr>
        </p:nvSpPr>
        <p:spPr>
          <a:xfrm>
            <a:off x="10604041" y="6272003"/>
            <a:ext cx="1106831" cy="365125"/>
          </a:xfrm>
          <a:prstGeom prst="rect">
            <a:avLst/>
          </a:prstGeom>
        </p:spPr>
        <p:txBody>
          <a:bodyPr/>
          <a:lstStyle/>
          <a:p>
            <a:fld id="{9F9F533D-B52E-4A2F-BF72-0ADD2D94BD75}" type="slidenum">
              <a:rPr lang="en-GB" smtClean="0"/>
              <a:pPr/>
              <a:t>‹#›</a:t>
            </a:fld>
            <a:endParaRPr lang="en-GB"/>
          </a:p>
        </p:txBody>
      </p:sp>
      <p:sp>
        <p:nvSpPr>
          <p:cNvPr id="13" name="Title 3">
            <a:extLst>
              <a:ext uri="{FF2B5EF4-FFF2-40B4-BE49-F238E27FC236}">
                <a16:creationId xmlns:a16="http://schemas.microsoft.com/office/drawing/2014/main" id="{4E1D58E7-8CE9-4DAC-98DC-D0F93E494CB7}"/>
              </a:ext>
            </a:extLst>
          </p:cNvPr>
          <p:cNvSpPr>
            <a:spLocks noGrp="1"/>
          </p:cNvSpPr>
          <p:nvPr>
            <p:ph type="title" hasCustomPrompt="1"/>
          </p:nvPr>
        </p:nvSpPr>
        <p:spPr>
          <a:xfrm>
            <a:off x="478871" y="611967"/>
            <a:ext cx="10102852" cy="451405"/>
          </a:xfrm>
        </p:spPr>
        <p:txBody>
          <a:bodyPr anchor="ctr"/>
          <a:lstStyle/>
          <a:p>
            <a:r>
              <a:rPr lang="en-US"/>
              <a:t>Click to edit Master heading style</a:t>
            </a:r>
            <a:endParaRPr lang="en-GB"/>
          </a:p>
        </p:txBody>
      </p:sp>
      <p:sp>
        <p:nvSpPr>
          <p:cNvPr id="12" name="Date Placeholder 6">
            <a:extLst>
              <a:ext uri="{FF2B5EF4-FFF2-40B4-BE49-F238E27FC236}">
                <a16:creationId xmlns:a16="http://schemas.microsoft.com/office/drawing/2014/main" id="{8509FC41-F3E2-4F5E-9824-F7B6007F261E}"/>
              </a:ext>
            </a:extLst>
          </p:cNvPr>
          <p:cNvSpPr>
            <a:spLocks noGrp="1"/>
          </p:cNvSpPr>
          <p:nvPr>
            <p:ph type="dt" sz="half" idx="35"/>
          </p:nvPr>
        </p:nvSpPr>
        <p:spPr>
          <a:xfrm>
            <a:off x="3980329" y="6272003"/>
            <a:ext cx="4219640" cy="178517"/>
          </a:xfrm>
          <a:prstGeom prst="rect">
            <a:avLst/>
          </a:prstGeom>
        </p:spPr>
        <p:txBody>
          <a:bodyPr/>
          <a:lstStyle>
            <a:lvl1pPr>
              <a:defRPr/>
            </a:lvl1pPr>
          </a:lstStyle>
          <a:p>
            <a:pPr algn="ctr"/>
            <a:endParaRPr lang="en-GB"/>
          </a:p>
        </p:txBody>
      </p:sp>
      <p:sp>
        <p:nvSpPr>
          <p:cNvPr id="14" name="Footer Placeholder 8">
            <a:extLst>
              <a:ext uri="{FF2B5EF4-FFF2-40B4-BE49-F238E27FC236}">
                <a16:creationId xmlns:a16="http://schemas.microsoft.com/office/drawing/2014/main" id="{4288FA26-2897-4813-8AD4-A56B7F5BBA97}"/>
              </a:ext>
            </a:extLst>
          </p:cNvPr>
          <p:cNvSpPr>
            <a:spLocks noGrp="1"/>
          </p:cNvSpPr>
          <p:nvPr>
            <p:ph type="ftr" sz="quarter" idx="36"/>
          </p:nvPr>
        </p:nvSpPr>
        <p:spPr>
          <a:xfrm>
            <a:off x="478869" y="6272003"/>
            <a:ext cx="3420032" cy="178517"/>
          </a:xfrm>
          <a:prstGeom prst="rect">
            <a:avLst/>
          </a:prstGeom>
        </p:spPr>
        <p:txBody>
          <a:bodyPr/>
          <a:lstStyle>
            <a:lvl1pPr>
              <a:defRPr/>
            </a:lvl1pPr>
          </a:lstStyle>
          <a:p>
            <a:endParaRPr lang="en-GB"/>
          </a:p>
        </p:txBody>
      </p:sp>
      <p:sp>
        <p:nvSpPr>
          <p:cNvPr id="15" name="Text Placeholder 5">
            <a:extLst>
              <a:ext uri="{FF2B5EF4-FFF2-40B4-BE49-F238E27FC236}">
                <a16:creationId xmlns:a16="http://schemas.microsoft.com/office/drawing/2014/main" id="{A559CD0C-5C69-40AD-AFC0-35AA18459838}"/>
              </a:ext>
            </a:extLst>
          </p:cNvPr>
          <p:cNvSpPr>
            <a:spLocks noGrp="1"/>
          </p:cNvSpPr>
          <p:nvPr>
            <p:ph type="body" sz="quarter" idx="37"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Tree>
    <p:extLst>
      <p:ext uri="{BB962C8B-B14F-4D97-AF65-F5344CB8AC3E}">
        <p14:creationId xmlns:p14="http://schemas.microsoft.com/office/powerpoint/2010/main" val="3745897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Video Standard (4x3)">
    <p:spTree>
      <p:nvGrpSpPr>
        <p:cNvPr id="1" name=""/>
        <p:cNvGrpSpPr/>
        <p:nvPr/>
      </p:nvGrpSpPr>
      <p:grpSpPr>
        <a:xfrm>
          <a:off x="0" y="0"/>
          <a:ext cx="0" cy="0"/>
          <a:chOff x="0" y="0"/>
          <a:chExt cx="0" cy="0"/>
        </a:xfrm>
      </p:grpSpPr>
      <p:sp>
        <p:nvSpPr>
          <p:cNvPr id="6" name="Media Placeholder 5"/>
          <p:cNvSpPr>
            <a:spLocks noGrp="1" noChangeAspect="1"/>
          </p:cNvSpPr>
          <p:nvPr>
            <p:ph type="media" sz="quarter" idx="12" hasCustomPrompt="1"/>
          </p:nvPr>
        </p:nvSpPr>
        <p:spPr>
          <a:xfrm>
            <a:off x="3151200" y="1591735"/>
            <a:ext cx="5889600" cy="4415367"/>
          </a:xfrm>
          <a:prstGeom prst="rect">
            <a:avLst/>
          </a:prstGeom>
        </p:spPr>
        <p:txBody>
          <a:bodyPr lIns="108000" tIns="108000"/>
          <a:lstStyle>
            <a:lvl1pPr marL="0" indent="0">
              <a:buNone/>
              <a:defRPr baseline="0">
                <a:solidFill>
                  <a:schemeClr val="tx1"/>
                </a:solidFill>
              </a:defRPr>
            </a:lvl1pPr>
          </a:lstStyle>
          <a:p>
            <a:r>
              <a:rPr lang="en-GB"/>
              <a:t>Click on the film icon to insert your Standard (4x3 video)</a:t>
            </a:r>
          </a:p>
        </p:txBody>
      </p:sp>
      <p:sp>
        <p:nvSpPr>
          <p:cNvPr id="2" name="Title 1"/>
          <p:cNvSpPr>
            <a:spLocks noGrp="1"/>
          </p:cNvSpPr>
          <p:nvPr>
            <p:ph type="title" hasCustomPrompt="1"/>
          </p:nvPr>
        </p:nvSpPr>
        <p:spPr/>
        <p:txBody>
          <a:bodyPr/>
          <a:lstStyle/>
          <a:p>
            <a:r>
              <a:rPr lang="en-US"/>
              <a:t>Click to edit Master heading style</a:t>
            </a:r>
            <a:endParaRPr lang="en-GB"/>
          </a:p>
        </p:txBody>
      </p:sp>
      <p:sp>
        <p:nvSpPr>
          <p:cNvPr id="9" name="Slide Number Placeholder 8"/>
          <p:cNvSpPr>
            <a:spLocks noGrp="1"/>
          </p:cNvSpPr>
          <p:nvPr>
            <p:ph type="sldNum" sz="quarter" idx="17"/>
          </p:nvPr>
        </p:nvSpPr>
        <p:spPr>
          <a:xfrm>
            <a:off x="10604041" y="6272003"/>
            <a:ext cx="1106831" cy="365125"/>
          </a:xfrm>
          <a:prstGeom prst="rect">
            <a:avLst/>
          </a:prstGeom>
        </p:spPr>
        <p:txBody>
          <a:bodyPr/>
          <a:lstStyle/>
          <a:p>
            <a:fld id="{9F9F533D-B52E-4A2F-BF72-0ADD2D94BD75}" type="slidenum">
              <a:rPr lang="en-GB" smtClean="0"/>
              <a:pPr/>
              <a:t>‹#›</a:t>
            </a:fld>
            <a:endParaRPr lang="en-GB"/>
          </a:p>
        </p:txBody>
      </p:sp>
      <p:sp>
        <p:nvSpPr>
          <p:cNvPr id="8" name="Text Placeholder 2"/>
          <p:cNvSpPr>
            <a:spLocks noGrp="1"/>
          </p:cNvSpPr>
          <p:nvPr>
            <p:ph type="body" sz="quarter" idx="14" hasCustomPrompt="1"/>
          </p:nvPr>
        </p:nvSpPr>
        <p:spPr>
          <a:xfrm>
            <a:off x="480000" y="924739"/>
            <a:ext cx="10104000" cy="369332"/>
          </a:xfrm>
          <a:prstGeom prst="rect">
            <a:avLst/>
          </a:prstGeom>
        </p:spPr>
        <p:txBody>
          <a:bodyPr lIns="0" anchor="t" anchorCtr="0">
            <a:noAutofit/>
          </a:bodyPr>
          <a:lstStyle>
            <a:lvl1pPr marL="0" marR="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sz="2133" i="0">
                <a:latin typeface="+mn-lt"/>
              </a:defRPr>
            </a:lvl1pPr>
            <a:lvl2pPr marL="361934" indent="0">
              <a:buNone/>
              <a:defRPr/>
            </a:lvl2pPr>
            <a:lvl3pPr marL="711165" indent="0">
              <a:buNone/>
              <a:defRPr/>
            </a:lvl3pPr>
            <a:lvl4pPr marL="1087911" indent="0">
              <a:buNone/>
              <a:defRPr/>
            </a:lvl4pPr>
            <a:lvl5pPr marL="1473126" indent="0">
              <a:buNone/>
              <a:defRPr/>
            </a:lvl5pPr>
          </a:lstStyle>
          <a:p>
            <a:pPr marL="0" marR="0" lvl="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10" name="Date Placeholder 6">
            <a:extLst>
              <a:ext uri="{FF2B5EF4-FFF2-40B4-BE49-F238E27FC236}">
                <a16:creationId xmlns:a16="http://schemas.microsoft.com/office/drawing/2014/main" id="{D34F75FE-AA92-47F8-9DBE-AEFAAE51FE57}"/>
              </a:ext>
            </a:extLst>
          </p:cNvPr>
          <p:cNvSpPr>
            <a:spLocks noGrp="1"/>
          </p:cNvSpPr>
          <p:nvPr>
            <p:ph type="dt" sz="half" idx="19"/>
          </p:nvPr>
        </p:nvSpPr>
        <p:spPr>
          <a:xfrm>
            <a:off x="3980329" y="6272003"/>
            <a:ext cx="4219640" cy="178517"/>
          </a:xfrm>
          <a:prstGeom prst="rect">
            <a:avLst/>
          </a:prstGeom>
        </p:spPr>
        <p:txBody>
          <a:bodyPr/>
          <a:lstStyle>
            <a:lvl1pPr>
              <a:defRPr/>
            </a:lvl1pPr>
          </a:lstStyle>
          <a:p>
            <a:pPr algn="ctr"/>
            <a:endParaRPr lang="en-GB"/>
          </a:p>
        </p:txBody>
      </p:sp>
      <p:sp>
        <p:nvSpPr>
          <p:cNvPr id="11" name="Footer Placeholder 8">
            <a:extLst>
              <a:ext uri="{FF2B5EF4-FFF2-40B4-BE49-F238E27FC236}">
                <a16:creationId xmlns:a16="http://schemas.microsoft.com/office/drawing/2014/main" id="{D43425CF-32AE-4EC3-8A6A-83D81F82BD69}"/>
              </a:ext>
            </a:extLst>
          </p:cNvPr>
          <p:cNvSpPr>
            <a:spLocks noGrp="1"/>
          </p:cNvSpPr>
          <p:nvPr>
            <p:ph type="ftr" sz="quarter" idx="20"/>
          </p:nvPr>
        </p:nvSpPr>
        <p:spPr>
          <a:xfrm>
            <a:off x="478869" y="6272003"/>
            <a:ext cx="3420032" cy="178517"/>
          </a:xfrm>
          <a:prstGeom prst="rect">
            <a:avLst/>
          </a:prstGeom>
        </p:spPr>
        <p:txBody>
          <a:bodyPr/>
          <a:lstStyle>
            <a:lvl1pPr>
              <a:defRPr/>
            </a:lvl1pPr>
          </a:lstStyle>
          <a:p>
            <a:endParaRPr lang="en-GB"/>
          </a:p>
        </p:txBody>
      </p:sp>
      <p:sp>
        <p:nvSpPr>
          <p:cNvPr id="12" name="Text Placeholder 5">
            <a:extLst>
              <a:ext uri="{FF2B5EF4-FFF2-40B4-BE49-F238E27FC236}">
                <a16:creationId xmlns:a16="http://schemas.microsoft.com/office/drawing/2014/main" id="{A23A7E16-9062-456D-BA05-84BD27618802}"/>
              </a:ext>
            </a:extLst>
          </p:cNvPr>
          <p:cNvSpPr>
            <a:spLocks noGrp="1"/>
          </p:cNvSpPr>
          <p:nvPr>
            <p:ph type="body" sz="quarter" idx="18"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Tree>
    <p:extLst>
      <p:ext uri="{BB962C8B-B14F-4D97-AF65-F5344CB8AC3E}">
        <p14:creationId xmlns:p14="http://schemas.microsoft.com/office/powerpoint/2010/main" val="3386441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Video Widescreen (16x9)">
    <p:spTree>
      <p:nvGrpSpPr>
        <p:cNvPr id="1" name=""/>
        <p:cNvGrpSpPr/>
        <p:nvPr/>
      </p:nvGrpSpPr>
      <p:grpSpPr>
        <a:xfrm>
          <a:off x="0" y="0"/>
          <a:ext cx="0" cy="0"/>
          <a:chOff x="0" y="0"/>
          <a:chExt cx="0" cy="0"/>
        </a:xfrm>
      </p:grpSpPr>
      <p:sp>
        <p:nvSpPr>
          <p:cNvPr id="5" name="Media Placeholder 5"/>
          <p:cNvSpPr>
            <a:spLocks noGrp="1" noChangeAspect="1"/>
          </p:cNvSpPr>
          <p:nvPr>
            <p:ph type="media" sz="quarter" idx="12" hasCustomPrompt="1"/>
          </p:nvPr>
        </p:nvSpPr>
        <p:spPr>
          <a:xfrm>
            <a:off x="2169600" y="1591733"/>
            <a:ext cx="7852800" cy="4416000"/>
          </a:xfrm>
          <a:prstGeom prst="rect">
            <a:avLst/>
          </a:prstGeom>
        </p:spPr>
        <p:txBody>
          <a:bodyPr lIns="108000" tIns="108000"/>
          <a:lstStyle>
            <a:lvl1pPr marL="0" indent="0">
              <a:buNone/>
              <a:defRPr baseline="0">
                <a:solidFill>
                  <a:schemeClr val="tx1"/>
                </a:solidFill>
              </a:defRPr>
            </a:lvl1pPr>
          </a:lstStyle>
          <a:p>
            <a:r>
              <a:rPr lang="en-GB"/>
              <a:t>Click on the film icon to insert your widescreen (16x9) video</a:t>
            </a:r>
          </a:p>
        </p:txBody>
      </p:sp>
      <p:sp>
        <p:nvSpPr>
          <p:cNvPr id="10" name="Title 9"/>
          <p:cNvSpPr>
            <a:spLocks noGrp="1"/>
          </p:cNvSpPr>
          <p:nvPr>
            <p:ph type="title" hasCustomPrompt="1"/>
          </p:nvPr>
        </p:nvSpPr>
        <p:spPr/>
        <p:txBody>
          <a:bodyPr/>
          <a:lstStyle/>
          <a:p>
            <a:r>
              <a:rPr lang="en-US"/>
              <a:t>Click to edit Master heading style</a:t>
            </a:r>
            <a:endParaRPr lang="en-GB"/>
          </a:p>
        </p:txBody>
      </p:sp>
      <p:sp>
        <p:nvSpPr>
          <p:cNvPr id="4" name="Slide Number Placeholder 3"/>
          <p:cNvSpPr>
            <a:spLocks noGrp="1"/>
          </p:cNvSpPr>
          <p:nvPr>
            <p:ph type="sldNum" sz="quarter" idx="19"/>
          </p:nvPr>
        </p:nvSpPr>
        <p:spPr>
          <a:xfrm>
            <a:off x="10604041" y="6272003"/>
            <a:ext cx="1106831" cy="365125"/>
          </a:xfrm>
          <a:prstGeom prst="rect">
            <a:avLst/>
          </a:prstGeom>
        </p:spPr>
        <p:txBody>
          <a:bodyPr/>
          <a:lstStyle/>
          <a:p>
            <a:fld id="{9F9F533D-B52E-4A2F-BF72-0ADD2D94BD75}" type="slidenum">
              <a:rPr lang="en-GB" smtClean="0"/>
              <a:pPr/>
              <a:t>‹#›</a:t>
            </a:fld>
            <a:endParaRPr lang="en-GB"/>
          </a:p>
        </p:txBody>
      </p:sp>
      <p:sp>
        <p:nvSpPr>
          <p:cNvPr id="8" name="Text Placeholder 2"/>
          <p:cNvSpPr>
            <a:spLocks noGrp="1"/>
          </p:cNvSpPr>
          <p:nvPr>
            <p:ph type="body" sz="quarter" idx="14" hasCustomPrompt="1"/>
          </p:nvPr>
        </p:nvSpPr>
        <p:spPr>
          <a:xfrm>
            <a:off x="480000" y="924739"/>
            <a:ext cx="10104000" cy="369332"/>
          </a:xfrm>
          <a:prstGeom prst="rect">
            <a:avLst/>
          </a:prstGeom>
        </p:spPr>
        <p:txBody>
          <a:bodyPr lIns="0" anchor="t" anchorCtr="0">
            <a:noAutofit/>
          </a:bodyPr>
          <a:lstStyle>
            <a:lvl1pPr marL="0" marR="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sz="2133" i="0">
                <a:latin typeface="+mn-lt"/>
              </a:defRPr>
            </a:lvl1pPr>
            <a:lvl2pPr marL="361934" indent="0">
              <a:buNone/>
              <a:defRPr/>
            </a:lvl2pPr>
            <a:lvl3pPr marL="711165" indent="0">
              <a:buNone/>
              <a:defRPr/>
            </a:lvl3pPr>
            <a:lvl4pPr marL="1087911" indent="0">
              <a:buNone/>
              <a:defRPr/>
            </a:lvl4pPr>
            <a:lvl5pPr marL="1473126" indent="0">
              <a:buNone/>
              <a:defRPr/>
            </a:lvl5pPr>
          </a:lstStyle>
          <a:p>
            <a:pPr marL="0" marR="0" lvl="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9" name="Date Placeholder 6">
            <a:extLst>
              <a:ext uri="{FF2B5EF4-FFF2-40B4-BE49-F238E27FC236}">
                <a16:creationId xmlns:a16="http://schemas.microsoft.com/office/drawing/2014/main" id="{C44A1478-C813-4AA3-9F9B-7F8739927DA3}"/>
              </a:ext>
            </a:extLst>
          </p:cNvPr>
          <p:cNvSpPr>
            <a:spLocks noGrp="1"/>
          </p:cNvSpPr>
          <p:nvPr>
            <p:ph type="dt" sz="half" idx="20"/>
          </p:nvPr>
        </p:nvSpPr>
        <p:spPr>
          <a:xfrm>
            <a:off x="3980329" y="6272003"/>
            <a:ext cx="4219640" cy="178517"/>
          </a:xfrm>
          <a:prstGeom prst="rect">
            <a:avLst/>
          </a:prstGeom>
        </p:spPr>
        <p:txBody>
          <a:bodyPr/>
          <a:lstStyle>
            <a:lvl1pPr>
              <a:defRPr/>
            </a:lvl1pPr>
          </a:lstStyle>
          <a:p>
            <a:pPr algn="ctr"/>
            <a:endParaRPr lang="en-GB"/>
          </a:p>
        </p:txBody>
      </p:sp>
      <p:sp>
        <p:nvSpPr>
          <p:cNvPr id="11" name="Footer Placeholder 8">
            <a:extLst>
              <a:ext uri="{FF2B5EF4-FFF2-40B4-BE49-F238E27FC236}">
                <a16:creationId xmlns:a16="http://schemas.microsoft.com/office/drawing/2014/main" id="{12E0518F-A4AD-46F1-9BDE-298DCB7C6833}"/>
              </a:ext>
            </a:extLst>
          </p:cNvPr>
          <p:cNvSpPr>
            <a:spLocks noGrp="1"/>
          </p:cNvSpPr>
          <p:nvPr>
            <p:ph type="ftr" sz="quarter" idx="21"/>
          </p:nvPr>
        </p:nvSpPr>
        <p:spPr>
          <a:xfrm>
            <a:off x="478869" y="6272003"/>
            <a:ext cx="3420032" cy="178517"/>
          </a:xfrm>
          <a:prstGeom prst="rect">
            <a:avLst/>
          </a:prstGeom>
        </p:spPr>
        <p:txBody>
          <a:bodyPr/>
          <a:lstStyle>
            <a:lvl1pPr>
              <a:defRPr/>
            </a:lvl1pPr>
          </a:lstStyle>
          <a:p>
            <a:endParaRPr lang="en-GB"/>
          </a:p>
        </p:txBody>
      </p:sp>
      <p:sp>
        <p:nvSpPr>
          <p:cNvPr id="12" name="Text Placeholder 5">
            <a:extLst>
              <a:ext uri="{FF2B5EF4-FFF2-40B4-BE49-F238E27FC236}">
                <a16:creationId xmlns:a16="http://schemas.microsoft.com/office/drawing/2014/main" id="{B2C5C5E7-8CB1-411D-AC35-B38090013826}"/>
              </a:ext>
            </a:extLst>
          </p:cNvPr>
          <p:cNvSpPr>
            <a:spLocks noGrp="1"/>
          </p:cNvSpPr>
          <p:nvPr>
            <p:ph type="body" sz="quarter" idx="18" hasCustomPrompt="1"/>
          </p:nvPr>
        </p:nvSpPr>
        <p:spPr>
          <a:xfrm>
            <a:off x="474152" y="6562706"/>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Tree>
    <p:extLst>
      <p:ext uri="{BB962C8B-B14F-4D97-AF65-F5344CB8AC3E}">
        <p14:creationId xmlns:p14="http://schemas.microsoft.com/office/powerpoint/2010/main" val="348840070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mage and Non Bulleted Text">
    <p:spTree>
      <p:nvGrpSpPr>
        <p:cNvPr id="1" name=""/>
        <p:cNvGrpSpPr/>
        <p:nvPr/>
      </p:nvGrpSpPr>
      <p:grpSpPr>
        <a:xfrm>
          <a:off x="0" y="0"/>
          <a:ext cx="0" cy="0"/>
          <a:chOff x="0" y="0"/>
          <a:chExt cx="0" cy="0"/>
        </a:xfrm>
      </p:grpSpPr>
      <p:sp>
        <p:nvSpPr>
          <p:cNvPr id="16" name="Text Placeholder 6"/>
          <p:cNvSpPr>
            <a:spLocks noGrp="1"/>
          </p:cNvSpPr>
          <p:nvPr>
            <p:ph type="body" sz="quarter" idx="13"/>
          </p:nvPr>
        </p:nvSpPr>
        <p:spPr>
          <a:xfrm>
            <a:off x="478872" y="1590985"/>
            <a:ext cx="5305979" cy="4055320"/>
          </a:xfrm>
          <a:prstGeom prst="rect">
            <a:avLst/>
          </a:prstGeom>
        </p:spPr>
        <p:txBody>
          <a:bodyPr lIns="0"/>
          <a:lstStyle>
            <a:lvl1pPr marL="0" indent="0">
              <a:buNone/>
              <a:defRPr/>
            </a:lvl1pPr>
          </a:lstStyle>
          <a:p>
            <a:pPr lvl="0"/>
            <a:r>
              <a:rPr lang="en-US"/>
              <a:t>Click to edit Master text styles</a:t>
            </a:r>
          </a:p>
        </p:txBody>
      </p:sp>
      <p:sp>
        <p:nvSpPr>
          <p:cNvPr id="6" name="Title 5"/>
          <p:cNvSpPr>
            <a:spLocks noGrp="1"/>
          </p:cNvSpPr>
          <p:nvPr>
            <p:ph type="title" hasCustomPrompt="1"/>
          </p:nvPr>
        </p:nvSpPr>
        <p:spPr>
          <a:xfrm>
            <a:off x="478871" y="384852"/>
            <a:ext cx="10102852" cy="451405"/>
          </a:xfrm>
        </p:spPr>
        <p:txBody>
          <a:bodyPr/>
          <a:lstStyle/>
          <a:p>
            <a:r>
              <a:rPr lang="en-US"/>
              <a:t>Click to edit Master heading style</a:t>
            </a:r>
            <a:endParaRPr lang="en-GB"/>
          </a:p>
        </p:txBody>
      </p:sp>
      <p:sp>
        <p:nvSpPr>
          <p:cNvPr id="12" name="Text Placeholder 2"/>
          <p:cNvSpPr>
            <a:spLocks noGrp="1"/>
          </p:cNvSpPr>
          <p:nvPr>
            <p:ph type="body" sz="quarter" idx="27" hasCustomPrompt="1"/>
          </p:nvPr>
        </p:nvSpPr>
        <p:spPr>
          <a:xfrm>
            <a:off x="478869" y="924739"/>
            <a:ext cx="10104000" cy="369332"/>
          </a:xfrm>
          <a:prstGeom prst="rect">
            <a:avLst/>
          </a:prstGeom>
        </p:spPr>
        <p:txBody>
          <a:bodyPr lIns="0" anchor="t" anchorCtr="0">
            <a:noAutofit/>
          </a:bodyPr>
          <a:lstStyle>
            <a:lvl1pPr marL="0" marR="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sz="2133" i="0">
                <a:latin typeface="+mn-lt"/>
              </a:defRPr>
            </a:lvl1pPr>
            <a:lvl2pPr marL="361934" indent="0">
              <a:buNone/>
              <a:defRPr/>
            </a:lvl2pPr>
            <a:lvl3pPr marL="711165" indent="0">
              <a:buNone/>
              <a:defRPr/>
            </a:lvl3pPr>
            <a:lvl4pPr marL="1087911" indent="0">
              <a:buNone/>
              <a:defRPr/>
            </a:lvl4pPr>
            <a:lvl5pPr marL="1473126" indent="0">
              <a:buNone/>
              <a:defRPr/>
            </a:lvl5pPr>
          </a:lstStyle>
          <a:p>
            <a:pPr marL="0" marR="0" lvl="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4" name="Slide Number Placeholder 3"/>
          <p:cNvSpPr>
            <a:spLocks noGrp="1"/>
          </p:cNvSpPr>
          <p:nvPr>
            <p:ph type="sldNum" sz="quarter" idx="30"/>
          </p:nvPr>
        </p:nvSpPr>
        <p:spPr>
          <a:xfrm>
            <a:off x="10604041" y="6272003"/>
            <a:ext cx="1106831" cy="365125"/>
          </a:xfrm>
          <a:prstGeom prst="rect">
            <a:avLst/>
          </a:prstGeom>
        </p:spPr>
        <p:txBody>
          <a:bodyPr/>
          <a:lstStyle/>
          <a:p>
            <a:fld id="{9F9F533D-B52E-4A2F-BF72-0ADD2D94BD75}" type="slidenum">
              <a:rPr lang="en-GB" smtClean="0"/>
              <a:pPr/>
              <a:t>‹#›</a:t>
            </a:fld>
            <a:endParaRPr lang="en-GB"/>
          </a:p>
        </p:txBody>
      </p:sp>
      <p:sp>
        <p:nvSpPr>
          <p:cNvPr id="13" name="Picture Placeholder 8"/>
          <p:cNvSpPr>
            <a:spLocks noGrp="1"/>
          </p:cNvSpPr>
          <p:nvPr>
            <p:ph type="pic" sz="quarter" idx="14" hasCustomPrompt="1"/>
          </p:nvPr>
        </p:nvSpPr>
        <p:spPr>
          <a:xfrm>
            <a:off x="6398402" y="1591734"/>
            <a:ext cx="5310263" cy="4054633"/>
          </a:xfrm>
          <a:prstGeom prst="rect">
            <a:avLst/>
          </a:prstGeom>
        </p:spPr>
        <p:txBody>
          <a:bodyPr lIns="0" tIns="0"/>
          <a:lstStyle>
            <a:lvl1pPr marL="0" indent="0">
              <a:buNone/>
              <a:defRPr sz="1467" baseline="0"/>
            </a:lvl1pPr>
          </a:lstStyle>
          <a:p>
            <a:r>
              <a:rPr lang="en-GB"/>
              <a:t>Click on the picture icon to insert your picture</a:t>
            </a:r>
          </a:p>
        </p:txBody>
      </p:sp>
      <p:sp>
        <p:nvSpPr>
          <p:cNvPr id="9" name="Text Placeholder 5">
            <a:extLst>
              <a:ext uri="{FF2B5EF4-FFF2-40B4-BE49-F238E27FC236}">
                <a16:creationId xmlns:a16="http://schemas.microsoft.com/office/drawing/2014/main" id="{1787F849-3C73-403D-B1B0-6AA970EB2B7F}"/>
              </a:ext>
            </a:extLst>
          </p:cNvPr>
          <p:cNvSpPr>
            <a:spLocks noGrp="1"/>
          </p:cNvSpPr>
          <p:nvPr>
            <p:ph type="body" sz="quarter" idx="18" hasCustomPrompt="1"/>
          </p:nvPr>
        </p:nvSpPr>
        <p:spPr>
          <a:xfrm>
            <a:off x="474152" y="6571353"/>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10" name="Date Placeholder 6">
            <a:extLst>
              <a:ext uri="{FF2B5EF4-FFF2-40B4-BE49-F238E27FC236}">
                <a16:creationId xmlns:a16="http://schemas.microsoft.com/office/drawing/2014/main" id="{A72F2C8E-1790-4AE2-8EFC-E3FF08E9A335}"/>
              </a:ext>
            </a:extLst>
          </p:cNvPr>
          <p:cNvSpPr>
            <a:spLocks noGrp="1"/>
          </p:cNvSpPr>
          <p:nvPr>
            <p:ph type="dt" sz="half" idx="20"/>
          </p:nvPr>
        </p:nvSpPr>
        <p:spPr>
          <a:xfrm>
            <a:off x="3980329" y="6272003"/>
            <a:ext cx="4219640" cy="178517"/>
          </a:xfrm>
          <a:prstGeom prst="rect">
            <a:avLst/>
          </a:prstGeom>
        </p:spPr>
        <p:txBody>
          <a:bodyPr/>
          <a:lstStyle>
            <a:lvl1pPr>
              <a:defRPr/>
            </a:lvl1pPr>
          </a:lstStyle>
          <a:p>
            <a:pPr algn="ctr"/>
            <a:endParaRPr lang="en-GB"/>
          </a:p>
        </p:txBody>
      </p:sp>
      <p:sp>
        <p:nvSpPr>
          <p:cNvPr id="11" name="Footer Placeholder 8">
            <a:extLst>
              <a:ext uri="{FF2B5EF4-FFF2-40B4-BE49-F238E27FC236}">
                <a16:creationId xmlns:a16="http://schemas.microsoft.com/office/drawing/2014/main" id="{0A0FFE66-A7BB-4D87-BF51-94BA5EA56E94}"/>
              </a:ext>
            </a:extLst>
          </p:cNvPr>
          <p:cNvSpPr>
            <a:spLocks noGrp="1"/>
          </p:cNvSpPr>
          <p:nvPr>
            <p:ph type="ftr" sz="quarter" idx="21"/>
          </p:nvPr>
        </p:nvSpPr>
        <p:spPr>
          <a:xfrm>
            <a:off x="478869" y="6272003"/>
            <a:ext cx="3420032" cy="178517"/>
          </a:xfrm>
          <a:prstGeom prst="rect">
            <a:avLst/>
          </a:prstGeom>
        </p:spPr>
        <p:txBody>
          <a:bodyPr/>
          <a:lstStyle>
            <a:lvl1pPr>
              <a:defRPr/>
            </a:lvl1pPr>
          </a:lstStyle>
          <a:p>
            <a:endParaRPr lang="en-GB"/>
          </a:p>
        </p:txBody>
      </p:sp>
      <p:sp>
        <p:nvSpPr>
          <p:cNvPr id="14" name="Text Placeholder 2">
            <a:extLst>
              <a:ext uri="{FF2B5EF4-FFF2-40B4-BE49-F238E27FC236}">
                <a16:creationId xmlns:a16="http://schemas.microsoft.com/office/drawing/2014/main" id="{7E0E620A-6688-4B74-A1AD-3B2DAA4A12FD}"/>
              </a:ext>
            </a:extLst>
          </p:cNvPr>
          <p:cNvSpPr>
            <a:spLocks noGrp="1"/>
          </p:cNvSpPr>
          <p:nvPr>
            <p:ph type="body" sz="quarter" idx="22" hasCustomPrompt="1"/>
          </p:nvPr>
        </p:nvSpPr>
        <p:spPr>
          <a:xfrm>
            <a:off x="474136" y="5762176"/>
            <a:ext cx="11231033" cy="287259"/>
          </a:xfrm>
          <a:prstGeom prst="rect">
            <a:avLst/>
          </a:prstGeom>
        </p:spPr>
        <p:txBody>
          <a:bodyPr anchor="b"/>
          <a:lstStyle>
            <a:lvl1pPr marL="0" indent="0">
              <a:spcAft>
                <a:spcPts val="0"/>
              </a:spcAft>
              <a:buNone/>
              <a:defRPr sz="1067"/>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footnotes here</a:t>
            </a:r>
          </a:p>
        </p:txBody>
      </p:sp>
    </p:spTree>
    <p:extLst>
      <p:ext uri="{BB962C8B-B14F-4D97-AF65-F5344CB8AC3E}">
        <p14:creationId xmlns:p14="http://schemas.microsoft.com/office/powerpoint/2010/main" val="160815810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478871" y="384852"/>
            <a:ext cx="10102852" cy="451405"/>
          </a:xfrm>
        </p:spPr>
        <p:txBody>
          <a:bodyPr/>
          <a:lstStyle/>
          <a:p>
            <a:r>
              <a:rPr lang="en-US"/>
              <a:t>Click to edit Master heading style</a:t>
            </a:r>
            <a:endParaRPr lang="en-GB"/>
          </a:p>
        </p:txBody>
      </p:sp>
      <p:sp>
        <p:nvSpPr>
          <p:cNvPr id="12" name="Text Placeholder 2"/>
          <p:cNvSpPr>
            <a:spLocks noGrp="1"/>
          </p:cNvSpPr>
          <p:nvPr>
            <p:ph type="body" sz="quarter" idx="27" hasCustomPrompt="1"/>
          </p:nvPr>
        </p:nvSpPr>
        <p:spPr>
          <a:xfrm>
            <a:off x="478869" y="924739"/>
            <a:ext cx="10104000" cy="369332"/>
          </a:xfrm>
          <a:prstGeom prst="rect">
            <a:avLst/>
          </a:prstGeom>
        </p:spPr>
        <p:txBody>
          <a:bodyPr lIns="0" anchor="t" anchorCtr="0">
            <a:noAutofit/>
          </a:bodyPr>
          <a:lstStyle>
            <a:lvl1pPr marL="0" marR="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sz="2133" i="0">
                <a:latin typeface="+mn-lt"/>
              </a:defRPr>
            </a:lvl1pPr>
            <a:lvl2pPr marL="361934" indent="0">
              <a:buNone/>
              <a:defRPr/>
            </a:lvl2pPr>
            <a:lvl3pPr marL="711165" indent="0">
              <a:buNone/>
              <a:defRPr/>
            </a:lvl3pPr>
            <a:lvl4pPr marL="1087911" indent="0">
              <a:buNone/>
              <a:defRPr/>
            </a:lvl4pPr>
            <a:lvl5pPr marL="1473126" indent="0">
              <a:buNone/>
              <a:defRPr/>
            </a:lvl5pPr>
          </a:lstStyle>
          <a:p>
            <a:pPr marL="0" marR="0" lvl="0" indent="0" algn="l" defTabSz="1219140" rtl="0" eaLnBrk="1" fontAlgn="auto" latinLnBrk="0" hangingPunct="1">
              <a:lnSpc>
                <a:spcPct val="1000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4" name="Slide Number Placeholder 3"/>
          <p:cNvSpPr>
            <a:spLocks noGrp="1"/>
          </p:cNvSpPr>
          <p:nvPr>
            <p:ph type="sldNum" sz="quarter" idx="30"/>
          </p:nvPr>
        </p:nvSpPr>
        <p:spPr>
          <a:xfrm>
            <a:off x="10604041" y="6272003"/>
            <a:ext cx="1106831" cy="365125"/>
          </a:xfrm>
          <a:prstGeom prst="rect">
            <a:avLst/>
          </a:prstGeom>
        </p:spPr>
        <p:txBody>
          <a:bodyPr/>
          <a:lstStyle/>
          <a:p>
            <a:fld id="{9F9F533D-B52E-4A2F-BF72-0ADD2D94BD75}" type="slidenum">
              <a:rPr lang="en-GB" smtClean="0"/>
              <a:pPr/>
              <a:t>‹#›</a:t>
            </a:fld>
            <a:endParaRPr lang="en-GB"/>
          </a:p>
        </p:txBody>
      </p:sp>
      <p:sp>
        <p:nvSpPr>
          <p:cNvPr id="13" name="Picture Placeholder 8"/>
          <p:cNvSpPr>
            <a:spLocks noGrp="1"/>
          </p:cNvSpPr>
          <p:nvPr>
            <p:ph type="pic" sz="quarter" idx="14" hasCustomPrompt="1"/>
          </p:nvPr>
        </p:nvSpPr>
        <p:spPr>
          <a:xfrm>
            <a:off x="6398402" y="1591734"/>
            <a:ext cx="5310263" cy="4132455"/>
          </a:xfrm>
          <a:prstGeom prst="rect">
            <a:avLst/>
          </a:prstGeom>
        </p:spPr>
        <p:txBody>
          <a:bodyPr lIns="0" tIns="0"/>
          <a:lstStyle>
            <a:lvl1pPr marL="0" indent="0">
              <a:buNone/>
              <a:defRPr sz="1467" baseline="0"/>
            </a:lvl1pPr>
          </a:lstStyle>
          <a:p>
            <a:r>
              <a:rPr lang="en-GB"/>
              <a:t>Click on the picture icon to insert your picture</a:t>
            </a:r>
          </a:p>
        </p:txBody>
      </p:sp>
      <p:sp>
        <p:nvSpPr>
          <p:cNvPr id="9" name="Text Placeholder 6"/>
          <p:cNvSpPr>
            <a:spLocks noGrp="1"/>
          </p:cNvSpPr>
          <p:nvPr>
            <p:ph type="body" sz="quarter" idx="13"/>
          </p:nvPr>
        </p:nvSpPr>
        <p:spPr>
          <a:xfrm>
            <a:off x="478871" y="1587502"/>
            <a:ext cx="5314951" cy="4136417"/>
          </a:xfrm>
          <a:prstGeom prst="rect">
            <a:avLst/>
          </a:prstGeom>
        </p:spPr>
        <p:txBody>
          <a:bodyPr l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Date Placeholder 6">
            <a:extLst>
              <a:ext uri="{FF2B5EF4-FFF2-40B4-BE49-F238E27FC236}">
                <a16:creationId xmlns:a16="http://schemas.microsoft.com/office/drawing/2014/main" id="{FB7671C7-770F-40FE-8623-A185CC6FBC2A}"/>
              </a:ext>
            </a:extLst>
          </p:cNvPr>
          <p:cNvSpPr>
            <a:spLocks noGrp="1"/>
          </p:cNvSpPr>
          <p:nvPr>
            <p:ph type="dt" sz="half" idx="20"/>
          </p:nvPr>
        </p:nvSpPr>
        <p:spPr>
          <a:xfrm>
            <a:off x="3980329" y="6272003"/>
            <a:ext cx="4219640" cy="178517"/>
          </a:xfrm>
          <a:prstGeom prst="rect">
            <a:avLst/>
          </a:prstGeom>
        </p:spPr>
        <p:txBody>
          <a:bodyPr/>
          <a:lstStyle>
            <a:lvl1pPr>
              <a:defRPr/>
            </a:lvl1pPr>
          </a:lstStyle>
          <a:p>
            <a:pPr algn="ctr"/>
            <a:endParaRPr lang="en-GB"/>
          </a:p>
        </p:txBody>
      </p:sp>
      <p:sp>
        <p:nvSpPr>
          <p:cNvPr id="15" name="Footer Placeholder 8">
            <a:extLst>
              <a:ext uri="{FF2B5EF4-FFF2-40B4-BE49-F238E27FC236}">
                <a16:creationId xmlns:a16="http://schemas.microsoft.com/office/drawing/2014/main" id="{4DF9CCE3-A769-4DB8-B5D9-7299E7706FC0}"/>
              </a:ext>
            </a:extLst>
          </p:cNvPr>
          <p:cNvSpPr>
            <a:spLocks noGrp="1"/>
          </p:cNvSpPr>
          <p:nvPr>
            <p:ph type="ftr" sz="quarter" idx="21"/>
          </p:nvPr>
        </p:nvSpPr>
        <p:spPr>
          <a:xfrm>
            <a:off x="478869" y="6272003"/>
            <a:ext cx="3420032" cy="178517"/>
          </a:xfrm>
          <a:prstGeom prst="rect">
            <a:avLst/>
          </a:prstGeom>
        </p:spPr>
        <p:txBody>
          <a:bodyPr/>
          <a:lstStyle>
            <a:lvl1pPr>
              <a:defRPr/>
            </a:lvl1pPr>
          </a:lstStyle>
          <a:p>
            <a:endParaRPr lang="en-GB"/>
          </a:p>
        </p:txBody>
      </p:sp>
      <p:sp>
        <p:nvSpPr>
          <p:cNvPr id="16" name="Text Placeholder 5">
            <a:extLst>
              <a:ext uri="{FF2B5EF4-FFF2-40B4-BE49-F238E27FC236}">
                <a16:creationId xmlns:a16="http://schemas.microsoft.com/office/drawing/2014/main" id="{90BE780E-6C63-43AC-B464-F897DBAAA51A}"/>
              </a:ext>
            </a:extLst>
          </p:cNvPr>
          <p:cNvSpPr>
            <a:spLocks noGrp="1"/>
          </p:cNvSpPr>
          <p:nvPr>
            <p:ph type="body" sz="quarter" idx="18" hasCustomPrompt="1"/>
          </p:nvPr>
        </p:nvSpPr>
        <p:spPr>
          <a:xfrm>
            <a:off x="474152" y="6571353"/>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17" name="Text Placeholder 2">
            <a:extLst>
              <a:ext uri="{FF2B5EF4-FFF2-40B4-BE49-F238E27FC236}">
                <a16:creationId xmlns:a16="http://schemas.microsoft.com/office/drawing/2014/main" id="{62C2A57A-EE32-41BB-B2D6-AFCF534A4E0A}"/>
              </a:ext>
            </a:extLst>
          </p:cNvPr>
          <p:cNvSpPr>
            <a:spLocks noGrp="1"/>
          </p:cNvSpPr>
          <p:nvPr>
            <p:ph type="body" sz="quarter" idx="22" hasCustomPrompt="1"/>
          </p:nvPr>
        </p:nvSpPr>
        <p:spPr>
          <a:xfrm>
            <a:off x="474136" y="5762176"/>
            <a:ext cx="11231033" cy="287259"/>
          </a:xfrm>
          <a:prstGeom prst="rect">
            <a:avLst/>
          </a:prstGeom>
        </p:spPr>
        <p:txBody>
          <a:bodyPr anchor="b"/>
          <a:lstStyle>
            <a:lvl1pPr marL="0" indent="0">
              <a:spcAft>
                <a:spcPts val="0"/>
              </a:spcAft>
              <a:buNone/>
              <a:defRPr sz="1067"/>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footnotes here</a:t>
            </a:r>
          </a:p>
        </p:txBody>
      </p:sp>
    </p:spTree>
    <p:extLst>
      <p:ext uri="{BB962C8B-B14F-4D97-AF65-F5344CB8AC3E}">
        <p14:creationId xmlns:p14="http://schemas.microsoft.com/office/powerpoint/2010/main" val="36685407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a:xfrm>
            <a:off x="499535" y="6437314"/>
            <a:ext cx="3399365" cy="365125"/>
          </a:xfrm>
          <a:prstGeom prst="rect">
            <a:avLst/>
          </a:prstGeom>
        </p:spPr>
        <p:txBody>
          <a:bodyPr lIns="108850" tIns="54425" rIns="108850" bIns="54425"/>
          <a:lstStyle>
            <a:lvl1pPr>
              <a:defRPr/>
            </a:lvl1pPr>
          </a:lstStyle>
          <a:p>
            <a:endParaRPr lang="zh-CN" altLang="en-US" dirty="0"/>
          </a:p>
        </p:txBody>
      </p:sp>
    </p:spTree>
    <p:extLst>
      <p:ext uri="{BB962C8B-B14F-4D97-AF65-F5344CB8AC3E}">
        <p14:creationId xmlns:p14="http://schemas.microsoft.com/office/powerpoint/2010/main" val="1593379992"/>
      </p:ext>
    </p:extLst>
  </p:cSld>
  <p:clrMapOvr>
    <a:masterClrMapping/>
  </p:clrMapOvr>
  <p:transition spd="slow">
    <p:strips dir="rd"/>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cxnSp>
        <p:nvCxnSpPr>
          <p:cNvPr id="12" name="Straight Connector 11"/>
          <p:cNvCxnSpPr/>
          <p:nvPr userDrawn="1"/>
        </p:nvCxnSpPr>
        <p:spPr>
          <a:xfrm>
            <a:off x="478869" y="6132244"/>
            <a:ext cx="11232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6"/>
          <p:cNvSpPr>
            <a:spLocks noGrp="1"/>
          </p:cNvSpPr>
          <p:nvPr>
            <p:ph type="sldNum" sz="quarter" idx="12"/>
          </p:nvPr>
        </p:nvSpPr>
        <p:spPr>
          <a:xfrm>
            <a:off x="10604041" y="6272003"/>
            <a:ext cx="1106831" cy="365125"/>
          </a:xfrm>
          <a:prstGeom prst="rect">
            <a:avLst/>
          </a:prstGeom>
        </p:spPr>
        <p:txBody>
          <a:bodyPr/>
          <a:lstStyle/>
          <a:p>
            <a:fld id="{9F9F533D-B52E-4A2F-BF72-0ADD2D94BD75}" type="slidenum">
              <a:rPr lang="en-GB" smtClean="0"/>
              <a:pPr/>
              <a:t>‹#›</a:t>
            </a:fld>
            <a:endParaRPr lang="en-GB"/>
          </a:p>
        </p:txBody>
      </p:sp>
      <p:sp>
        <p:nvSpPr>
          <p:cNvPr id="8" name="Date Placeholder 6">
            <a:extLst>
              <a:ext uri="{FF2B5EF4-FFF2-40B4-BE49-F238E27FC236}">
                <a16:creationId xmlns:a16="http://schemas.microsoft.com/office/drawing/2014/main" id="{26593E6F-5E7B-4AB8-8307-A346F3E487A3}"/>
              </a:ext>
            </a:extLst>
          </p:cNvPr>
          <p:cNvSpPr>
            <a:spLocks noGrp="1"/>
          </p:cNvSpPr>
          <p:nvPr>
            <p:ph type="dt" sz="half" idx="19"/>
          </p:nvPr>
        </p:nvSpPr>
        <p:spPr>
          <a:xfrm>
            <a:off x="3980329" y="6272003"/>
            <a:ext cx="4219640" cy="178517"/>
          </a:xfrm>
          <a:prstGeom prst="rect">
            <a:avLst/>
          </a:prstGeom>
        </p:spPr>
        <p:txBody>
          <a:bodyPr/>
          <a:lstStyle>
            <a:lvl1pPr>
              <a:defRPr/>
            </a:lvl1pPr>
          </a:lstStyle>
          <a:p>
            <a:pPr algn="ctr"/>
            <a:endParaRPr lang="en-GB"/>
          </a:p>
        </p:txBody>
      </p:sp>
      <p:sp>
        <p:nvSpPr>
          <p:cNvPr id="9" name="Footer Placeholder 8">
            <a:extLst>
              <a:ext uri="{FF2B5EF4-FFF2-40B4-BE49-F238E27FC236}">
                <a16:creationId xmlns:a16="http://schemas.microsoft.com/office/drawing/2014/main" id="{DAC063BC-86B5-4D30-873E-2883D71BD134}"/>
              </a:ext>
            </a:extLst>
          </p:cNvPr>
          <p:cNvSpPr>
            <a:spLocks noGrp="1"/>
          </p:cNvSpPr>
          <p:nvPr>
            <p:ph type="ftr" sz="quarter" idx="20"/>
          </p:nvPr>
        </p:nvSpPr>
        <p:spPr>
          <a:xfrm>
            <a:off x="478869" y="6272003"/>
            <a:ext cx="3420032" cy="178517"/>
          </a:xfrm>
          <a:prstGeom prst="rect">
            <a:avLst/>
          </a:prstGeom>
        </p:spPr>
        <p:txBody>
          <a:bodyPr/>
          <a:lstStyle>
            <a:lvl1pPr>
              <a:defRPr/>
            </a:lvl1pPr>
          </a:lstStyle>
          <a:p>
            <a:endParaRPr lang="en-GB"/>
          </a:p>
        </p:txBody>
      </p:sp>
      <p:sp>
        <p:nvSpPr>
          <p:cNvPr id="10" name="Text Placeholder 5">
            <a:extLst>
              <a:ext uri="{FF2B5EF4-FFF2-40B4-BE49-F238E27FC236}">
                <a16:creationId xmlns:a16="http://schemas.microsoft.com/office/drawing/2014/main" id="{B2257A93-9EFD-4E79-B708-DC1EF3141BD5}"/>
              </a:ext>
            </a:extLst>
          </p:cNvPr>
          <p:cNvSpPr>
            <a:spLocks noGrp="1"/>
          </p:cNvSpPr>
          <p:nvPr>
            <p:ph type="body" sz="quarter" idx="18" hasCustomPrompt="1"/>
          </p:nvPr>
        </p:nvSpPr>
        <p:spPr>
          <a:xfrm>
            <a:off x="474152" y="6571353"/>
            <a:ext cx="10040369" cy="256545"/>
          </a:xfrm>
          <a:prstGeom prst="rect">
            <a:avLst/>
          </a:prstGeom>
        </p:spPr>
        <p:txBody>
          <a:bodyPr wrap="square" anchor="b" anchorCtr="0">
            <a:spAutoFit/>
          </a:bodyPr>
          <a:lstStyle>
            <a:lvl1pPr marL="0" indent="0">
              <a:spcAft>
                <a:spcPts val="0"/>
              </a:spcAft>
              <a:buNone/>
              <a:defRPr sz="1067" baseline="0"/>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Source text here</a:t>
            </a:r>
          </a:p>
        </p:txBody>
      </p:sp>
      <p:sp>
        <p:nvSpPr>
          <p:cNvPr id="11" name="Text Placeholder 2">
            <a:extLst>
              <a:ext uri="{FF2B5EF4-FFF2-40B4-BE49-F238E27FC236}">
                <a16:creationId xmlns:a16="http://schemas.microsoft.com/office/drawing/2014/main" id="{2CF002A3-AACD-48FD-BD93-880A10F6308A}"/>
              </a:ext>
            </a:extLst>
          </p:cNvPr>
          <p:cNvSpPr>
            <a:spLocks noGrp="1"/>
          </p:cNvSpPr>
          <p:nvPr>
            <p:ph type="body" sz="quarter" idx="22" hasCustomPrompt="1"/>
          </p:nvPr>
        </p:nvSpPr>
        <p:spPr>
          <a:xfrm>
            <a:off x="474136" y="5762176"/>
            <a:ext cx="11231033" cy="287259"/>
          </a:xfrm>
          <a:prstGeom prst="rect">
            <a:avLst/>
          </a:prstGeom>
        </p:spPr>
        <p:txBody>
          <a:bodyPr anchor="b"/>
          <a:lstStyle>
            <a:lvl1pPr marL="0" indent="0">
              <a:spcAft>
                <a:spcPts val="0"/>
              </a:spcAft>
              <a:buNone/>
              <a:defRPr sz="1067"/>
            </a:lvl1pPr>
            <a:lvl2pPr marL="357534" indent="0">
              <a:buNone/>
              <a:defRPr sz="1067"/>
            </a:lvl2pPr>
            <a:lvl3pPr marL="719965" indent="0">
              <a:buNone/>
              <a:defRPr sz="1067"/>
            </a:lvl3pPr>
            <a:lvl4pPr marL="1081397" indent="0">
              <a:buNone/>
              <a:defRPr sz="1067"/>
            </a:lvl4pPr>
            <a:lvl5pPr marL="1439928" indent="0">
              <a:buNone/>
              <a:defRPr sz="1067"/>
            </a:lvl5pPr>
          </a:lstStyle>
          <a:p>
            <a:pPr lvl="0"/>
            <a:r>
              <a:rPr lang="en-US"/>
              <a:t>Insert footnotes here</a:t>
            </a:r>
          </a:p>
        </p:txBody>
      </p:sp>
    </p:spTree>
    <p:extLst>
      <p:ext uri="{BB962C8B-B14F-4D97-AF65-F5344CB8AC3E}">
        <p14:creationId xmlns:p14="http://schemas.microsoft.com/office/powerpoint/2010/main" val="199407968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ection Header WHITE with ORANGE Text">
    <p:spTree>
      <p:nvGrpSpPr>
        <p:cNvPr id="1" name=""/>
        <p:cNvGrpSpPr/>
        <p:nvPr/>
      </p:nvGrpSpPr>
      <p:grpSpPr>
        <a:xfrm>
          <a:off x="0" y="0"/>
          <a:ext cx="0" cy="0"/>
          <a:chOff x="0" y="0"/>
          <a:chExt cx="0" cy="0"/>
        </a:xfrm>
      </p:grpSpPr>
      <p:sp>
        <p:nvSpPr>
          <p:cNvPr id="12" name="Text Placeholder 5"/>
          <p:cNvSpPr>
            <a:spLocks noGrp="1"/>
          </p:cNvSpPr>
          <p:nvPr>
            <p:ph type="body" sz="quarter" idx="11" hasCustomPrompt="1"/>
          </p:nvPr>
        </p:nvSpPr>
        <p:spPr>
          <a:xfrm>
            <a:off x="480000" y="4990682"/>
            <a:ext cx="10924032" cy="502702"/>
          </a:xfrm>
          <a:prstGeom prst="rect">
            <a:avLst/>
          </a:prstGeom>
        </p:spPr>
        <p:txBody>
          <a:bodyPr lIns="0" anchor="t" anchorCtr="0">
            <a:spAutoFit/>
          </a:bodyPr>
          <a:lstStyle>
            <a:lvl1pPr marL="0" marR="0" indent="0" algn="l" defTabSz="1219140" rtl="0" eaLnBrk="1" fontAlgn="auto" latinLnBrk="0" hangingPunct="1">
              <a:lnSpc>
                <a:spcPts val="3200"/>
              </a:lnSpc>
              <a:spcBef>
                <a:spcPts val="0"/>
              </a:spcBef>
              <a:spcAft>
                <a:spcPts val="0"/>
              </a:spcAft>
              <a:buClr>
                <a:schemeClr val="tx1"/>
              </a:buClr>
              <a:buSzTx/>
              <a:buFont typeface="Arial" pitchFamily="34" charset="0"/>
              <a:buNone/>
              <a:tabLst/>
              <a:defRPr sz="2933" i="0">
                <a:solidFill>
                  <a:schemeClr val="bg2"/>
                </a:solidFill>
                <a:latin typeface="+mn-lt"/>
              </a:defRPr>
            </a:lvl1pPr>
            <a:lvl2pPr marL="361934" indent="0">
              <a:spcAft>
                <a:spcPts val="0"/>
              </a:spcAft>
              <a:buNone/>
              <a:defRPr>
                <a:solidFill>
                  <a:schemeClr val="bg1"/>
                </a:solidFill>
              </a:defRPr>
            </a:lvl2pPr>
            <a:lvl3pPr marL="711165" indent="0">
              <a:spcAft>
                <a:spcPts val="0"/>
              </a:spcAft>
              <a:buNone/>
              <a:defRPr>
                <a:solidFill>
                  <a:schemeClr val="bg1"/>
                </a:solidFill>
              </a:defRPr>
            </a:lvl3pPr>
            <a:lvl4pPr marL="1087911" indent="0">
              <a:spcAft>
                <a:spcPts val="0"/>
              </a:spcAft>
              <a:buNone/>
              <a:defRPr>
                <a:solidFill>
                  <a:schemeClr val="bg1"/>
                </a:solidFill>
              </a:defRPr>
            </a:lvl4pPr>
            <a:lvl5pPr marL="1473126" indent="0">
              <a:spcAft>
                <a:spcPts val="0"/>
              </a:spcAft>
              <a:buNone/>
              <a:defRPr>
                <a:solidFill>
                  <a:schemeClr val="bg1"/>
                </a:solidFill>
              </a:defRPr>
            </a:lvl5pPr>
          </a:lstStyle>
          <a:p>
            <a:pPr marL="0" marR="0" lvl="0" indent="0" algn="l" defTabSz="1219140" rtl="0" eaLnBrk="1" fontAlgn="auto" latinLnBrk="0" hangingPunct="1">
              <a:lnSpc>
                <a:spcPts val="32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13" name="Text Placeholder 3"/>
          <p:cNvSpPr>
            <a:spLocks noGrp="1"/>
          </p:cNvSpPr>
          <p:nvPr>
            <p:ph type="body" sz="quarter" idx="10" hasCustomPrompt="1"/>
          </p:nvPr>
        </p:nvSpPr>
        <p:spPr>
          <a:xfrm>
            <a:off x="480000" y="3787180"/>
            <a:ext cx="10928936" cy="1097736"/>
          </a:xfrm>
          <a:prstGeom prst="rect">
            <a:avLst/>
          </a:prstGeom>
        </p:spPr>
        <p:txBody>
          <a:bodyPr wrap="square" lIns="0" anchor="b" anchorCtr="0">
            <a:spAutoFit/>
          </a:bodyPr>
          <a:lstStyle>
            <a:lvl1pPr marL="0" indent="0">
              <a:lnSpc>
                <a:spcPts val="7600"/>
              </a:lnSpc>
              <a:spcAft>
                <a:spcPts val="0"/>
              </a:spcAft>
              <a:buNone/>
              <a:defRPr sz="7333" b="1">
                <a:solidFill>
                  <a:schemeClr val="bg2"/>
                </a:solidFill>
              </a:defRPr>
            </a:lvl1pPr>
            <a:lvl2pPr marL="361934" indent="0">
              <a:buNone/>
              <a:defRPr sz="3467" b="1">
                <a:solidFill>
                  <a:schemeClr val="bg1"/>
                </a:solidFill>
              </a:defRPr>
            </a:lvl2pPr>
            <a:lvl3pPr marL="711165" indent="0">
              <a:buNone/>
              <a:defRPr sz="3467" b="1">
                <a:solidFill>
                  <a:schemeClr val="bg1"/>
                </a:solidFill>
              </a:defRPr>
            </a:lvl3pPr>
            <a:lvl4pPr marL="1087911" indent="0">
              <a:buNone/>
              <a:defRPr sz="3467" b="1">
                <a:solidFill>
                  <a:schemeClr val="bg1"/>
                </a:solidFill>
              </a:defRPr>
            </a:lvl4pPr>
            <a:lvl5pPr marL="1473126" indent="0">
              <a:buNone/>
              <a:defRPr sz="3467" b="1">
                <a:solidFill>
                  <a:schemeClr val="bg1"/>
                </a:solidFill>
              </a:defRPr>
            </a:lvl5pPr>
          </a:lstStyle>
          <a:p>
            <a:pPr lvl="0"/>
            <a:r>
              <a:rPr lang="en-US"/>
              <a:t>Section Heading tit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2380" y="316147"/>
            <a:ext cx="999577" cy="959319"/>
          </a:xfrm>
          <a:prstGeom prst="rect">
            <a:avLst/>
          </a:prstGeom>
        </p:spPr>
      </p:pic>
    </p:spTree>
    <p:extLst>
      <p:ext uri="{BB962C8B-B14F-4D97-AF65-F5344CB8AC3E}">
        <p14:creationId xmlns:p14="http://schemas.microsoft.com/office/powerpoint/2010/main" val="297439554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ection Header WHITE with GREY Text">
    <p:spTree>
      <p:nvGrpSpPr>
        <p:cNvPr id="1" name=""/>
        <p:cNvGrpSpPr/>
        <p:nvPr/>
      </p:nvGrpSpPr>
      <p:grpSpPr>
        <a:xfrm>
          <a:off x="0" y="0"/>
          <a:ext cx="0" cy="0"/>
          <a:chOff x="0" y="0"/>
          <a:chExt cx="0" cy="0"/>
        </a:xfrm>
      </p:grpSpPr>
      <p:sp>
        <p:nvSpPr>
          <p:cNvPr id="12" name="Text Placeholder 5"/>
          <p:cNvSpPr>
            <a:spLocks noGrp="1"/>
          </p:cNvSpPr>
          <p:nvPr>
            <p:ph type="body" sz="quarter" idx="11" hasCustomPrompt="1"/>
          </p:nvPr>
        </p:nvSpPr>
        <p:spPr>
          <a:xfrm>
            <a:off x="480000" y="4990682"/>
            <a:ext cx="10924032" cy="502702"/>
          </a:xfrm>
          <a:prstGeom prst="rect">
            <a:avLst/>
          </a:prstGeom>
        </p:spPr>
        <p:txBody>
          <a:bodyPr lIns="0" anchor="t" anchorCtr="0">
            <a:spAutoFit/>
          </a:bodyPr>
          <a:lstStyle>
            <a:lvl1pPr marL="0" marR="0" indent="0" algn="l" defTabSz="1219140" rtl="0" eaLnBrk="1" fontAlgn="auto" latinLnBrk="0" hangingPunct="1">
              <a:lnSpc>
                <a:spcPts val="3200"/>
              </a:lnSpc>
              <a:spcBef>
                <a:spcPts val="0"/>
              </a:spcBef>
              <a:spcAft>
                <a:spcPts val="0"/>
              </a:spcAft>
              <a:buClr>
                <a:schemeClr val="tx1"/>
              </a:buClr>
              <a:buSzTx/>
              <a:buFont typeface="Arial" pitchFamily="34" charset="0"/>
              <a:buNone/>
              <a:tabLst/>
              <a:defRPr sz="2933" i="0">
                <a:solidFill>
                  <a:schemeClr val="tx1"/>
                </a:solidFill>
                <a:latin typeface="+mn-lt"/>
              </a:defRPr>
            </a:lvl1pPr>
            <a:lvl2pPr marL="361934" indent="0">
              <a:spcAft>
                <a:spcPts val="0"/>
              </a:spcAft>
              <a:buNone/>
              <a:defRPr>
                <a:solidFill>
                  <a:schemeClr val="bg1"/>
                </a:solidFill>
              </a:defRPr>
            </a:lvl2pPr>
            <a:lvl3pPr marL="711165" indent="0">
              <a:spcAft>
                <a:spcPts val="0"/>
              </a:spcAft>
              <a:buNone/>
              <a:defRPr>
                <a:solidFill>
                  <a:schemeClr val="bg1"/>
                </a:solidFill>
              </a:defRPr>
            </a:lvl3pPr>
            <a:lvl4pPr marL="1087911" indent="0">
              <a:spcAft>
                <a:spcPts val="0"/>
              </a:spcAft>
              <a:buNone/>
              <a:defRPr>
                <a:solidFill>
                  <a:schemeClr val="bg1"/>
                </a:solidFill>
              </a:defRPr>
            </a:lvl4pPr>
            <a:lvl5pPr marL="1473126" indent="0">
              <a:spcAft>
                <a:spcPts val="0"/>
              </a:spcAft>
              <a:buNone/>
              <a:defRPr>
                <a:solidFill>
                  <a:schemeClr val="bg1"/>
                </a:solidFill>
              </a:defRPr>
            </a:lvl5pPr>
          </a:lstStyle>
          <a:p>
            <a:pPr marL="0" marR="0" lvl="0" indent="0" algn="l" defTabSz="1219140" rtl="0" eaLnBrk="1" fontAlgn="auto" latinLnBrk="0" hangingPunct="1">
              <a:lnSpc>
                <a:spcPts val="3200"/>
              </a:lnSpc>
              <a:spcBef>
                <a:spcPts val="0"/>
              </a:spcBef>
              <a:spcAft>
                <a:spcPts val="0"/>
              </a:spcAft>
              <a:buClr>
                <a:schemeClr val="tx1"/>
              </a:buClr>
              <a:buSzTx/>
              <a:buFont typeface="Arial" pitchFamily="34" charset="0"/>
              <a:buNone/>
              <a:tabLst/>
              <a:defRPr/>
            </a:pPr>
            <a:r>
              <a:rPr lang="en-GB"/>
              <a:t>Supporting heading</a:t>
            </a:r>
            <a:r>
              <a:rPr lang="en-US"/>
              <a:t> here if required</a:t>
            </a:r>
          </a:p>
        </p:txBody>
      </p:sp>
      <p:sp>
        <p:nvSpPr>
          <p:cNvPr id="13" name="Text Placeholder 3"/>
          <p:cNvSpPr>
            <a:spLocks noGrp="1"/>
          </p:cNvSpPr>
          <p:nvPr>
            <p:ph type="body" sz="quarter" idx="10" hasCustomPrompt="1"/>
          </p:nvPr>
        </p:nvSpPr>
        <p:spPr>
          <a:xfrm>
            <a:off x="480000" y="3787180"/>
            <a:ext cx="10928936" cy="1097736"/>
          </a:xfrm>
          <a:prstGeom prst="rect">
            <a:avLst/>
          </a:prstGeom>
        </p:spPr>
        <p:txBody>
          <a:bodyPr wrap="square" lIns="0" anchor="b" anchorCtr="0">
            <a:spAutoFit/>
          </a:bodyPr>
          <a:lstStyle>
            <a:lvl1pPr marL="0" indent="0">
              <a:lnSpc>
                <a:spcPts val="7600"/>
              </a:lnSpc>
              <a:spcAft>
                <a:spcPts val="0"/>
              </a:spcAft>
              <a:buNone/>
              <a:defRPr sz="7333" b="1">
                <a:solidFill>
                  <a:schemeClr val="tx1"/>
                </a:solidFill>
              </a:defRPr>
            </a:lvl1pPr>
            <a:lvl2pPr marL="361934" indent="0">
              <a:buNone/>
              <a:defRPr sz="3467" b="1">
                <a:solidFill>
                  <a:schemeClr val="bg1"/>
                </a:solidFill>
              </a:defRPr>
            </a:lvl2pPr>
            <a:lvl3pPr marL="711165" indent="0">
              <a:buNone/>
              <a:defRPr sz="3467" b="1">
                <a:solidFill>
                  <a:schemeClr val="bg1"/>
                </a:solidFill>
              </a:defRPr>
            </a:lvl3pPr>
            <a:lvl4pPr marL="1087911" indent="0">
              <a:buNone/>
              <a:defRPr sz="3467" b="1">
                <a:solidFill>
                  <a:schemeClr val="bg1"/>
                </a:solidFill>
              </a:defRPr>
            </a:lvl4pPr>
            <a:lvl5pPr marL="1473126" indent="0">
              <a:buNone/>
              <a:defRPr sz="3467" b="1">
                <a:solidFill>
                  <a:schemeClr val="bg1"/>
                </a:solidFill>
              </a:defRPr>
            </a:lvl5pPr>
          </a:lstStyle>
          <a:p>
            <a:pPr lvl="0"/>
            <a:r>
              <a:rPr lang="en-US"/>
              <a:t>Section Heading titl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2380" y="316147"/>
            <a:ext cx="999577" cy="959319"/>
          </a:xfrm>
          <a:prstGeom prst="rect">
            <a:avLst/>
          </a:prstGeom>
        </p:spPr>
      </p:pic>
    </p:spTree>
    <p:extLst>
      <p:ext uri="{BB962C8B-B14F-4D97-AF65-F5344CB8AC3E}">
        <p14:creationId xmlns:p14="http://schemas.microsoft.com/office/powerpoint/2010/main" val="406982779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ection Header INNOVATION White">
    <p:spTree>
      <p:nvGrpSpPr>
        <p:cNvPr id="1" name=""/>
        <p:cNvGrpSpPr/>
        <p:nvPr/>
      </p:nvGrpSpPr>
      <p:grpSpPr>
        <a:xfrm>
          <a:off x="0" y="0"/>
          <a:ext cx="0" cy="0"/>
          <a:chOff x="0" y="0"/>
          <a:chExt cx="0" cy="0"/>
        </a:xfrm>
      </p:grpSpPr>
      <p:sp>
        <p:nvSpPr>
          <p:cNvPr id="6" name="TextBox 5"/>
          <p:cNvSpPr txBox="1"/>
          <p:nvPr userDrawn="1"/>
        </p:nvSpPr>
        <p:spPr>
          <a:xfrm>
            <a:off x="475788" y="3937840"/>
            <a:ext cx="10497013" cy="964944"/>
          </a:xfrm>
          <a:prstGeom prst="rect">
            <a:avLst/>
          </a:prstGeom>
        </p:spPr>
        <p:txBody>
          <a:bodyPr vert="horz" wrap="square" lIns="0" tIns="0" rIns="0" bIns="0" rtlCol="0" anchor="b" anchorCtr="0">
            <a:spAutoFit/>
          </a:bodyPr>
          <a:lstStyle>
            <a:lvl1pPr lvl="0" indent="0">
              <a:lnSpc>
                <a:spcPts val="7200"/>
              </a:lnSpc>
              <a:spcBef>
                <a:spcPts val="0"/>
              </a:spcBef>
              <a:spcAft>
                <a:spcPts val="0"/>
              </a:spcAft>
              <a:buClr>
                <a:schemeClr val="tx1"/>
              </a:buClr>
              <a:buFont typeface="Arial" pitchFamily="34" charset="0"/>
              <a:buNone/>
              <a:tabLst/>
              <a:defRPr sz="7000" b="1" baseline="0">
                <a:solidFill>
                  <a:schemeClr val="bg1"/>
                </a:solidFill>
              </a:defRPr>
            </a:lvl1pPr>
            <a:lvl2pPr marL="271463" indent="0">
              <a:spcBef>
                <a:spcPts val="0"/>
              </a:spcBef>
              <a:spcAft>
                <a:spcPts val="600"/>
              </a:spcAft>
              <a:buFont typeface="Arial" pitchFamily="34" charset="0"/>
              <a:buNone/>
              <a:defRPr sz="2600" b="1">
                <a:solidFill>
                  <a:schemeClr val="bg1"/>
                </a:solidFill>
              </a:defRPr>
            </a:lvl2pPr>
            <a:lvl3pPr marL="533400" indent="0">
              <a:spcBef>
                <a:spcPts val="0"/>
              </a:spcBef>
              <a:spcAft>
                <a:spcPts val="600"/>
              </a:spcAft>
              <a:buFont typeface="Arial" pitchFamily="34" charset="0"/>
              <a:buNone/>
              <a:defRPr sz="2600" b="1">
                <a:solidFill>
                  <a:schemeClr val="bg1"/>
                </a:solidFill>
              </a:defRPr>
            </a:lvl3pPr>
            <a:lvl4pPr marL="815975" indent="0">
              <a:spcBef>
                <a:spcPts val="0"/>
              </a:spcBef>
              <a:spcAft>
                <a:spcPts val="600"/>
              </a:spcAft>
              <a:buFont typeface="Arial" pitchFamily="34" charset="0"/>
              <a:buNone/>
              <a:defRPr sz="2600" b="1">
                <a:solidFill>
                  <a:schemeClr val="bg1"/>
                </a:solidFill>
              </a:defRPr>
            </a:lvl4pPr>
            <a:lvl5pPr marL="1104900" indent="0">
              <a:spcBef>
                <a:spcPts val="0"/>
              </a:spcBef>
              <a:spcAft>
                <a:spcPts val="600"/>
              </a:spcAft>
              <a:buFont typeface="Arial" pitchFamily="34" charset="0"/>
              <a:buNone/>
              <a:defRPr sz="2600" b="1">
                <a:solidFill>
                  <a:schemeClr val="bg1"/>
                </a:solidFill>
              </a:defRPr>
            </a:lvl5pPr>
            <a:lvl6pPr marL="1620000" indent="-270000">
              <a:spcBef>
                <a:spcPts val="0"/>
              </a:spcBef>
              <a:spcAft>
                <a:spcPts val="600"/>
              </a:spcAft>
              <a:buFont typeface="Arial" pitchFamily="34" charset="0"/>
              <a:buChar char="–"/>
              <a:defRPr sz="1200"/>
            </a:lvl6pPr>
            <a:lvl7pPr marL="1800000" indent="-270000">
              <a:spcBef>
                <a:spcPts val="0"/>
              </a:spcBef>
              <a:spcAft>
                <a:spcPts val="600"/>
              </a:spcAft>
              <a:buFont typeface="Arial" pitchFamily="34" charset="0"/>
              <a:buChar char="–"/>
              <a:defRPr sz="1200"/>
            </a:lvl7pPr>
            <a:lvl8pPr marL="2070000" indent="-270000">
              <a:spcBef>
                <a:spcPts val="0"/>
              </a:spcBef>
              <a:spcAft>
                <a:spcPts val="600"/>
              </a:spcAft>
              <a:buFont typeface="Arial" pitchFamily="34" charset="0"/>
              <a:buChar char="–"/>
              <a:defRPr sz="1200"/>
            </a:lvl8pPr>
            <a:lvl9pPr marL="2340000" indent="-270000">
              <a:spcBef>
                <a:spcPts val="0"/>
              </a:spcBef>
              <a:spcAft>
                <a:spcPts val="600"/>
              </a:spcAft>
              <a:buFont typeface="Arial" pitchFamily="34" charset="0"/>
              <a:buChar char="–"/>
              <a:defRPr sz="1200"/>
            </a:lvl9pPr>
          </a:lstStyle>
          <a:p>
            <a:pPr lvl="0"/>
            <a:r>
              <a:rPr lang="en-US" sz="9333">
                <a:solidFill>
                  <a:schemeClr val="accent5"/>
                </a:solidFill>
              </a:rPr>
              <a:t>Innovation</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2380" y="316147"/>
            <a:ext cx="999577" cy="959319"/>
          </a:xfrm>
          <a:prstGeom prst="rect">
            <a:avLst/>
          </a:prstGeom>
        </p:spPr>
      </p:pic>
    </p:spTree>
    <p:extLst>
      <p:ext uri="{BB962C8B-B14F-4D97-AF65-F5344CB8AC3E}">
        <p14:creationId xmlns:p14="http://schemas.microsoft.com/office/powerpoint/2010/main" val="271994414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ection Header PERFORMANCE White">
    <p:spTree>
      <p:nvGrpSpPr>
        <p:cNvPr id="1" name=""/>
        <p:cNvGrpSpPr/>
        <p:nvPr/>
      </p:nvGrpSpPr>
      <p:grpSpPr>
        <a:xfrm>
          <a:off x="0" y="0"/>
          <a:ext cx="0" cy="0"/>
          <a:chOff x="0" y="0"/>
          <a:chExt cx="0" cy="0"/>
        </a:xfrm>
      </p:grpSpPr>
      <p:sp>
        <p:nvSpPr>
          <p:cNvPr id="8" name="TextBox 7"/>
          <p:cNvSpPr txBox="1"/>
          <p:nvPr userDrawn="1"/>
        </p:nvSpPr>
        <p:spPr>
          <a:xfrm>
            <a:off x="475788" y="3671678"/>
            <a:ext cx="10497013" cy="1231106"/>
          </a:xfrm>
          <a:prstGeom prst="rect">
            <a:avLst/>
          </a:prstGeom>
        </p:spPr>
        <p:txBody>
          <a:bodyPr vert="horz" wrap="square" lIns="0" tIns="0" rIns="0" bIns="0" rtlCol="0" anchor="b" anchorCtr="0">
            <a:spAutoFit/>
          </a:bodyPr>
          <a:lstStyle>
            <a:lvl1pPr lvl="0" indent="0">
              <a:lnSpc>
                <a:spcPts val="7200"/>
              </a:lnSpc>
              <a:spcBef>
                <a:spcPts val="0"/>
              </a:spcBef>
              <a:spcAft>
                <a:spcPts val="0"/>
              </a:spcAft>
              <a:buClr>
                <a:schemeClr val="tx1"/>
              </a:buClr>
              <a:buFont typeface="Arial" pitchFamily="34" charset="0"/>
              <a:buNone/>
              <a:tabLst/>
              <a:defRPr sz="7000" b="1" baseline="0">
                <a:solidFill>
                  <a:schemeClr val="bg1"/>
                </a:solidFill>
              </a:defRPr>
            </a:lvl1pPr>
            <a:lvl2pPr marL="271463" indent="0">
              <a:spcBef>
                <a:spcPts val="0"/>
              </a:spcBef>
              <a:spcAft>
                <a:spcPts val="600"/>
              </a:spcAft>
              <a:buFont typeface="Arial" pitchFamily="34" charset="0"/>
              <a:buNone/>
              <a:defRPr sz="2600" b="1">
                <a:solidFill>
                  <a:schemeClr val="bg1"/>
                </a:solidFill>
              </a:defRPr>
            </a:lvl2pPr>
            <a:lvl3pPr marL="533400" indent="0">
              <a:spcBef>
                <a:spcPts val="0"/>
              </a:spcBef>
              <a:spcAft>
                <a:spcPts val="600"/>
              </a:spcAft>
              <a:buFont typeface="Arial" pitchFamily="34" charset="0"/>
              <a:buNone/>
              <a:defRPr sz="2600" b="1">
                <a:solidFill>
                  <a:schemeClr val="bg1"/>
                </a:solidFill>
              </a:defRPr>
            </a:lvl3pPr>
            <a:lvl4pPr marL="815975" indent="0">
              <a:spcBef>
                <a:spcPts val="0"/>
              </a:spcBef>
              <a:spcAft>
                <a:spcPts val="600"/>
              </a:spcAft>
              <a:buFont typeface="Arial" pitchFamily="34" charset="0"/>
              <a:buNone/>
              <a:defRPr sz="2600" b="1">
                <a:solidFill>
                  <a:schemeClr val="bg1"/>
                </a:solidFill>
              </a:defRPr>
            </a:lvl4pPr>
            <a:lvl5pPr marL="1104900" indent="0">
              <a:spcBef>
                <a:spcPts val="0"/>
              </a:spcBef>
              <a:spcAft>
                <a:spcPts val="600"/>
              </a:spcAft>
              <a:buFont typeface="Arial" pitchFamily="34" charset="0"/>
              <a:buNone/>
              <a:defRPr sz="2600" b="1">
                <a:solidFill>
                  <a:schemeClr val="bg1"/>
                </a:solidFill>
              </a:defRPr>
            </a:lvl5pPr>
            <a:lvl6pPr marL="1620000" indent="-270000">
              <a:spcBef>
                <a:spcPts val="0"/>
              </a:spcBef>
              <a:spcAft>
                <a:spcPts val="600"/>
              </a:spcAft>
              <a:buFont typeface="Arial" pitchFamily="34" charset="0"/>
              <a:buChar char="–"/>
              <a:defRPr sz="1200"/>
            </a:lvl6pPr>
            <a:lvl7pPr marL="1800000" indent="-270000">
              <a:spcBef>
                <a:spcPts val="0"/>
              </a:spcBef>
              <a:spcAft>
                <a:spcPts val="600"/>
              </a:spcAft>
              <a:buFont typeface="Arial" pitchFamily="34" charset="0"/>
              <a:buChar char="–"/>
              <a:defRPr sz="1200"/>
            </a:lvl7pPr>
            <a:lvl8pPr marL="2070000" indent="-270000">
              <a:spcBef>
                <a:spcPts val="0"/>
              </a:spcBef>
              <a:spcAft>
                <a:spcPts val="600"/>
              </a:spcAft>
              <a:buFont typeface="Arial" pitchFamily="34" charset="0"/>
              <a:buChar char="–"/>
              <a:defRPr sz="1200"/>
            </a:lvl8pPr>
            <a:lvl9pPr marL="2340000" indent="-270000">
              <a:spcBef>
                <a:spcPts val="0"/>
              </a:spcBef>
              <a:spcAft>
                <a:spcPts val="600"/>
              </a:spcAft>
              <a:buFont typeface="Arial" pitchFamily="34" charset="0"/>
              <a:buChar char="–"/>
              <a:defRPr sz="1200"/>
            </a:lvl9pPr>
          </a:lstStyle>
          <a:p>
            <a:pPr marL="0" marR="0" lvl="0" indent="0" algn="l" defTabSz="1219140" rtl="0" eaLnBrk="1" fontAlgn="auto" latinLnBrk="0" hangingPunct="1">
              <a:lnSpc>
                <a:spcPts val="9600"/>
              </a:lnSpc>
              <a:spcBef>
                <a:spcPts val="0"/>
              </a:spcBef>
              <a:spcAft>
                <a:spcPts val="0"/>
              </a:spcAft>
              <a:buClr>
                <a:schemeClr val="tx1"/>
              </a:buClr>
              <a:buSzTx/>
              <a:buFont typeface="Arial" pitchFamily="34" charset="0"/>
              <a:buNone/>
              <a:tabLst/>
              <a:defRPr/>
            </a:pPr>
            <a:r>
              <a:rPr lang="en-US" sz="9333">
                <a:solidFill>
                  <a:schemeClr val="accent4"/>
                </a:solidFill>
              </a:rPr>
              <a:t>Pe</a:t>
            </a:r>
            <a:r>
              <a:rPr lang="en-US" sz="9333" spc="667" baseline="0">
                <a:solidFill>
                  <a:schemeClr val="accent4"/>
                </a:solidFill>
              </a:rPr>
              <a:t>r</a:t>
            </a:r>
            <a:r>
              <a:rPr lang="en-US" sz="9333">
                <a:solidFill>
                  <a:schemeClr val="accent4"/>
                </a:solidFill>
              </a:rPr>
              <a:t>formanc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2380" y="316147"/>
            <a:ext cx="999577" cy="959319"/>
          </a:xfrm>
          <a:prstGeom prst="rect">
            <a:avLst/>
          </a:prstGeom>
        </p:spPr>
      </p:pic>
    </p:spTree>
    <p:extLst>
      <p:ext uri="{BB962C8B-B14F-4D97-AF65-F5344CB8AC3E}">
        <p14:creationId xmlns:p14="http://schemas.microsoft.com/office/powerpoint/2010/main" val="22844019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ection Header TRUST White">
    <p:spTree>
      <p:nvGrpSpPr>
        <p:cNvPr id="1" name=""/>
        <p:cNvGrpSpPr/>
        <p:nvPr/>
      </p:nvGrpSpPr>
      <p:grpSpPr>
        <a:xfrm>
          <a:off x="0" y="0"/>
          <a:ext cx="0" cy="0"/>
          <a:chOff x="0" y="0"/>
          <a:chExt cx="0" cy="0"/>
        </a:xfrm>
      </p:grpSpPr>
      <p:sp>
        <p:nvSpPr>
          <p:cNvPr id="6" name="TextBox 5"/>
          <p:cNvSpPr txBox="1"/>
          <p:nvPr userDrawn="1"/>
        </p:nvSpPr>
        <p:spPr>
          <a:xfrm>
            <a:off x="475788" y="3937840"/>
            <a:ext cx="10497013" cy="964944"/>
          </a:xfrm>
          <a:prstGeom prst="rect">
            <a:avLst/>
          </a:prstGeom>
        </p:spPr>
        <p:txBody>
          <a:bodyPr vert="horz" wrap="square" lIns="0" tIns="0" rIns="0" bIns="0" rtlCol="0" anchor="b" anchorCtr="0">
            <a:spAutoFit/>
          </a:bodyPr>
          <a:lstStyle>
            <a:lvl1pPr lvl="0" indent="0">
              <a:lnSpc>
                <a:spcPts val="7200"/>
              </a:lnSpc>
              <a:spcBef>
                <a:spcPts val="0"/>
              </a:spcBef>
              <a:spcAft>
                <a:spcPts val="0"/>
              </a:spcAft>
              <a:buClr>
                <a:schemeClr val="tx1"/>
              </a:buClr>
              <a:buFont typeface="Arial" pitchFamily="34" charset="0"/>
              <a:buNone/>
              <a:tabLst/>
              <a:defRPr sz="7000" b="1" baseline="0">
                <a:solidFill>
                  <a:schemeClr val="bg1"/>
                </a:solidFill>
              </a:defRPr>
            </a:lvl1pPr>
            <a:lvl2pPr marL="271463" indent="0">
              <a:spcBef>
                <a:spcPts val="0"/>
              </a:spcBef>
              <a:spcAft>
                <a:spcPts val="600"/>
              </a:spcAft>
              <a:buFont typeface="Arial" pitchFamily="34" charset="0"/>
              <a:buNone/>
              <a:defRPr sz="2600" b="1">
                <a:solidFill>
                  <a:schemeClr val="bg1"/>
                </a:solidFill>
              </a:defRPr>
            </a:lvl2pPr>
            <a:lvl3pPr marL="533400" indent="0">
              <a:spcBef>
                <a:spcPts val="0"/>
              </a:spcBef>
              <a:spcAft>
                <a:spcPts val="600"/>
              </a:spcAft>
              <a:buFont typeface="Arial" pitchFamily="34" charset="0"/>
              <a:buNone/>
              <a:defRPr sz="2600" b="1">
                <a:solidFill>
                  <a:schemeClr val="bg1"/>
                </a:solidFill>
              </a:defRPr>
            </a:lvl3pPr>
            <a:lvl4pPr marL="815975" indent="0">
              <a:spcBef>
                <a:spcPts val="0"/>
              </a:spcBef>
              <a:spcAft>
                <a:spcPts val="600"/>
              </a:spcAft>
              <a:buFont typeface="Arial" pitchFamily="34" charset="0"/>
              <a:buNone/>
              <a:defRPr sz="2600" b="1">
                <a:solidFill>
                  <a:schemeClr val="bg1"/>
                </a:solidFill>
              </a:defRPr>
            </a:lvl4pPr>
            <a:lvl5pPr marL="1104900" indent="0">
              <a:spcBef>
                <a:spcPts val="0"/>
              </a:spcBef>
              <a:spcAft>
                <a:spcPts val="600"/>
              </a:spcAft>
              <a:buFont typeface="Arial" pitchFamily="34" charset="0"/>
              <a:buNone/>
              <a:defRPr sz="2600" b="1">
                <a:solidFill>
                  <a:schemeClr val="bg1"/>
                </a:solidFill>
              </a:defRPr>
            </a:lvl5pPr>
            <a:lvl6pPr marL="1620000" indent="-270000">
              <a:spcBef>
                <a:spcPts val="0"/>
              </a:spcBef>
              <a:spcAft>
                <a:spcPts val="600"/>
              </a:spcAft>
              <a:buFont typeface="Arial" pitchFamily="34" charset="0"/>
              <a:buChar char="–"/>
              <a:defRPr sz="1200"/>
            </a:lvl6pPr>
            <a:lvl7pPr marL="1800000" indent="-270000">
              <a:spcBef>
                <a:spcPts val="0"/>
              </a:spcBef>
              <a:spcAft>
                <a:spcPts val="600"/>
              </a:spcAft>
              <a:buFont typeface="Arial" pitchFamily="34" charset="0"/>
              <a:buChar char="–"/>
              <a:defRPr sz="1200"/>
            </a:lvl7pPr>
            <a:lvl8pPr marL="2070000" indent="-270000">
              <a:spcBef>
                <a:spcPts val="0"/>
              </a:spcBef>
              <a:spcAft>
                <a:spcPts val="600"/>
              </a:spcAft>
              <a:buFont typeface="Arial" pitchFamily="34" charset="0"/>
              <a:buChar char="–"/>
              <a:defRPr sz="1200"/>
            </a:lvl8pPr>
            <a:lvl9pPr marL="2340000" indent="-270000">
              <a:spcBef>
                <a:spcPts val="0"/>
              </a:spcBef>
              <a:spcAft>
                <a:spcPts val="600"/>
              </a:spcAft>
              <a:buFont typeface="Arial" pitchFamily="34" charset="0"/>
              <a:buChar char="–"/>
              <a:defRPr sz="1200"/>
            </a:lvl9pPr>
          </a:lstStyle>
          <a:p>
            <a:pPr lvl="0"/>
            <a:r>
              <a:rPr lang="en-US" sz="9333">
                <a:solidFill>
                  <a:schemeClr val="accent3"/>
                </a:solidFill>
              </a:rPr>
              <a:t>Trust</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42380" y="316147"/>
            <a:ext cx="999577" cy="959319"/>
          </a:xfrm>
          <a:prstGeom prst="rect">
            <a:avLst/>
          </a:prstGeom>
        </p:spPr>
      </p:pic>
    </p:spTree>
    <p:extLst>
      <p:ext uri="{BB962C8B-B14F-4D97-AF65-F5344CB8AC3E}">
        <p14:creationId xmlns:p14="http://schemas.microsoft.com/office/powerpoint/2010/main" val="410893784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Sub-Section Divider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10604041" y="6272003"/>
            <a:ext cx="1106831" cy="365125"/>
          </a:xfrm>
          <a:prstGeom prst="rect">
            <a:avLst/>
          </a:prstGeom>
        </p:spPr>
        <p:txBody>
          <a:bodyPr/>
          <a:lstStyle>
            <a:lvl1pPr>
              <a:defRPr>
                <a:solidFill>
                  <a:schemeClr val="tx1"/>
                </a:solidFill>
              </a:defRPr>
            </a:lvl1pPr>
          </a:lstStyle>
          <a:p>
            <a:fld id="{2FE18977-94FB-415F-B497-03350E8854FC}" type="slidenum">
              <a:rPr lang="en-GB" smtClean="0">
                <a:solidFill>
                  <a:srgbClr val="9A8B7D"/>
                </a:solidFill>
              </a:rPr>
              <a:pPr/>
              <a:t>‹#›</a:t>
            </a:fld>
            <a:endParaRPr lang="en-GB">
              <a:solidFill>
                <a:srgbClr val="9A8B7D"/>
              </a:solidFill>
            </a:endParaRPr>
          </a:p>
        </p:txBody>
      </p:sp>
      <p:sp>
        <p:nvSpPr>
          <p:cNvPr id="14" name="Date Placeholder 3"/>
          <p:cNvSpPr>
            <a:spLocks noGrp="1"/>
          </p:cNvSpPr>
          <p:nvPr>
            <p:ph type="dt" sz="half" idx="2"/>
          </p:nvPr>
        </p:nvSpPr>
        <p:spPr>
          <a:xfrm>
            <a:off x="2351260" y="6476216"/>
            <a:ext cx="1433937" cy="365125"/>
          </a:xfrm>
          <a:prstGeom prst="rect">
            <a:avLst/>
          </a:prstGeom>
        </p:spPr>
        <p:txBody>
          <a:bodyPr vert="horz" lIns="0" tIns="0" rIns="0" bIns="0" rtlCol="0" anchor="t" anchorCtr="0"/>
          <a:lstStyle>
            <a:lvl1pPr algn="l">
              <a:defRPr sz="800">
                <a:solidFill>
                  <a:schemeClr val="bg2"/>
                </a:solidFill>
              </a:defRPr>
            </a:lvl1pPr>
          </a:lstStyle>
          <a:p>
            <a:endParaRPr lang="en-GB">
              <a:solidFill>
                <a:srgbClr val="FF6600"/>
              </a:solidFill>
            </a:endParaRPr>
          </a:p>
        </p:txBody>
      </p:sp>
      <p:sp>
        <p:nvSpPr>
          <p:cNvPr id="15" name="Footer Placeholder 4"/>
          <p:cNvSpPr>
            <a:spLocks noGrp="1"/>
          </p:cNvSpPr>
          <p:nvPr>
            <p:ph type="ftr" sz="quarter" idx="3"/>
          </p:nvPr>
        </p:nvSpPr>
        <p:spPr>
          <a:xfrm>
            <a:off x="527053" y="6476216"/>
            <a:ext cx="1824203" cy="365125"/>
          </a:xfrm>
          <a:prstGeom prst="rect">
            <a:avLst/>
          </a:prstGeom>
        </p:spPr>
        <p:txBody>
          <a:bodyPr vert="horz" lIns="0" tIns="0" rIns="0" bIns="0" rtlCol="0" anchor="t" anchorCtr="0"/>
          <a:lstStyle>
            <a:lvl1pPr algn="l">
              <a:defRPr sz="800">
                <a:solidFill>
                  <a:schemeClr val="bg2"/>
                </a:solidFill>
              </a:defRPr>
            </a:lvl1pPr>
          </a:lstStyle>
          <a:p>
            <a:endParaRPr lang="en-GB">
              <a:solidFill>
                <a:srgbClr val="FF6600"/>
              </a:solidFill>
            </a:endParaRPr>
          </a:p>
        </p:txBody>
      </p:sp>
      <p:sp>
        <p:nvSpPr>
          <p:cNvPr id="8" name="Title 1"/>
          <p:cNvSpPr>
            <a:spLocks noGrp="1"/>
          </p:cNvSpPr>
          <p:nvPr>
            <p:ph type="title"/>
          </p:nvPr>
        </p:nvSpPr>
        <p:spPr>
          <a:xfrm>
            <a:off x="531283" y="3429006"/>
            <a:ext cx="7200000" cy="430887"/>
          </a:xfrm>
        </p:spPr>
        <p:txBody>
          <a:bodyPr anchor="t"/>
          <a:lstStyle>
            <a:lvl1pPr algn="l">
              <a:defRPr sz="2800" b="1" cap="none" baseline="0">
                <a:solidFill>
                  <a:schemeClr val="bg2"/>
                </a:solidFill>
              </a:defRPr>
            </a:lvl1pPr>
          </a:lstStyle>
          <a:p>
            <a:r>
              <a:rPr lang="en-US"/>
              <a:t>Click to edit Master title style</a:t>
            </a:r>
            <a:endParaRPr lang="en-GB"/>
          </a:p>
        </p:txBody>
      </p:sp>
      <p:cxnSp>
        <p:nvCxnSpPr>
          <p:cNvPr id="11" name="Straight Connector 10"/>
          <p:cNvCxnSpPr/>
          <p:nvPr userDrawn="1"/>
        </p:nvCxnSpPr>
        <p:spPr>
          <a:xfrm>
            <a:off x="238132" y="6388896"/>
            <a:ext cx="3547065" cy="0"/>
          </a:xfrm>
          <a:prstGeom prst="line">
            <a:avLst/>
          </a:prstGeom>
          <a:ln w="6350" cap="rnd">
            <a:solidFill>
              <a:schemeClr val="bg2"/>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85501" y="360118"/>
            <a:ext cx="674219" cy="434341"/>
          </a:xfrm>
          <a:prstGeom prst="rect">
            <a:avLst/>
          </a:prstGeom>
        </p:spPr>
      </p:pic>
    </p:spTree>
    <p:extLst>
      <p:ext uri="{BB962C8B-B14F-4D97-AF65-F5344CB8AC3E}">
        <p14:creationId xmlns:p14="http://schemas.microsoft.com/office/powerpoint/2010/main" val="1579300508"/>
      </p:ext>
    </p:extLst>
  </p:cSld>
  <p:clrMapOvr>
    <a:masterClrMapping/>
  </p:clrMapOvr>
  <p:extLst>
    <p:ext uri="{DCECCB84-F9BA-43D5-87BE-67443E8EF086}">
      <p15:sldGuideLst xmlns:p15="http://schemas.microsoft.com/office/powerpoint/2012/main">
        <p15:guide id="1" pos="2880">
          <p15:clr>
            <a:srgbClr val="FBAE40"/>
          </p15:clr>
        </p15:guide>
        <p15:guide id="2" pos="3624">
          <p15:clr>
            <a:srgbClr val="FBAE40"/>
          </p15:clr>
        </p15:guide>
        <p15:guide id="3" orient="horz" pos="162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文本占位符 7">
            <a:extLst>
              <a:ext uri="{FF2B5EF4-FFF2-40B4-BE49-F238E27FC236}">
                <a16:creationId xmlns:a16="http://schemas.microsoft.com/office/drawing/2014/main" id="{F4BB282E-F076-43BE-A1C1-715B9A8FD8FC}"/>
              </a:ext>
            </a:extLst>
          </p:cNvPr>
          <p:cNvSpPr>
            <a:spLocks noGrp="1"/>
          </p:cNvSpPr>
          <p:nvPr>
            <p:ph type="body" sz="quarter" idx="10" hasCustomPrompt="1"/>
          </p:nvPr>
        </p:nvSpPr>
        <p:spPr>
          <a:xfrm>
            <a:off x="731837" y="296865"/>
            <a:ext cx="11017251" cy="446087"/>
          </a:xfrm>
          <a:prstGeom prst="rect">
            <a:avLst/>
          </a:prstGeom>
        </p:spPr>
        <p:txBody>
          <a:bodyPr lIns="0" tIns="0" rIns="0" bIns="0"/>
          <a:lstStyle>
            <a:lvl1pPr>
              <a:defRPr sz="2600" b="1"/>
            </a:lvl1pPr>
          </a:lstStyle>
          <a:p>
            <a:pPr lvl="0"/>
            <a:r>
              <a:rPr lang="zh-CN" altLang="en-US" dirty="0"/>
              <a:t>输入文本</a:t>
            </a:r>
          </a:p>
        </p:txBody>
      </p:sp>
      <p:sp>
        <p:nvSpPr>
          <p:cNvPr id="8" name="文本占位符 7">
            <a:extLst>
              <a:ext uri="{FF2B5EF4-FFF2-40B4-BE49-F238E27FC236}">
                <a16:creationId xmlns:a16="http://schemas.microsoft.com/office/drawing/2014/main" id="{094C86BC-5DA9-478B-BA37-48BC71A4D224}"/>
              </a:ext>
            </a:extLst>
          </p:cNvPr>
          <p:cNvSpPr>
            <a:spLocks noGrp="1"/>
          </p:cNvSpPr>
          <p:nvPr>
            <p:ph type="body" sz="quarter" idx="11" hasCustomPrompt="1"/>
          </p:nvPr>
        </p:nvSpPr>
        <p:spPr>
          <a:xfrm>
            <a:off x="442914" y="6315282"/>
            <a:ext cx="8161657" cy="390319"/>
          </a:xfrm>
          <a:prstGeom prst="rect">
            <a:avLst/>
          </a:prstGeom>
        </p:spPr>
        <p:txBody>
          <a:bodyPr lIns="0" tIns="0" rIns="0" bIns="0" anchor="t" anchorCtr="0"/>
          <a:lstStyle>
            <a:lvl1pPr>
              <a:defRPr sz="600" b="0">
                <a:solidFill>
                  <a:schemeClr val="bg1"/>
                </a:solidFill>
              </a:defRPr>
            </a:lvl1pPr>
          </a:lstStyle>
          <a:p>
            <a:pPr lvl="0"/>
            <a:r>
              <a:rPr lang="zh-CN" altLang="en-US" dirty="0"/>
              <a:t>参考文献</a:t>
            </a:r>
          </a:p>
        </p:txBody>
      </p:sp>
    </p:spTree>
    <p:extLst>
      <p:ext uri="{BB962C8B-B14F-4D97-AF65-F5344CB8AC3E}">
        <p14:creationId xmlns:p14="http://schemas.microsoft.com/office/powerpoint/2010/main" val="391764604"/>
      </p:ext>
    </p:extLst>
  </p:cSld>
  <p:clrMapOvr>
    <a:masterClrMapping/>
  </p:clrMapOvr>
  <p:extLst>
    <p:ext uri="{DCECCB84-F9BA-43D5-87BE-67443E8EF086}">
      <p15:sldGuideLst xmlns:p15="http://schemas.microsoft.com/office/powerpoint/2012/main">
        <p15:guide id="1" pos="46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86833" y="605347"/>
            <a:ext cx="10102852" cy="430887"/>
          </a:xfrm>
        </p:spPr>
        <p:txBody>
          <a:bodyPr/>
          <a:lstStyle>
            <a:lvl1pPr>
              <a:defRPr sz="2800" baseline="0">
                <a:latin typeface="Arial" pitchFamily="34" charset="0"/>
                <a:ea typeface="微软雅黑" pitchFamily="34" charset="-122"/>
              </a:defRPr>
            </a:lvl1pPr>
          </a:lstStyle>
          <a:p>
            <a:r>
              <a:rPr lang="en-US" dirty="0"/>
              <a:t>Click to edit Master title style</a:t>
            </a:r>
          </a:p>
        </p:txBody>
      </p:sp>
      <p:sp>
        <p:nvSpPr>
          <p:cNvPr id="3" name="Content Placeholder 2"/>
          <p:cNvSpPr>
            <a:spLocks noGrp="1"/>
          </p:cNvSpPr>
          <p:nvPr>
            <p:ph idx="1"/>
          </p:nvPr>
        </p:nvSpPr>
        <p:spPr>
          <a:xfrm>
            <a:off x="486832" y="1121192"/>
            <a:ext cx="11218995" cy="4665773"/>
          </a:xfrm>
        </p:spPr>
        <p:txBody>
          <a:bodyPr/>
          <a:lstStyle>
            <a:lvl1pPr>
              <a:lnSpc>
                <a:spcPct val="120000"/>
              </a:lnSpc>
              <a:spcAft>
                <a:spcPts val="0"/>
              </a:spcAft>
              <a:defRPr sz="2000" baseline="0">
                <a:latin typeface="Arial" pitchFamily="34" charset="0"/>
                <a:ea typeface="微软雅黑" pitchFamily="34" charset="-122"/>
              </a:defRPr>
            </a:lvl1pPr>
            <a:lvl2pPr>
              <a:lnSpc>
                <a:spcPct val="120000"/>
              </a:lnSpc>
              <a:spcAft>
                <a:spcPts val="0"/>
              </a:spcAft>
              <a:defRPr baseline="0">
                <a:latin typeface="Arial" pitchFamily="34" charset="0"/>
                <a:ea typeface="微软雅黑" pitchFamily="34" charset="-122"/>
              </a:defRPr>
            </a:lvl2pPr>
            <a:lvl3pPr>
              <a:lnSpc>
                <a:spcPct val="120000"/>
              </a:lnSpc>
              <a:spcAft>
                <a:spcPts val="0"/>
              </a:spcAft>
              <a:defRPr baseline="0">
                <a:latin typeface="Arial" pitchFamily="34" charset="0"/>
                <a:ea typeface="微软雅黑" pitchFamily="34" charset="-122"/>
              </a:defRPr>
            </a:lvl3pPr>
            <a:lvl4pPr>
              <a:lnSpc>
                <a:spcPct val="120000"/>
              </a:lnSpc>
              <a:spcAft>
                <a:spcPts val="0"/>
              </a:spcAft>
              <a:defRPr baseline="0">
                <a:latin typeface="Arial" pitchFamily="34" charset="0"/>
                <a:ea typeface="微软雅黑" pitchFamily="34" charset="-122"/>
              </a:defRPr>
            </a:lvl4pPr>
            <a:lvl5pPr>
              <a:lnSpc>
                <a:spcPct val="120000"/>
              </a:lnSpc>
              <a:spcAft>
                <a:spcPts val="0"/>
              </a:spcAft>
              <a:defRPr baseline="0">
                <a:latin typeface="Arial" pitchFamily="34" charset="0"/>
                <a:ea typeface="微软雅黑" pitchFamily="34" charset="-122"/>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5"/>
          <p:cNvSpPr>
            <a:spLocks noGrp="1"/>
          </p:cNvSpPr>
          <p:nvPr>
            <p:ph type="body" sz="quarter" idx="18" hasCustomPrompt="1"/>
          </p:nvPr>
        </p:nvSpPr>
        <p:spPr>
          <a:xfrm>
            <a:off x="492758" y="6342618"/>
            <a:ext cx="11261093" cy="281872"/>
          </a:xfrm>
        </p:spPr>
        <p:txBody>
          <a:bodyPr wrap="square" anchor="b" anchorCtr="0">
            <a:spAutoFit/>
          </a:bodyPr>
          <a:lstStyle>
            <a:lvl1pPr marL="0" indent="0">
              <a:lnSpc>
                <a:spcPct val="120000"/>
              </a:lnSpc>
              <a:spcAft>
                <a:spcPts val="0"/>
              </a:spcAft>
              <a:buNone/>
              <a:defRPr sz="800" baseline="0">
                <a:latin typeface="Arial" pitchFamily="34" charset="0"/>
                <a:ea typeface="微软雅黑" pitchFamily="34" charset="-122"/>
              </a:defRPr>
            </a:lvl1pPr>
            <a:lvl2pPr marL="268163" indent="0">
              <a:buNone/>
              <a:defRPr sz="800"/>
            </a:lvl2pPr>
            <a:lvl3pPr marL="540000" indent="0">
              <a:buNone/>
              <a:defRPr sz="800"/>
            </a:lvl3pPr>
            <a:lvl4pPr marL="811088" indent="0">
              <a:buNone/>
              <a:defRPr sz="800"/>
            </a:lvl4pPr>
            <a:lvl5pPr marL="1080000" indent="0">
              <a:buNone/>
              <a:defRPr sz="800"/>
            </a:lvl5pPr>
          </a:lstStyle>
          <a:p>
            <a:pPr lvl="0"/>
            <a:r>
              <a:rPr lang="en-US" dirty="0"/>
              <a:t>Insert Source text here</a:t>
            </a:r>
          </a:p>
          <a:p>
            <a:pPr lvl="0"/>
            <a:endParaRPr lang="en-US" dirty="0"/>
          </a:p>
        </p:txBody>
      </p:sp>
    </p:spTree>
    <p:extLst>
      <p:ext uri="{BB962C8B-B14F-4D97-AF65-F5344CB8AC3E}">
        <p14:creationId xmlns:p14="http://schemas.microsoft.com/office/powerpoint/2010/main" val="318946819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4"/>
          <p:cNvSpPr>
            <a:spLocks noGrp="1" noChangeArrowheads="1"/>
          </p:cNvSpPr>
          <p:nvPr>
            <p:ph type="dt" sz="half" idx="10"/>
          </p:nvPr>
        </p:nvSpPr>
        <p:spPr>
          <a:xfrm>
            <a:off x="609600" y="6243638"/>
            <a:ext cx="2846917" cy="457200"/>
          </a:xfrm>
          <a:prstGeom prst="rect">
            <a:avLst/>
          </a:prstGeom>
        </p:spPr>
        <p:txBody>
          <a:bodyPr/>
          <a:lstStyle>
            <a:lvl1pPr fontAlgn="auto">
              <a:spcBef>
                <a:spcPts val="0"/>
              </a:spcBef>
              <a:spcAft>
                <a:spcPts val="0"/>
              </a:spcAft>
              <a:defRPr>
                <a:latin typeface="+mn-lt"/>
                <a:ea typeface="+mn-ea"/>
              </a:defRPr>
            </a:lvl1pPr>
          </a:lstStyle>
          <a:p>
            <a:pPr>
              <a:defRPr/>
            </a:pPr>
            <a:endParaRPr lang="en-GB" dirty="0"/>
          </a:p>
        </p:txBody>
      </p:sp>
      <p:sp>
        <p:nvSpPr>
          <p:cNvPr id="5" name="Rectangle 45"/>
          <p:cNvSpPr>
            <a:spLocks noGrp="1" noChangeArrowheads="1"/>
          </p:cNvSpPr>
          <p:nvPr>
            <p:ph type="ftr" sz="quarter" idx="11"/>
          </p:nvPr>
        </p:nvSpPr>
        <p:spPr>
          <a:xfrm>
            <a:off x="478869" y="6272003"/>
            <a:ext cx="3420032" cy="365125"/>
          </a:xfrm>
          <a:prstGeom prst="rect">
            <a:avLst/>
          </a:prstGeom>
        </p:spPr>
        <p:txBody>
          <a:bodyPr/>
          <a:lstStyle>
            <a:lvl1pPr>
              <a:defRPr/>
            </a:lvl1pPr>
          </a:lstStyle>
          <a:p>
            <a:pPr>
              <a:defRPr/>
            </a:pPr>
            <a:endParaRPr lang="en-GB" dirty="0"/>
          </a:p>
        </p:txBody>
      </p:sp>
      <p:sp>
        <p:nvSpPr>
          <p:cNvPr id="6" name="Rectangle 46"/>
          <p:cNvSpPr>
            <a:spLocks noGrp="1" noChangeArrowheads="1"/>
          </p:cNvSpPr>
          <p:nvPr>
            <p:ph type="sldNum" sz="quarter" idx="12"/>
          </p:nvPr>
        </p:nvSpPr>
        <p:spPr>
          <a:xfrm>
            <a:off x="10604041" y="6272003"/>
            <a:ext cx="1106831" cy="365125"/>
          </a:xfrm>
          <a:prstGeom prst="rect">
            <a:avLst/>
          </a:prstGeom>
        </p:spPr>
        <p:txBody>
          <a:bodyPr/>
          <a:lstStyle>
            <a:lvl1pPr>
              <a:defRPr/>
            </a:lvl1pPr>
          </a:lstStyle>
          <a:p>
            <a:pPr>
              <a:defRPr/>
            </a:pPr>
            <a:fld id="{A6A148E2-82F0-4B18-B8CA-68C4D1164AFE}" type="slidenum">
              <a:rPr lang="en-GB"/>
              <a:pPr>
                <a:defRPr/>
              </a:pPr>
              <a:t>‹#›</a:t>
            </a:fld>
            <a:endParaRPr lang="en-GB" dirty="0"/>
          </a:p>
        </p:txBody>
      </p:sp>
    </p:spTree>
    <p:extLst>
      <p:ext uri="{BB962C8B-B14F-4D97-AF65-F5344CB8AC3E}">
        <p14:creationId xmlns:p14="http://schemas.microsoft.com/office/powerpoint/2010/main" val="217090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5" name="Title 4"/>
          <p:cNvSpPr>
            <a:spLocks noGrp="1"/>
          </p:cNvSpPr>
          <p:nvPr>
            <p:ph type="title"/>
          </p:nvPr>
        </p:nvSpPr>
        <p:spPr>
          <a:xfrm>
            <a:off x="486834" y="46543"/>
            <a:ext cx="10102852" cy="586821"/>
          </a:xfrm>
          <a:prstGeom prst="rect">
            <a:avLst/>
          </a:prstGeom>
        </p:spPr>
        <p:txBody>
          <a:bodyPr/>
          <a:lstStyle/>
          <a:p>
            <a:r>
              <a:rPr lang="de-DE"/>
              <a:t>Titelmasterformat durch Klicken bearbeiten</a:t>
            </a:r>
            <a:endParaRPr lang="en-GB"/>
          </a:p>
        </p:txBody>
      </p:sp>
      <p:sp>
        <p:nvSpPr>
          <p:cNvPr id="10" name="Text Placeholder 2"/>
          <p:cNvSpPr>
            <a:spLocks noGrp="1"/>
          </p:cNvSpPr>
          <p:nvPr>
            <p:ph type="body" sz="quarter" idx="14" hasCustomPrompt="1"/>
          </p:nvPr>
        </p:nvSpPr>
        <p:spPr>
          <a:xfrm>
            <a:off x="486833" y="692554"/>
            <a:ext cx="10130368" cy="234950"/>
          </a:xfrm>
          <a:prstGeom prst="rect">
            <a:avLst/>
          </a:prstGeom>
        </p:spPr>
        <p:txBody>
          <a:bodyPr vert="horz" lIns="0" tIns="0" rIns="0" bIns="0" rtlCol="0" anchor="t" anchorCtr="0">
            <a:noAutofit/>
          </a:bodyPr>
          <a:lstStyle>
            <a:lvl1pPr marL="269946" indent="-269946">
              <a:buNone/>
              <a:defRPr lang="en-US" i="1" dirty="0" smtClean="0">
                <a:latin typeface="Georgia" panose="02040502050405020303" pitchFamily="18" charset="0"/>
              </a:defRPr>
            </a:lvl1pPr>
          </a:lstStyle>
          <a:p>
            <a:pPr marL="0" lvl="0" indent="0">
              <a:spcAft>
                <a:spcPts val="0"/>
              </a:spcAft>
            </a:pPr>
            <a:r>
              <a:rPr lang="en-US" dirty="0"/>
              <a:t>Subtitle here if required</a:t>
            </a:r>
          </a:p>
        </p:txBody>
      </p:sp>
      <p:sp>
        <p:nvSpPr>
          <p:cNvPr id="2" name="Date Placeholder 1"/>
          <p:cNvSpPr>
            <a:spLocks noGrp="1"/>
          </p:cNvSpPr>
          <p:nvPr>
            <p:ph type="dt" sz="half" idx="15"/>
          </p:nvPr>
        </p:nvSpPr>
        <p:spPr>
          <a:xfrm>
            <a:off x="3980330" y="6437315"/>
            <a:ext cx="4219640" cy="365125"/>
          </a:xfrm>
          <a:prstGeom prst="rect">
            <a:avLst/>
          </a:prstGeom>
        </p:spPr>
        <p:txBody>
          <a:bodyPr/>
          <a:lstStyle/>
          <a:p>
            <a:pPr algn="ctr"/>
            <a:endParaRPr lang="en-GB" dirty="0">
              <a:solidFill>
                <a:srgbClr val="544F40"/>
              </a:solidFill>
            </a:endParaRPr>
          </a:p>
        </p:txBody>
      </p:sp>
      <p:sp>
        <p:nvSpPr>
          <p:cNvPr id="3" name="Footer Placeholder 2"/>
          <p:cNvSpPr>
            <a:spLocks noGrp="1"/>
          </p:cNvSpPr>
          <p:nvPr>
            <p:ph type="ftr" sz="quarter" idx="16"/>
          </p:nvPr>
        </p:nvSpPr>
        <p:spPr>
          <a:xfrm>
            <a:off x="499535" y="6437315"/>
            <a:ext cx="3399367" cy="365125"/>
          </a:xfrm>
          <a:prstGeom prst="rect">
            <a:avLst/>
          </a:prstGeom>
        </p:spPr>
        <p:txBody>
          <a:bodyPr/>
          <a:lstStyle/>
          <a:p>
            <a:endParaRPr lang="en-GB" dirty="0">
              <a:solidFill>
                <a:srgbClr val="544F40"/>
              </a:solidFill>
            </a:endParaRPr>
          </a:p>
        </p:txBody>
      </p:sp>
      <p:sp>
        <p:nvSpPr>
          <p:cNvPr id="4" name="Slide Number Placeholder 3"/>
          <p:cNvSpPr>
            <a:spLocks noGrp="1"/>
          </p:cNvSpPr>
          <p:nvPr>
            <p:ph type="sldNum" sz="quarter" idx="17"/>
          </p:nvPr>
        </p:nvSpPr>
        <p:spPr>
          <a:xfrm>
            <a:off x="10606804" y="6437315"/>
            <a:ext cx="1106831" cy="365125"/>
          </a:xfrm>
          <a:prstGeom prst="rect">
            <a:avLst/>
          </a:prstGeom>
        </p:spPr>
        <p:txBody>
          <a:bodyPr/>
          <a:lstStyle/>
          <a:p>
            <a:fld id="{9F9F533D-B52E-4A2F-BF72-0ADD2D94BD75}" type="slidenum">
              <a:rPr lang="en-GB" smtClean="0">
                <a:solidFill>
                  <a:srgbClr val="544F40"/>
                </a:solidFill>
              </a:rPr>
              <a:pPr/>
              <a:t>‹#›</a:t>
            </a:fld>
            <a:endParaRPr lang="en-GB" dirty="0">
              <a:solidFill>
                <a:srgbClr val="544F40"/>
              </a:solidFill>
            </a:endParaRPr>
          </a:p>
        </p:txBody>
      </p:sp>
    </p:spTree>
    <p:extLst>
      <p:ext uri="{BB962C8B-B14F-4D97-AF65-F5344CB8AC3E}">
        <p14:creationId xmlns:p14="http://schemas.microsoft.com/office/powerpoint/2010/main" val="4648711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带标题的正文页">
    <p:spTree>
      <p:nvGrpSpPr>
        <p:cNvPr id="1" name=""/>
        <p:cNvGrpSpPr/>
        <p:nvPr/>
      </p:nvGrpSpPr>
      <p:grpSpPr>
        <a:xfrm>
          <a:off x="0" y="0"/>
          <a:ext cx="0" cy="0"/>
          <a:chOff x="0" y="0"/>
          <a:chExt cx="0" cy="0"/>
        </a:xfrm>
      </p:grpSpPr>
      <p:sp>
        <p:nvSpPr>
          <p:cNvPr id="2" name="Title 1"/>
          <p:cNvSpPr>
            <a:spLocks noGrp="1"/>
          </p:cNvSpPr>
          <p:nvPr>
            <p:ph type="title"/>
          </p:nvPr>
        </p:nvSpPr>
        <p:spPr>
          <a:xfrm>
            <a:off x="397806" y="156432"/>
            <a:ext cx="11402239" cy="965603"/>
          </a:xfrm>
          <a:prstGeom prst="rect">
            <a:avLst/>
          </a:prstGeom>
        </p:spPr>
        <p:txBody>
          <a:bodyPr anchor="ctr" anchorCtr="0">
            <a:noAutofit/>
          </a:bodyPr>
          <a:lstStyle>
            <a:lvl1pPr>
              <a:defRPr sz="2135" baseline="0">
                <a:latin typeface="Calibri" panose="020F0502020204030204" pitchFamily="34" charset="0"/>
                <a:ea typeface="黑体" panose="02010609060101010101" pitchFamily="49" charset="-122"/>
              </a:defRPr>
            </a:lvl1pPr>
          </a:lstStyle>
          <a:p>
            <a:endParaRPr lang="en-US" dirty="0"/>
          </a:p>
        </p:txBody>
      </p:sp>
      <p:grpSp>
        <p:nvGrpSpPr>
          <p:cNvPr id="4" name="组 32"/>
          <p:cNvGrpSpPr/>
          <p:nvPr userDrawn="1"/>
        </p:nvGrpSpPr>
        <p:grpSpPr>
          <a:xfrm>
            <a:off x="0" y="1271699"/>
            <a:ext cx="11612379" cy="79947"/>
            <a:chOff x="-487180" y="594545"/>
            <a:chExt cx="8709284" cy="59960"/>
          </a:xfrm>
        </p:grpSpPr>
        <p:cxnSp>
          <p:nvCxnSpPr>
            <p:cNvPr id="6" name="直线连接符 34"/>
            <p:cNvCxnSpPr/>
            <p:nvPr/>
          </p:nvCxnSpPr>
          <p:spPr>
            <a:xfrm>
              <a:off x="-487180" y="624525"/>
              <a:ext cx="8649324" cy="0"/>
            </a:xfrm>
            <a:prstGeom prst="line">
              <a:avLst/>
            </a:prstGeom>
            <a:ln w="9525">
              <a:solidFill>
                <a:srgbClr val="3F752E"/>
              </a:solidFill>
              <a:prstDash val="solid"/>
            </a:ln>
          </p:spPr>
          <p:style>
            <a:lnRef idx="1">
              <a:schemeClr val="accent1"/>
            </a:lnRef>
            <a:fillRef idx="0">
              <a:schemeClr val="accent1"/>
            </a:fillRef>
            <a:effectRef idx="0">
              <a:schemeClr val="accent1"/>
            </a:effectRef>
            <a:fontRef idx="minor">
              <a:schemeClr val="tx1"/>
            </a:fontRef>
          </p:style>
        </p:cxnSp>
        <p:sp>
          <p:nvSpPr>
            <p:cNvPr id="7" name="椭圆 6"/>
            <p:cNvSpPr/>
            <p:nvPr/>
          </p:nvSpPr>
          <p:spPr>
            <a:xfrm flipV="1">
              <a:off x="8162144" y="594545"/>
              <a:ext cx="59960" cy="59960"/>
            </a:xfrm>
            <a:prstGeom prst="ellipse">
              <a:avLst/>
            </a:prstGeom>
            <a:solidFill>
              <a:srgbClr val="3F752E"/>
            </a:solidFill>
            <a:ln w="0">
              <a:solidFill>
                <a:srgbClr val="3F75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1" lang="zh-CN" altLang="en-US" sz="240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mn-cs"/>
              </a:endParaRPr>
            </a:p>
          </p:txBody>
        </p:sp>
      </p:grpSp>
      <p:sp>
        <p:nvSpPr>
          <p:cNvPr id="8" name="灯片编号占位符 1"/>
          <p:cNvSpPr>
            <a:spLocks noGrp="1"/>
          </p:cNvSpPr>
          <p:nvPr>
            <p:ph type="sldNum" sz="quarter" idx="4"/>
          </p:nvPr>
        </p:nvSpPr>
        <p:spPr>
          <a:xfrm>
            <a:off x="11743508" y="6550978"/>
            <a:ext cx="465371" cy="302631"/>
          </a:xfrm>
          <a:prstGeom prst="rect">
            <a:avLst/>
          </a:prstGeom>
        </p:spPr>
        <p:txBody>
          <a:bodyPr vert="horz" lIns="91440" tIns="45720" rIns="91440" bIns="45720" rtlCol="0" anchor="ctr"/>
          <a:lstStyle>
            <a:lvl1pPr algn="ctr">
              <a:defRPr sz="1335">
                <a:solidFill>
                  <a:schemeClr val="tx1">
                    <a:tint val="75000"/>
                  </a:schemeClr>
                </a:solidFill>
                <a:latin typeface="+mn-lt"/>
              </a:defRPr>
            </a:lvl1pPr>
          </a:lstStyle>
          <a:p>
            <a:pPr defTabSz="1219200">
              <a:defRPr/>
            </a:pPr>
            <a:fld id="{793483D4-904F-4E1B-A709-F416554DD232}" type="slidenum">
              <a:rPr lang="zh-CN" altLang="en-US" smtClean="0">
                <a:solidFill>
                  <a:srgbClr val="424242">
                    <a:tint val="75000"/>
                  </a:srgbClr>
                </a:solidFill>
              </a:rPr>
              <a:t>‹#›</a:t>
            </a:fld>
            <a:endParaRPr lang="zh-CN" altLang="en-US" dirty="0">
              <a:solidFill>
                <a:srgbClr val="424242">
                  <a:tint val="75000"/>
                </a:srgbClr>
              </a:solidFill>
            </a:endParaRPr>
          </a:p>
        </p:txBody>
      </p:sp>
    </p:spTree>
    <p:extLst>
      <p:ext uri="{BB962C8B-B14F-4D97-AF65-F5344CB8AC3E}">
        <p14:creationId xmlns:p14="http://schemas.microsoft.com/office/powerpoint/2010/main" val="371782878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4" name="灯片编号占位符 1"/>
          <p:cNvSpPr>
            <a:spLocks noGrp="1"/>
          </p:cNvSpPr>
          <p:nvPr>
            <p:ph type="sldNum" sz="quarter" idx="4"/>
          </p:nvPr>
        </p:nvSpPr>
        <p:spPr>
          <a:xfrm>
            <a:off x="11743508" y="6550978"/>
            <a:ext cx="465371" cy="302631"/>
          </a:xfrm>
          <a:prstGeom prst="rect">
            <a:avLst/>
          </a:prstGeom>
        </p:spPr>
        <p:txBody>
          <a:bodyPr vert="horz" lIns="91440" tIns="45720" rIns="91440" bIns="45720" rtlCol="0" anchor="ctr"/>
          <a:lstStyle>
            <a:lvl1pPr algn="ctr">
              <a:defRPr sz="1335">
                <a:solidFill>
                  <a:schemeClr val="tx1">
                    <a:tint val="75000"/>
                  </a:schemeClr>
                </a:solidFill>
                <a:latin typeface="+mn-lt"/>
              </a:defRPr>
            </a:lvl1pPr>
          </a:lstStyle>
          <a:p>
            <a:pPr defTabSz="1219200">
              <a:defRPr/>
            </a:pPr>
            <a:fld id="{793483D4-904F-4E1B-A709-F416554DD232}" type="slidenum">
              <a:rPr lang="zh-CN" altLang="en-US" smtClean="0">
                <a:solidFill>
                  <a:srgbClr val="424242">
                    <a:tint val="75000"/>
                  </a:srgbClr>
                </a:solidFill>
              </a:rPr>
              <a:t>‹#›</a:t>
            </a:fld>
            <a:endParaRPr lang="zh-CN" altLang="en-US" dirty="0">
              <a:solidFill>
                <a:srgbClr val="424242">
                  <a:tint val="75000"/>
                </a:srgbClr>
              </a:solidFill>
            </a:endParaRPr>
          </a:p>
        </p:txBody>
      </p:sp>
    </p:spTree>
    <p:extLst>
      <p:ext uri="{BB962C8B-B14F-4D97-AF65-F5344CB8AC3E}">
        <p14:creationId xmlns:p14="http://schemas.microsoft.com/office/powerpoint/2010/main" val="155134728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97806" y="156432"/>
            <a:ext cx="11402239" cy="965603"/>
          </a:xfrm>
          <a:prstGeom prst="rect">
            <a:avLst/>
          </a:prstGeom>
        </p:spPr>
        <p:txBody>
          <a:bodyPr anchor="ctr" anchorCtr="0">
            <a:noAutofit/>
          </a:bodyPr>
          <a:lstStyle>
            <a:lvl1pPr>
              <a:defRPr sz="2135" baseline="0">
                <a:latin typeface="Calibri" panose="020F0502020204030204" pitchFamily="34" charset="0"/>
                <a:ea typeface="黑体" panose="02010609060101010101" pitchFamily="49" charset="-122"/>
              </a:defRPr>
            </a:lvl1pPr>
          </a:lstStyle>
          <a:p>
            <a:endParaRPr lang="en-US" dirty="0"/>
          </a:p>
        </p:txBody>
      </p:sp>
      <p:sp>
        <p:nvSpPr>
          <p:cNvPr id="5" name="Slide Number Placeholder 5"/>
          <p:cNvSpPr>
            <a:spLocks noGrp="1"/>
          </p:cNvSpPr>
          <p:nvPr>
            <p:ph type="sldNum" sz="quarter" idx="4"/>
          </p:nvPr>
        </p:nvSpPr>
        <p:spPr>
          <a:xfrm>
            <a:off x="9372264" y="6548717"/>
            <a:ext cx="2743200" cy="309283"/>
          </a:xfrm>
          <a:prstGeom prst="rect">
            <a:avLst/>
          </a:prstGeom>
        </p:spPr>
        <p:txBody>
          <a:bodyPr vert="horz" lIns="91440" tIns="45720" rIns="91440" bIns="45720" rtlCol="0" anchor="ctr"/>
          <a:lstStyle>
            <a:lvl1pPr algn="r">
              <a:defRPr sz="1065">
                <a:solidFill>
                  <a:schemeClr val="tx1">
                    <a:tint val="75000"/>
                  </a:schemeClr>
                </a:solidFill>
                <a:latin typeface="Myriad Pro" charset="0"/>
                <a:ea typeface="Myriad Pro" charset="0"/>
                <a:cs typeface="Myriad Pro" charset="0"/>
              </a:defRPr>
            </a:lvl1pPr>
          </a:lstStyle>
          <a:p>
            <a:pPr defTabSz="1219200">
              <a:defRPr/>
            </a:pPr>
            <a:fld id="{48F63A3B-78C7-47BE-AE5E-E10140E04643}" type="slidenum">
              <a:rPr lang="en-US" smtClean="0">
                <a:solidFill>
                  <a:srgbClr val="424242">
                    <a:tint val="75000"/>
                  </a:srgbClr>
                </a:solidFill>
              </a:rPr>
              <a:t>‹#›</a:t>
            </a:fld>
            <a:endParaRPr lang="en-US" dirty="0">
              <a:solidFill>
                <a:srgbClr val="424242">
                  <a:tint val="75000"/>
                </a:srgbClr>
              </a:solidFill>
            </a:endParaRPr>
          </a:p>
        </p:txBody>
      </p:sp>
      <p:grpSp>
        <p:nvGrpSpPr>
          <p:cNvPr id="8" name="组 11"/>
          <p:cNvGrpSpPr/>
          <p:nvPr userDrawn="1"/>
        </p:nvGrpSpPr>
        <p:grpSpPr>
          <a:xfrm>
            <a:off x="1" y="1157144"/>
            <a:ext cx="11612379" cy="79947"/>
            <a:chOff x="-487180" y="594545"/>
            <a:chExt cx="8709284" cy="59960"/>
          </a:xfrm>
        </p:grpSpPr>
        <p:cxnSp>
          <p:nvCxnSpPr>
            <p:cNvPr id="9" name="直线连接符 12"/>
            <p:cNvCxnSpPr/>
            <p:nvPr/>
          </p:nvCxnSpPr>
          <p:spPr>
            <a:xfrm>
              <a:off x="-487180" y="624525"/>
              <a:ext cx="8649324" cy="0"/>
            </a:xfrm>
            <a:prstGeom prst="line">
              <a:avLst/>
            </a:prstGeom>
            <a:ln w="9525">
              <a:solidFill>
                <a:srgbClr val="3F752E"/>
              </a:solidFill>
              <a:prstDash val="solid"/>
            </a:ln>
          </p:spPr>
          <p:style>
            <a:lnRef idx="1">
              <a:schemeClr val="accent1"/>
            </a:lnRef>
            <a:fillRef idx="0">
              <a:schemeClr val="accent1"/>
            </a:fillRef>
            <a:effectRef idx="0">
              <a:schemeClr val="accent1"/>
            </a:effectRef>
            <a:fontRef idx="minor">
              <a:schemeClr val="tx1"/>
            </a:fontRef>
          </p:style>
        </p:cxnSp>
        <p:sp>
          <p:nvSpPr>
            <p:cNvPr id="10" name="椭圆 9"/>
            <p:cNvSpPr/>
            <p:nvPr/>
          </p:nvSpPr>
          <p:spPr>
            <a:xfrm flipV="1">
              <a:off x="8162144" y="594545"/>
              <a:ext cx="59960" cy="59960"/>
            </a:xfrm>
            <a:prstGeom prst="ellipse">
              <a:avLst/>
            </a:prstGeom>
            <a:solidFill>
              <a:srgbClr val="3F752E"/>
            </a:solidFill>
            <a:ln w="0">
              <a:solidFill>
                <a:srgbClr val="3F75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35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Arial" panose="020B0604020202020204" pitchFamily="34" charset="0"/>
              </a:endParaRPr>
            </a:p>
          </p:txBody>
        </p:sp>
      </p:grpSp>
    </p:spTree>
    <p:extLst>
      <p:ext uri="{BB962C8B-B14F-4D97-AF65-F5344CB8AC3E}">
        <p14:creationId xmlns:p14="http://schemas.microsoft.com/office/powerpoint/2010/main" val="41004388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787220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带标题的正文页">
    <p:spTree>
      <p:nvGrpSpPr>
        <p:cNvPr id="1" name=""/>
        <p:cNvGrpSpPr/>
        <p:nvPr/>
      </p:nvGrpSpPr>
      <p:grpSpPr>
        <a:xfrm>
          <a:off x="0" y="0"/>
          <a:ext cx="0" cy="0"/>
          <a:chOff x="0" y="0"/>
          <a:chExt cx="0" cy="0"/>
        </a:xfrm>
      </p:grpSpPr>
      <p:sp>
        <p:nvSpPr>
          <p:cNvPr id="2" name="Title 1"/>
          <p:cNvSpPr>
            <a:spLocks noGrp="1"/>
          </p:cNvSpPr>
          <p:nvPr>
            <p:ph type="title"/>
          </p:nvPr>
        </p:nvSpPr>
        <p:spPr>
          <a:xfrm>
            <a:off x="397806" y="156432"/>
            <a:ext cx="11402239" cy="965603"/>
          </a:xfrm>
          <a:prstGeom prst="rect">
            <a:avLst/>
          </a:prstGeom>
        </p:spPr>
        <p:txBody>
          <a:bodyPr anchor="ctr" anchorCtr="0">
            <a:noAutofit/>
          </a:bodyPr>
          <a:lstStyle>
            <a:lvl1pPr>
              <a:defRPr sz="2135" baseline="0">
                <a:latin typeface="Calibri" panose="020F0502020204030204" pitchFamily="34" charset="0"/>
                <a:ea typeface="黑体" panose="02010609060101010101" pitchFamily="49" charset="-122"/>
              </a:defRPr>
            </a:lvl1pPr>
          </a:lstStyle>
          <a:p>
            <a:endParaRPr lang="en-US" dirty="0"/>
          </a:p>
        </p:txBody>
      </p:sp>
      <p:grpSp>
        <p:nvGrpSpPr>
          <p:cNvPr id="4" name="组 32"/>
          <p:cNvGrpSpPr/>
          <p:nvPr userDrawn="1"/>
        </p:nvGrpSpPr>
        <p:grpSpPr>
          <a:xfrm>
            <a:off x="0" y="1271699"/>
            <a:ext cx="11612379" cy="79947"/>
            <a:chOff x="-487180" y="594545"/>
            <a:chExt cx="8709284" cy="59960"/>
          </a:xfrm>
        </p:grpSpPr>
        <p:cxnSp>
          <p:nvCxnSpPr>
            <p:cNvPr id="6" name="直线连接符 34"/>
            <p:cNvCxnSpPr/>
            <p:nvPr/>
          </p:nvCxnSpPr>
          <p:spPr>
            <a:xfrm>
              <a:off x="-487180" y="624525"/>
              <a:ext cx="8649324" cy="0"/>
            </a:xfrm>
            <a:prstGeom prst="line">
              <a:avLst/>
            </a:prstGeom>
            <a:ln w="9525">
              <a:solidFill>
                <a:srgbClr val="3F752E"/>
              </a:solidFill>
              <a:prstDash val="solid"/>
            </a:ln>
          </p:spPr>
          <p:style>
            <a:lnRef idx="1">
              <a:schemeClr val="accent1"/>
            </a:lnRef>
            <a:fillRef idx="0">
              <a:schemeClr val="accent1"/>
            </a:fillRef>
            <a:effectRef idx="0">
              <a:schemeClr val="accent1"/>
            </a:effectRef>
            <a:fontRef idx="minor">
              <a:schemeClr val="tx1"/>
            </a:fontRef>
          </p:style>
        </p:cxnSp>
        <p:sp>
          <p:nvSpPr>
            <p:cNvPr id="7" name="椭圆 6"/>
            <p:cNvSpPr/>
            <p:nvPr/>
          </p:nvSpPr>
          <p:spPr>
            <a:xfrm flipV="1">
              <a:off x="8162144" y="594545"/>
              <a:ext cx="59960" cy="59960"/>
            </a:xfrm>
            <a:prstGeom prst="ellipse">
              <a:avLst/>
            </a:prstGeom>
            <a:solidFill>
              <a:srgbClr val="3F752E"/>
            </a:solidFill>
            <a:ln w="0">
              <a:solidFill>
                <a:srgbClr val="3F75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200" rtl="0" eaLnBrk="1" fontAlgn="auto" latinLnBrk="0" hangingPunct="1">
                <a:lnSpc>
                  <a:spcPct val="100000"/>
                </a:lnSpc>
                <a:spcBef>
                  <a:spcPts val="0"/>
                </a:spcBef>
                <a:spcAft>
                  <a:spcPts val="0"/>
                </a:spcAft>
                <a:buClrTx/>
                <a:buSzTx/>
                <a:buFontTx/>
                <a:buNone/>
                <a:defRPr/>
              </a:pPr>
              <a:endParaRPr kumimoji="1" lang="zh-CN" altLang="en-US" sz="240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mn-cs"/>
              </a:endParaRPr>
            </a:p>
          </p:txBody>
        </p:sp>
      </p:grpSp>
      <p:sp>
        <p:nvSpPr>
          <p:cNvPr id="8" name="灯片编号占位符 1"/>
          <p:cNvSpPr>
            <a:spLocks noGrp="1"/>
          </p:cNvSpPr>
          <p:nvPr>
            <p:ph type="sldNum" sz="quarter" idx="4"/>
          </p:nvPr>
        </p:nvSpPr>
        <p:spPr>
          <a:xfrm>
            <a:off x="11743508" y="6550978"/>
            <a:ext cx="465371" cy="302631"/>
          </a:xfrm>
          <a:prstGeom prst="rect">
            <a:avLst/>
          </a:prstGeom>
        </p:spPr>
        <p:txBody>
          <a:bodyPr vert="horz" lIns="91440" tIns="45720" rIns="91440" bIns="45720" rtlCol="0" anchor="ctr"/>
          <a:lstStyle>
            <a:lvl1pPr algn="ctr">
              <a:defRPr sz="1335">
                <a:solidFill>
                  <a:schemeClr val="tx1">
                    <a:tint val="75000"/>
                  </a:schemeClr>
                </a:solidFill>
                <a:latin typeface="+mn-lt"/>
              </a:defRPr>
            </a:lvl1pPr>
          </a:lstStyle>
          <a:p>
            <a:pPr defTabSz="1219200">
              <a:defRPr/>
            </a:pPr>
            <a:fld id="{793483D4-904F-4E1B-A709-F416554DD232}" type="slidenum">
              <a:rPr lang="zh-CN" altLang="en-US" smtClean="0">
                <a:solidFill>
                  <a:srgbClr val="424242">
                    <a:tint val="75000"/>
                  </a:srgbClr>
                </a:solidFill>
              </a:rPr>
              <a:t>‹#›</a:t>
            </a:fld>
            <a:endParaRPr lang="zh-CN" altLang="en-US" dirty="0">
              <a:solidFill>
                <a:srgbClr val="424242">
                  <a:tint val="75000"/>
                </a:srgbClr>
              </a:solidFill>
            </a:endParaRPr>
          </a:p>
        </p:txBody>
      </p:sp>
    </p:spTree>
    <p:extLst>
      <p:ext uri="{BB962C8B-B14F-4D97-AF65-F5344CB8AC3E}">
        <p14:creationId xmlns:p14="http://schemas.microsoft.com/office/powerpoint/2010/main" val="6386094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
        <p:nvSpPr>
          <p:cNvPr id="4" name="灯片编号占位符 1"/>
          <p:cNvSpPr>
            <a:spLocks noGrp="1"/>
          </p:cNvSpPr>
          <p:nvPr>
            <p:ph type="sldNum" sz="quarter" idx="4"/>
          </p:nvPr>
        </p:nvSpPr>
        <p:spPr>
          <a:xfrm>
            <a:off x="11743508" y="6550978"/>
            <a:ext cx="465371" cy="302631"/>
          </a:xfrm>
          <a:prstGeom prst="rect">
            <a:avLst/>
          </a:prstGeom>
        </p:spPr>
        <p:txBody>
          <a:bodyPr vert="horz" lIns="91440" tIns="45720" rIns="91440" bIns="45720" rtlCol="0" anchor="ctr"/>
          <a:lstStyle>
            <a:lvl1pPr algn="ctr">
              <a:defRPr sz="1335">
                <a:solidFill>
                  <a:schemeClr val="tx1">
                    <a:tint val="75000"/>
                  </a:schemeClr>
                </a:solidFill>
                <a:latin typeface="+mn-lt"/>
              </a:defRPr>
            </a:lvl1pPr>
          </a:lstStyle>
          <a:p>
            <a:pPr defTabSz="1219200">
              <a:defRPr/>
            </a:pPr>
            <a:fld id="{793483D4-904F-4E1B-A709-F416554DD232}" type="slidenum">
              <a:rPr lang="zh-CN" altLang="en-US" smtClean="0">
                <a:solidFill>
                  <a:srgbClr val="424242">
                    <a:tint val="75000"/>
                  </a:srgbClr>
                </a:solidFill>
              </a:rPr>
              <a:t>‹#›</a:t>
            </a:fld>
            <a:endParaRPr lang="zh-CN" altLang="en-US" dirty="0">
              <a:solidFill>
                <a:srgbClr val="424242">
                  <a:tint val="75000"/>
                </a:srgbClr>
              </a:solidFill>
            </a:endParaRPr>
          </a:p>
        </p:txBody>
      </p:sp>
    </p:spTree>
    <p:extLst>
      <p:ext uri="{BB962C8B-B14F-4D97-AF65-F5344CB8AC3E}">
        <p14:creationId xmlns:p14="http://schemas.microsoft.com/office/powerpoint/2010/main" val="319230831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97806" y="156432"/>
            <a:ext cx="11402239" cy="965603"/>
          </a:xfrm>
          <a:prstGeom prst="rect">
            <a:avLst/>
          </a:prstGeom>
        </p:spPr>
        <p:txBody>
          <a:bodyPr anchor="ctr" anchorCtr="0">
            <a:noAutofit/>
          </a:bodyPr>
          <a:lstStyle>
            <a:lvl1pPr>
              <a:defRPr sz="2135" baseline="0">
                <a:latin typeface="Calibri" panose="020F0502020204030204" pitchFamily="34" charset="0"/>
                <a:ea typeface="黑体" panose="02010609060101010101" pitchFamily="49" charset="-122"/>
              </a:defRPr>
            </a:lvl1pPr>
          </a:lstStyle>
          <a:p>
            <a:endParaRPr lang="en-US" dirty="0"/>
          </a:p>
        </p:txBody>
      </p:sp>
      <p:sp>
        <p:nvSpPr>
          <p:cNvPr id="5" name="Slide Number Placeholder 5"/>
          <p:cNvSpPr>
            <a:spLocks noGrp="1"/>
          </p:cNvSpPr>
          <p:nvPr>
            <p:ph type="sldNum" sz="quarter" idx="4"/>
          </p:nvPr>
        </p:nvSpPr>
        <p:spPr>
          <a:xfrm>
            <a:off x="9372264" y="6548717"/>
            <a:ext cx="2743200" cy="309283"/>
          </a:xfrm>
          <a:prstGeom prst="rect">
            <a:avLst/>
          </a:prstGeom>
        </p:spPr>
        <p:txBody>
          <a:bodyPr vert="horz" lIns="91440" tIns="45720" rIns="91440" bIns="45720" rtlCol="0" anchor="ctr"/>
          <a:lstStyle>
            <a:lvl1pPr algn="r">
              <a:defRPr sz="1065">
                <a:solidFill>
                  <a:schemeClr val="tx1">
                    <a:tint val="75000"/>
                  </a:schemeClr>
                </a:solidFill>
                <a:latin typeface="Myriad Pro" charset="0"/>
                <a:ea typeface="Myriad Pro" charset="0"/>
                <a:cs typeface="Myriad Pro" charset="0"/>
              </a:defRPr>
            </a:lvl1pPr>
          </a:lstStyle>
          <a:p>
            <a:pPr defTabSz="1219200">
              <a:defRPr/>
            </a:pPr>
            <a:fld id="{48F63A3B-78C7-47BE-AE5E-E10140E04643}" type="slidenum">
              <a:rPr lang="en-US" smtClean="0">
                <a:solidFill>
                  <a:srgbClr val="424242">
                    <a:tint val="75000"/>
                  </a:srgbClr>
                </a:solidFill>
              </a:rPr>
              <a:t>‹#›</a:t>
            </a:fld>
            <a:endParaRPr lang="en-US" dirty="0">
              <a:solidFill>
                <a:srgbClr val="424242">
                  <a:tint val="75000"/>
                </a:srgbClr>
              </a:solidFill>
            </a:endParaRPr>
          </a:p>
        </p:txBody>
      </p:sp>
      <p:grpSp>
        <p:nvGrpSpPr>
          <p:cNvPr id="8" name="组 11"/>
          <p:cNvGrpSpPr/>
          <p:nvPr userDrawn="1"/>
        </p:nvGrpSpPr>
        <p:grpSpPr>
          <a:xfrm>
            <a:off x="1" y="1157144"/>
            <a:ext cx="11612379" cy="79947"/>
            <a:chOff x="-487180" y="594545"/>
            <a:chExt cx="8709284" cy="59960"/>
          </a:xfrm>
        </p:grpSpPr>
        <p:cxnSp>
          <p:nvCxnSpPr>
            <p:cNvPr id="9" name="直线连接符 12"/>
            <p:cNvCxnSpPr/>
            <p:nvPr/>
          </p:nvCxnSpPr>
          <p:spPr>
            <a:xfrm>
              <a:off x="-487180" y="624525"/>
              <a:ext cx="8649324" cy="0"/>
            </a:xfrm>
            <a:prstGeom prst="line">
              <a:avLst/>
            </a:prstGeom>
            <a:ln w="9525">
              <a:solidFill>
                <a:srgbClr val="3F752E"/>
              </a:solidFill>
              <a:prstDash val="solid"/>
            </a:ln>
          </p:spPr>
          <p:style>
            <a:lnRef idx="1">
              <a:schemeClr val="accent1"/>
            </a:lnRef>
            <a:fillRef idx="0">
              <a:schemeClr val="accent1"/>
            </a:fillRef>
            <a:effectRef idx="0">
              <a:schemeClr val="accent1"/>
            </a:effectRef>
            <a:fontRef idx="minor">
              <a:schemeClr val="tx1"/>
            </a:fontRef>
          </p:style>
        </p:cxnSp>
        <p:sp>
          <p:nvSpPr>
            <p:cNvPr id="10" name="椭圆 9"/>
            <p:cNvSpPr/>
            <p:nvPr/>
          </p:nvSpPr>
          <p:spPr>
            <a:xfrm flipV="1">
              <a:off x="8162144" y="594545"/>
              <a:ext cx="59960" cy="59960"/>
            </a:xfrm>
            <a:prstGeom prst="ellipse">
              <a:avLst/>
            </a:prstGeom>
            <a:solidFill>
              <a:srgbClr val="3F752E"/>
            </a:solidFill>
            <a:ln w="0">
              <a:solidFill>
                <a:srgbClr val="3F752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zh-CN" altLang="en-US" sz="135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Arial" panose="020B0604020202020204" pitchFamily="34" charset="0"/>
              </a:endParaRPr>
            </a:p>
          </p:txBody>
        </p:sp>
      </p:grpSp>
    </p:spTree>
    <p:extLst>
      <p:ext uri="{BB962C8B-B14F-4D97-AF65-F5344CB8AC3E}">
        <p14:creationId xmlns:p14="http://schemas.microsoft.com/office/powerpoint/2010/main" val="178390080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cSld name="1_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234621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sp>
        <p:nvSpPr>
          <p:cNvPr id="5" name="标题 4"/>
          <p:cNvSpPr>
            <a:spLocks noGrp="1"/>
          </p:cNvSpPr>
          <p:nvPr>
            <p:ph type="title"/>
          </p:nvPr>
        </p:nvSpPr>
        <p:spPr>
          <a:xfrm>
            <a:off x="1016000" y="365126"/>
            <a:ext cx="10337799" cy="587216"/>
          </a:xfrm>
          <a:prstGeom prst="rect">
            <a:avLst/>
          </a:prstGeom>
        </p:spPr>
        <p:txBody>
          <a:bodyPr anchor="ctr"/>
          <a:lstStyle>
            <a:lvl1pPr algn="l" defTabSz="914400" rtl="0" eaLnBrk="1" latinLnBrk="0" hangingPunct="1">
              <a:lnSpc>
                <a:spcPct val="90000"/>
              </a:lnSpc>
              <a:spcBef>
                <a:spcPct val="0"/>
              </a:spcBef>
              <a:buNone/>
              <a:defRPr lang="zh-CN" altLang="en-US" sz="2800" b="1" kern="0" dirty="0">
                <a:solidFill>
                  <a:prstClr val="black">
                    <a:lumMod val="85000"/>
                    <a:lumOff val="15000"/>
                  </a:prstClr>
                </a:solidFill>
                <a:latin typeface="Arial" panose="020B0604020202020204" pitchFamily="34" charset="0"/>
                <a:ea typeface="微软雅黑" panose="020B0503020204020204" pitchFamily="34" charset="-122"/>
                <a:cs typeface="+mj-cs"/>
              </a:defRPr>
            </a:lvl1pPr>
          </a:lstStyle>
          <a:p>
            <a:r>
              <a:rPr lang="zh-CN" altLang="en-US" dirty="0"/>
              <a:t>单击此处编辑母版标题样式</a:t>
            </a:r>
          </a:p>
        </p:txBody>
      </p:sp>
      <p:pic>
        <p:nvPicPr>
          <p:cNvPr id="4" name="Graphic 3">
            <a:extLst>
              <a:ext uri="{FF2B5EF4-FFF2-40B4-BE49-F238E27FC236}">
                <a16:creationId xmlns:a16="http://schemas.microsoft.com/office/drawing/2014/main" id="{D54849F8-F0F7-4754-821F-F314521498F4}"/>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353799" y="105668"/>
            <a:ext cx="748166" cy="225529"/>
          </a:xfrm>
          <a:prstGeom prst="rect">
            <a:avLst/>
          </a:prstGeom>
        </p:spPr>
      </p:pic>
    </p:spTree>
    <p:extLst>
      <p:ext uri="{BB962C8B-B14F-4D97-AF65-F5344CB8AC3E}">
        <p14:creationId xmlns:p14="http://schemas.microsoft.com/office/powerpoint/2010/main" val="101777173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18" name="Picture 17"/>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1" y="1481429"/>
            <a:ext cx="5495855" cy="5376572"/>
          </a:xfrm>
          <a:prstGeom prst="rect">
            <a:avLst/>
          </a:prstGeom>
        </p:spPr>
      </p:pic>
      <p:sp>
        <p:nvSpPr>
          <p:cNvPr id="2" name="Title 1"/>
          <p:cNvSpPr>
            <a:spLocks noGrp="1"/>
          </p:cNvSpPr>
          <p:nvPr>
            <p:ph type="ctrTitle"/>
          </p:nvPr>
        </p:nvSpPr>
        <p:spPr>
          <a:xfrm>
            <a:off x="483203" y="4217529"/>
            <a:ext cx="3652328" cy="889132"/>
          </a:xfrm>
          <a:prstGeom prst="rect">
            <a:avLst/>
          </a:prstGeom>
        </p:spPr>
        <p:txBody>
          <a:bodyPr anchor="ctr" anchorCtr="0"/>
          <a:lstStyle>
            <a:lvl1pPr>
              <a:lnSpc>
                <a:spcPts val="3467"/>
              </a:lnSpc>
              <a:defRPr sz="3467">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483203" y="5295340"/>
            <a:ext cx="3628800" cy="656462"/>
          </a:xfrm>
        </p:spPr>
        <p:txBody>
          <a:bodyPr wrap="square" anchor="b" anchorCtr="0">
            <a:spAutoFit/>
          </a:bodyPr>
          <a:lstStyle>
            <a:lvl1pPr marL="0" indent="0" algn="l">
              <a:spcAft>
                <a:spcPts val="0"/>
              </a:spcAft>
              <a:buNone/>
              <a:defRPr>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GB" dirty="0"/>
          </a:p>
        </p:txBody>
      </p:sp>
      <p:grpSp>
        <p:nvGrpSpPr>
          <p:cNvPr id="12" name="Group 11"/>
          <p:cNvGrpSpPr/>
          <p:nvPr userDrawn="1"/>
        </p:nvGrpSpPr>
        <p:grpSpPr>
          <a:xfrm>
            <a:off x="10176244" y="474315"/>
            <a:ext cx="1556576" cy="632759"/>
            <a:chOff x="7280906" y="310911"/>
            <a:chExt cx="1507104" cy="612649"/>
          </a:xfrm>
        </p:grpSpPr>
        <p:pic>
          <p:nvPicPr>
            <p:cNvPr id="13" name="Picture 2"/>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8099185" y="411962"/>
              <a:ext cx="688825" cy="46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280906" y="310911"/>
              <a:ext cx="711709" cy="612649"/>
            </a:xfrm>
            <a:prstGeom prst="rect">
              <a:avLst/>
            </a:prstGeom>
          </p:spPr>
        </p:pic>
      </p:grpSp>
    </p:spTree>
    <p:extLst>
      <p:ext uri="{BB962C8B-B14F-4D97-AF65-F5344CB8AC3E}">
        <p14:creationId xmlns:p14="http://schemas.microsoft.com/office/powerpoint/2010/main" val="4889954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16" name="Content Placeholder 15"/>
          <p:cNvSpPr>
            <a:spLocks noGrp="1" noChangeAspect="1"/>
          </p:cNvSpPr>
          <p:nvPr>
            <p:ph sz="quarter" idx="12"/>
          </p:nvPr>
        </p:nvSpPr>
        <p:spPr>
          <a:xfrm>
            <a:off x="478872" y="1589851"/>
            <a:ext cx="11231033" cy="4093400"/>
          </a:xfrm>
          <a:prstGeom prst="rect">
            <a:avLst/>
          </a:prstGeom>
        </p:spPr>
        <p:txBody>
          <a:bodyPr lIns="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2"/>
          <p:cNvSpPr>
            <a:spLocks noGrp="1"/>
          </p:cNvSpPr>
          <p:nvPr>
            <p:ph type="body" sz="quarter" idx="14" hasCustomPrompt="1"/>
          </p:nvPr>
        </p:nvSpPr>
        <p:spPr>
          <a:xfrm>
            <a:off x="478870" y="924738"/>
            <a:ext cx="10104000" cy="369332"/>
          </a:xfrm>
          <a:prstGeom prst="rect">
            <a:avLst/>
          </a:prstGeom>
        </p:spPr>
        <p:txBody>
          <a:bodyPr lIns="0" anchor="t" anchorCtr="0">
            <a:noAutofit/>
          </a:bodyPr>
          <a:lstStyle>
            <a:lvl1pPr marL="0" marR="0" indent="0" algn="l" defTabSz="1088284" rtl="0" eaLnBrk="1" fontAlgn="auto" latinLnBrk="0" hangingPunct="1">
              <a:lnSpc>
                <a:spcPct val="100000"/>
              </a:lnSpc>
              <a:spcBef>
                <a:spcPts val="0"/>
              </a:spcBef>
              <a:spcAft>
                <a:spcPts val="0"/>
              </a:spcAft>
              <a:buClr>
                <a:schemeClr val="tx1"/>
              </a:buClr>
              <a:buSzTx/>
              <a:buFont typeface="Arial" pitchFamily="34" charset="0"/>
              <a:buNone/>
              <a:tabLst/>
              <a:defRPr sz="1900" i="0">
                <a:latin typeface="+mn-lt"/>
              </a:defRPr>
            </a:lvl1pPr>
            <a:lvl2pPr marL="323085" indent="0">
              <a:buNone/>
              <a:defRPr/>
            </a:lvl2pPr>
            <a:lvl3pPr marL="634832" indent="0">
              <a:buNone/>
              <a:defRPr/>
            </a:lvl3pPr>
            <a:lvl4pPr marL="971143" indent="0">
              <a:buNone/>
              <a:defRPr/>
            </a:lvl4pPr>
            <a:lvl5pPr marL="1315010" indent="0">
              <a:buNone/>
              <a:defRPr/>
            </a:lvl5pPr>
          </a:lstStyle>
          <a:p>
            <a:pPr marL="0" marR="0" lvl="0" indent="0" algn="l" defTabSz="1088284" rtl="0" eaLnBrk="1" fontAlgn="auto" latinLnBrk="0" hangingPunct="1">
              <a:lnSpc>
                <a:spcPct val="100000"/>
              </a:lnSpc>
              <a:spcBef>
                <a:spcPts val="0"/>
              </a:spcBef>
              <a:spcAft>
                <a:spcPts val="0"/>
              </a:spcAft>
              <a:buClr>
                <a:schemeClr val="tx1"/>
              </a:buClr>
              <a:buSzTx/>
              <a:buFont typeface="Arial" pitchFamily="34" charset="0"/>
              <a:buNone/>
              <a:tabLst/>
              <a:defRPr/>
            </a:pPr>
            <a:r>
              <a:rPr lang="en-GB" dirty="0"/>
              <a:t>Supporting heading</a:t>
            </a:r>
            <a:r>
              <a:rPr lang="en-US" dirty="0"/>
              <a:t> here if required</a:t>
            </a:r>
          </a:p>
        </p:txBody>
      </p:sp>
      <p:sp>
        <p:nvSpPr>
          <p:cNvPr id="6" name="Text Placeholder 5"/>
          <p:cNvSpPr>
            <a:spLocks noGrp="1"/>
          </p:cNvSpPr>
          <p:nvPr>
            <p:ph type="body" sz="quarter" idx="18" hasCustomPrompt="1"/>
          </p:nvPr>
        </p:nvSpPr>
        <p:spPr>
          <a:xfrm>
            <a:off x="478869" y="5664653"/>
            <a:ext cx="11232000" cy="262189"/>
          </a:xfrm>
          <a:prstGeom prst="rect">
            <a:avLst/>
          </a:prstGeom>
        </p:spPr>
        <p:txBody>
          <a:bodyPr wrap="square" anchor="b" anchorCtr="0">
            <a:spAutoFit/>
          </a:bodyPr>
          <a:lstStyle>
            <a:lvl1pPr marL="0" indent="0">
              <a:buNone/>
              <a:defRPr sz="1000" baseline="0"/>
            </a:lvl1pPr>
            <a:lvl2pPr marL="319157" indent="0">
              <a:buNone/>
              <a:defRPr sz="1000"/>
            </a:lvl2pPr>
            <a:lvl3pPr marL="642687" indent="0">
              <a:buNone/>
              <a:defRPr sz="1000"/>
            </a:lvl3pPr>
            <a:lvl4pPr marL="965326" indent="0">
              <a:buNone/>
              <a:defRPr sz="1000"/>
            </a:lvl4pPr>
            <a:lvl5pPr marL="1285375" indent="0">
              <a:buNone/>
              <a:defRPr sz="1000"/>
            </a:lvl5pPr>
          </a:lstStyle>
          <a:p>
            <a:pPr lvl="0"/>
            <a:r>
              <a:rPr lang="en-US" dirty="0"/>
              <a:t>Insert Source text here</a:t>
            </a:r>
          </a:p>
        </p:txBody>
      </p:sp>
      <p:sp>
        <p:nvSpPr>
          <p:cNvPr id="4" name="Title 3"/>
          <p:cNvSpPr>
            <a:spLocks noGrp="1"/>
          </p:cNvSpPr>
          <p:nvPr>
            <p:ph type="title" hasCustomPrompt="1"/>
          </p:nvPr>
        </p:nvSpPr>
        <p:spPr>
          <a:xfrm>
            <a:off x="478872" y="136585"/>
            <a:ext cx="10102852" cy="586821"/>
          </a:xfrm>
        </p:spPr>
        <p:txBody>
          <a:bodyPr/>
          <a:lstStyle/>
          <a:p>
            <a:r>
              <a:rPr lang="en-US" dirty="0"/>
              <a:t>Click to edit Master heading style</a:t>
            </a:r>
            <a:endParaRPr lang="en-GB" dirty="0"/>
          </a:p>
        </p:txBody>
      </p:sp>
      <p:sp>
        <p:nvSpPr>
          <p:cNvPr id="7" name="Date Placeholder 6"/>
          <p:cNvSpPr>
            <a:spLocks noGrp="1"/>
          </p:cNvSpPr>
          <p:nvPr>
            <p:ph type="dt" sz="half" idx="19"/>
          </p:nvPr>
        </p:nvSpPr>
        <p:spPr>
          <a:xfrm>
            <a:off x="3980330" y="6437314"/>
            <a:ext cx="4219640" cy="365125"/>
          </a:xfrm>
          <a:prstGeom prst="rect">
            <a:avLst/>
          </a:prstGeom>
        </p:spPr>
        <p:txBody>
          <a:bodyPr lIns="108850" tIns="54425" rIns="108850" bIns="54425"/>
          <a:lstStyle/>
          <a:p>
            <a:pPr algn="ctr"/>
            <a:endParaRPr lang="en-GB" dirty="0"/>
          </a:p>
        </p:txBody>
      </p:sp>
      <p:sp>
        <p:nvSpPr>
          <p:cNvPr id="9" name="Footer Placeholder 8"/>
          <p:cNvSpPr>
            <a:spLocks noGrp="1"/>
          </p:cNvSpPr>
          <p:nvPr>
            <p:ph type="ftr" sz="quarter" idx="20"/>
          </p:nvPr>
        </p:nvSpPr>
        <p:spPr>
          <a:xfrm>
            <a:off x="383158" y="6437314"/>
            <a:ext cx="3515743" cy="365125"/>
          </a:xfrm>
          <a:prstGeom prst="rect">
            <a:avLst/>
          </a:prstGeom>
        </p:spPr>
        <p:txBody>
          <a:bodyPr lIns="108850" tIns="54425" rIns="108850" bIns="54425"/>
          <a:lstStyle>
            <a:lvl1pPr>
              <a:defRPr/>
            </a:lvl1pPr>
          </a:lstStyle>
          <a:p>
            <a:endParaRPr lang="en-GB" dirty="0"/>
          </a:p>
        </p:txBody>
      </p:sp>
    </p:spTree>
    <p:extLst>
      <p:ext uri="{BB962C8B-B14F-4D97-AF65-F5344CB8AC3E}">
        <p14:creationId xmlns:p14="http://schemas.microsoft.com/office/powerpoint/2010/main" val="66054697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164816" y="6662986"/>
            <a:ext cx="11232000" cy="138499"/>
          </a:xfrm>
        </p:spPr>
        <p:txBody>
          <a:bodyPr wrap="square" anchor="b" anchorCtr="0">
            <a:spAutoFit/>
          </a:bodyPr>
          <a:lstStyle>
            <a:lvl1pPr marL="228600" indent="-228600">
              <a:lnSpc>
                <a:spcPct val="90000"/>
              </a:lnSpc>
              <a:spcAft>
                <a:spcPts val="0"/>
              </a:spcAft>
              <a:buFont typeface="+mj-lt"/>
              <a:buAutoNum type="arabicPeriod"/>
              <a:defRPr sz="10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US" dirty="0"/>
              <a:t>Insert Source text here</a:t>
            </a:r>
          </a:p>
        </p:txBody>
      </p:sp>
      <p:sp>
        <p:nvSpPr>
          <p:cNvPr id="4" name="Title 3"/>
          <p:cNvSpPr>
            <a:spLocks noGrp="1"/>
          </p:cNvSpPr>
          <p:nvPr>
            <p:ph type="title"/>
          </p:nvPr>
        </p:nvSpPr>
        <p:spPr>
          <a:xfrm>
            <a:off x="729390" y="220873"/>
            <a:ext cx="10102852" cy="451405"/>
          </a:xfrm>
        </p:spPr>
        <p:txBody>
          <a:bodyPr/>
          <a:lstStyle/>
          <a:p>
            <a:r>
              <a:rPr lang="en-US" dirty="0"/>
              <a:t>Click to edit Master title style</a:t>
            </a:r>
            <a:endParaRPr lang="en-GB" dirty="0"/>
          </a:p>
        </p:txBody>
      </p:sp>
    </p:spTree>
    <p:extLst>
      <p:ext uri="{BB962C8B-B14F-4D97-AF65-F5344CB8AC3E}">
        <p14:creationId xmlns:p14="http://schemas.microsoft.com/office/powerpoint/2010/main" val="188024099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10" name="Content Placeholder 9"/>
          <p:cNvSpPr>
            <a:spLocks noGrp="1"/>
          </p:cNvSpPr>
          <p:nvPr>
            <p:ph sz="quarter" idx="19"/>
          </p:nvPr>
        </p:nvSpPr>
        <p:spPr>
          <a:xfrm>
            <a:off x="480001" y="2052914"/>
            <a:ext cx="11224684" cy="36388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2"/>
          <p:cNvSpPr>
            <a:spLocks noGrp="1"/>
          </p:cNvSpPr>
          <p:nvPr>
            <p:ph type="body" sz="quarter" idx="13" hasCustomPrompt="1"/>
          </p:nvPr>
        </p:nvSpPr>
        <p:spPr>
          <a:xfrm>
            <a:off x="478870" y="1588949"/>
            <a:ext cx="11224684" cy="328295"/>
          </a:xfrm>
        </p:spPr>
        <p:txBody>
          <a:bodyPr anchor="t" anchorCtr="0">
            <a:spAutoFit/>
          </a:bodyPr>
          <a:lstStyle>
            <a:lvl1pPr marL="0" indent="0">
              <a:spcAft>
                <a:spcPts val="0"/>
              </a:spcAft>
              <a:buNone/>
              <a:defRPr sz="2133" b="1">
                <a:solidFill>
                  <a:schemeClr val="bg2"/>
                </a:solidFill>
              </a:defRPr>
            </a:lvl1pPr>
            <a:lvl2pPr marL="361942" indent="0">
              <a:buNone/>
              <a:defRPr/>
            </a:lvl2pPr>
            <a:lvl3pPr marL="711182" indent="0">
              <a:buNone/>
              <a:defRPr/>
            </a:lvl3pPr>
            <a:lvl4pPr marL="1087939" indent="0">
              <a:buNone/>
              <a:defRPr/>
            </a:lvl4pPr>
            <a:lvl5pPr marL="1473163" indent="0">
              <a:buNone/>
              <a:defRPr/>
            </a:lvl5pPr>
          </a:lstStyle>
          <a:p>
            <a:pPr lvl="0"/>
            <a:r>
              <a:rPr lang="en-US" dirty="0"/>
              <a:t>Subheading here if required</a:t>
            </a:r>
          </a:p>
        </p:txBody>
      </p:sp>
      <p:sp>
        <p:nvSpPr>
          <p:cNvPr id="14" name="Text Placeholder 2"/>
          <p:cNvSpPr>
            <a:spLocks noGrp="1"/>
          </p:cNvSpPr>
          <p:nvPr>
            <p:ph type="body" sz="quarter" idx="14" hasCustomPrompt="1"/>
          </p:nvPr>
        </p:nvSpPr>
        <p:spPr>
          <a:xfrm>
            <a:off x="478869" y="924738"/>
            <a:ext cx="10104000" cy="369332"/>
          </a:xfrm>
        </p:spPr>
        <p:txBody>
          <a:bodyPr anchor="t" anchorCtr="0">
            <a:noAutofit/>
          </a:bodyPr>
          <a:lstStyle>
            <a:lvl1pPr marL="0" indent="0">
              <a:spcAft>
                <a:spcPts val="0"/>
              </a:spcAft>
              <a:buNone/>
              <a:defRPr sz="2400"/>
            </a:lvl1pPr>
            <a:lvl2pPr marL="361942" indent="0">
              <a:buNone/>
              <a:defRPr/>
            </a:lvl2pPr>
            <a:lvl3pPr marL="711182" indent="0">
              <a:buNone/>
              <a:defRPr/>
            </a:lvl3pPr>
            <a:lvl4pPr marL="1087939" indent="0">
              <a:buNone/>
              <a:defRPr/>
            </a:lvl4pPr>
            <a:lvl5pPr marL="1473163" indent="0">
              <a:buNone/>
              <a:defRPr/>
            </a:lvl5pPr>
          </a:lstStyle>
          <a:p>
            <a:pPr lvl="0"/>
            <a:r>
              <a:rPr lang="en-US" dirty="0"/>
              <a:t>Subtitle here if required</a:t>
            </a:r>
          </a:p>
        </p:txBody>
      </p:sp>
      <p:sp>
        <p:nvSpPr>
          <p:cNvPr id="16" name="Text Placeholder 5"/>
          <p:cNvSpPr>
            <a:spLocks noGrp="1"/>
          </p:cNvSpPr>
          <p:nvPr>
            <p:ph type="body" sz="quarter" idx="18" hasCustomPrompt="1"/>
          </p:nvPr>
        </p:nvSpPr>
        <p:spPr>
          <a:xfrm>
            <a:off x="478869" y="5762694"/>
            <a:ext cx="11232000" cy="164148"/>
          </a:xfrm>
        </p:spPr>
        <p:txBody>
          <a:bodyPr wrap="square" anchor="b" anchorCtr="0">
            <a:spAutoFit/>
          </a:bodyPr>
          <a:lstStyle>
            <a:lvl1pPr marL="0" indent="0">
              <a:buNone/>
              <a:defRPr sz="1067"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US" dirty="0"/>
              <a:t>Insert Source text here</a:t>
            </a:r>
          </a:p>
        </p:txBody>
      </p:sp>
      <p:sp>
        <p:nvSpPr>
          <p:cNvPr id="20" name="Title 19"/>
          <p:cNvSpPr>
            <a:spLocks noGrp="1"/>
          </p:cNvSpPr>
          <p:nvPr>
            <p:ph type="title"/>
          </p:nvPr>
        </p:nvSpPr>
        <p:spPr/>
        <p:txBody>
          <a:bodyPr/>
          <a:lstStyle/>
          <a:p>
            <a:r>
              <a:rPr lang="en-US"/>
              <a:t>Click to edit Master title style</a:t>
            </a:r>
            <a:endParaRPr lang="en-GB" dirty="0"/>
          </a:p>
        </p:txBody>
      </p:sp>
      <p:sp>
        <p:nvSpPr>
          <p:cNvPr id="2" name="Date Placeholder 1"/>
          <p:cNvSpPr>
            <a:spLocks noGrp="1"/>
          </p:cNvSpPr>
          <p:nvPr>
            <p:ph type="dt" sz="half" idx="20"/>
          </p:nvPr>
        </p:nvSpPr>
        <p:spPr>
          <a:xfrm>
            <a:off x="3980329" y="6272002"/>
            <a:ext cx="4219640" cy="365125"/>
          </a:xfrm>
          <a:prstGeom prst="rect">
            <a:avLst/>
          </a:prstGeom>
        </p:spPr>
        <p:txBody>
          <a:bodyPr/>
          <a:lstStyle/>
          <a:p>
            <a:pPr algn="ctr"/>
            <a:endParaRPr lang="en-GB" dirty="0">
              <a:solidFill>
                <a:srgbClr val="9A8B7D"/>
              </a:solidFill>
            </a:endParaRPr>
          </a:p>
        </p:txBody>
      </p:sp>
      <p:sp>
        <p:nvSpPr>
          <p:cNvPr id="3" name="Footer Placeholder 2"/>
          <p:cNvSpPr>
            <a:spLocks noGrp="1"/>
          </p:cNvSpPr>
          <p:nvPr>
            <p:ph type="ftr" sz="quarter" idx="21"/>
          </p:nvPr>
        </p:nvSpPr>
        <p:spPr>
          <a:xfrm>
            <a:off x="383159" y="6272002"/>
            <a:ext cx="3515743" cy="365125"/>
          </a:xfrm>
          <a:prstGeom prst="rect">
            <a:avLst/>
          </a:prstGeom>
        </p:spPr>
        <p:txBody>
          <a:bodyPr/>
          <a:lstStyle/>
          <a:p>
            <a:endParaRPr lang="en-GB" dirty="0">
              <a:solidFill>
                <a:srgbClr val="9A8B7D"/>
              </a:solidFill>
            </a:endParaRPr>
          </a:p>
        </p:txBody>
      </p:sp>
      <p:sp>
        <p:nvSpPr>
          <p:cNvPr id="4" name="Slide Number Placeholder 3"/>
          <p:cNvSpPr>
            <a:spLocks noGrp="1"/>
          </p:cNvSpPr>
          <p:nvPr>
            <p:ph type="sldNum" sz="quarter" idx="22"/>
          </p:nvPr>
        </p:nvSpPr>
        <p:spPr>
          <a:xfrm>
            <a:off x="10623178" y="6272002"/>
            <a:ext cx="1106831" cy="365125"/>
          </a:xfrm>
          <a:prstGeom prst="rect">
            <a:avLst/>
          </a:prstGeom>
        </p:spPr>
        <p:txBody>
          <a:bodyPr/>
          <a:lstStyle/>
          <a:p>
            <a:fld id="{9F9F533D-B52E-4A2F-BF72-0ADD2D94BD75}" type="slidenum">
              <a:rPr lang="en-GB" smtClean="0">
                <a:solidFill>
                  <a:srgbClr val="9A8B7D"/>
                </a:solidFill>
              </a:rPr>
              <a:pPr/>
              <a:t>‹#›</a:t>
            </a:fld>
            <a:endParaRPr lang="en-GB">
              <a:solidFill>
                <a:srgbClr val="9A8B7D"/>
              </a:solidFill>
            </a:endParaRPr>
          </a:p>
        </p:txBody>
      </p:sp>
    </p:spTree>
    <p:extLst>
      <p:ext uri="{BB962C8B-B14F-4D97-AF65-F5344CB8AC3E}">
        <p14:creationId xmlns:p14="http://schemas.microsoft.com/office/powerpoint/2010/main" val="8983214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arge Bullet">
    <p:spTree>
      <p:nvGrpSpPr>
        <p:cNvPr id="1" name=""/>
        <p:cNvGrpSpPr/>
        <p:nvPr/>
      </p:nvGrpSpPr>
      <p:grpSpPr>
        <a:xfrm>
          <a:off x="0" y="0"/>
          <a:ext cx="0" cy="0"/>
          <a:chOff x="0" y="0"/>
          <a:chExt cx="0" cy="0"/>
        </a:xfrm>
      </p:grpSpPr>
      <p:sp>
        <p:nvSpPr>
          <p:cNvPr id="13" name="Content Placeholder 12"/>
          <p:cNvSpPr>
            <a:spLocks noGrp="1"/>
          </p:cNvSpPr>
          <p:nvPr>
            <p:ph sz="quarter" idx="17"/>
          </p:nvPr>
        </p:nvSpPr>
        <p:spPr>
          <a:xfrm>
            <a:off x="480001" y="1739151"/>
            <a:ext cx="11231033" cy="3952567"/>
          </a:xfrm>
        </p:spPr>
        <p:txBody>
          <a:bodyPr/>
          <a:lstStyle>
            <a:lvl1pPr>
              <a:defRPr sz="3200"/>
            </a:lvl1pPr>
            <a:lvl2pPr>
              <a:defRPr sz="3200"/>
            </a:lvl2pPr>
            <a:lvl3pPr>
              <a:defRPr sz="3200"/>
            </a:lvl3pPr>
            <a:lvl4pPr>
              <a:defRPr sz="3200"/>
            </a:lvl4pPr>
            <a:lvl5pPr>
              <a:defRPr sz="3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2"/>
          <p:cNvSpPr>
            <a:spLocks noGrp="1"/>
          </p:cNvSpPr>
          <p:nvPr>
            <p:ph type="body" sz="quarter" idx="14" hasCustomPrompt="1"/>
          </p:nvPr>
        </p:nvSpPr>
        <p:spPr>
          <a:xfrm>
            <a:off x="480000" y="924738"/>
            <a:ext cx="10104000" cy="369332"/>
          </a:xfrm>
        </p:spPr>
        <p:txBody>
          <a:bodyPr anchor="t" anchorCtr="0">
            <a:noAutofit/>
          </a:bodyPr>
          <a:lstStyle>
            <a:lvl1pPr marL="0" indent="0">
              <a:spcAft>
                <a:spcPts val="0"/>
              </a:spcAft>
              <a:buNone/>
              <a:defRPr sz="2400"/>
            </a:lvl1pPr>
            <a:lvl2pPr marL="361942" indent="0">
              <a:buNone/>
              <a:defRPr/>
            </a:lvl2pPr>
            <a:lvl3pPr marL="711182" indent="0">
              <a:buNone/>
              <a:defRPr/>
            </a:lvl3pPr>
            <a:lvl4pPr marL="1087939" indent="0">
              <a:buNone/>
              <a:defRPr/>
            </a:lvl4pPr>
            <a:lvl5pPr marL="1473163" indent="0">
              <a:buNone/>
              <a:defRPr/>
            </a:lvl5pPr>
          </a:lstStyle>
          <a:p>
            <a:pPr lvl="0"/>
            <a:r>
              <a:rPr lang="en-US" dirty="0"/>
              <a:t>Subtitle here if required</a:t>
            </a:r>
          </a:p>
        </p:txBody>
      </p:sp>
      <p:sp>
        <p:nvSpPr>
          <p:cNvPr id="15" name="Text Placeholder 5"/>
          <p:cNvSpPr>
            <a:spLocks noGrp="1"/>
          </p:cNvSpPr>
          <p:nvPr>
            <p:ph type="body" sz="quarter" idx="18" hasCustomPrompt="1"/>
          </p:nvPr>
        </p:nvSpPr>
        <p:spPr>
          <a:xfrm>
            <a:off x="480000" y="5762694"/>
            <a:ext cx="11232000" cy="164148"/>
          </a:xfrm>
        </p:spPr>
        <p:txBody>
          <a:bodyPr wrap="square" anchor="b" anchorCtr="0">
            <a:spAutoFit/>
          </a:bodyPr>
          <a:lstStyle>
            <a:lvl1pPr marL="0" indent="0">
              <a:buNone/>
              <a:defRPr sz="1067"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US" dirty="0"/>
              <a:t>Insert Source text here</a:t>
            </a:r>
          </a:p>
        </p:txBody>
      </p:sp>
      <p:sp>
        <p:nvSpPr>
          <p:cNvPr id="19" name="Title 18"/>
          <p:cNvSpPr>
            <a:spLocks noGrp="1"/>
          </p:cNvSpPr>
          <p:nvPr>
            <p:ph type="title"/>
          </p:nvPr>
        </p:nvSpPr>
        <p:spPr>
          <a:xfrm>
            <a:off x="480001" y="384852"/>
            <a:ext cx="10102852" cy="451405"/>
          </a:xfrm>
        </p:spPr>
        <p:txBody>
          <a:bodyPr/>
          <a:lstStyle/>
          <a:p>
            <a:r>
              <a:rPr lang="en-US"/>
              <a:t>Click to edit Master title style</a:t>
            </a:r>
            <a:endParaRPr lang="en-GB" dirty="0"/>
          </a:p>
        </p:txBody>
      </p:sp>
      <p:sp>
        <p:nvSpPr>
          <p:cNvPr id="2" name="Date Placeholder 1"/>
          <p:cNvSpPr>
            <a:spLocks noGrp="1"/>
          </p:cNvSpPr>
          <p:nvPr>
            <p:ph type="dt" sz="half" idx="19"/>
          </p:nvPr>
        </p:nvSpPr>
        <p:spPr>
          <a:xfrm>
            <a:off x="3980329" y="6272002"/>
            <a:ext cx="4219640" cy="365125"/>
          </a:xfrm>
          <a:prstGeom prst="rect">
            <a:avLst/>
          </a:prstGeom>
        </p:spPr>
        <p:txBody>
          <a:bodyPr/>
          <a:lstStyle/>
          <a:p>
            <a:pPr algn="ctr"/>
            <a:endParaRPr lang="en-GB" dirty="0">
              <a:solidFill>
                <a:srgbClr val="9A8B7D"/>
              </a:solidFill>
            </a:endParaRPr>
          </a:p>
        </p:txBody>
      </p:sp>
      <p:sp>
        <p:nvSpPr>
          <p:cNvPr id="3" name="Footer Placeholder 2"/>
          <p:cNvSpPr>
            <a:spLocks noGrp="1"/>
          </p:cNvSpPr>
          <p:nvPr>
            <p:ph type="ftr" sz="quarter" idx="20"/>
          </p:nvPr>
        </p:nvSpPr>
        <p:spPr>
          <a:xfrm>
            <a:off x="383159" y="6272002"/>
            <a:ext cx="3515743" cy="365125"/>
          </a:xfrm>
          <a:prstGeom prst="rect">
            <a:avLst/>
          </a:prstGeom>
        </p:spPr>
        <p:txBody>
          <a:bodyPr/>
          <a:lstStyle/>
          <a:p>
            <a:endParaRPr lang="en-GB" dirty="0">
              <a:solidFill>
                <a:srgbClr val="9A8B7D"/>
              </a:solidFill>
            </a:endParaRPr>
          </a:p>
        </p:txBody>
      </p:sp>
      <p:sp>
        <p:nvSpPr>
          <p:cNvPr id="4" name="Slide Number Placeholder 3"/>
          <p:cNvSpPr>
            <a:spLocks noGrp="1"/>
          </p:cNvSpPr>
          <p:nvPr>
            <p:ph type="sldNum" sz="quarter" idx="21"/>
          </p:nvPr>
        </p:nvSpPr>
        <p:spPr>
          <a:xfrm>
            <a:off x="10623178" y="6272002"/>
            <a:ext cx="1106831" cy="365125"/>
          </a:xfrm>
          <a:prstGeom prst="rect">
            <a:avLst/>
          </a:prstGeom>
        </p:spPr>
        <p:txBody>
          <a:bodyPr/>
          <a:lstStyle/>
          <a:p>
            <a:fld id="{9F9F533D-B52E-4A2F-BF72-0ADD2D94BD75}" type="slidenum">
              <a:rPr lang="en-GB" smtClean="0">
                <a:solidFill>
                  <a:srgbClr val="9A8B7D"/>
                </a:solidFill>
              </a:rPr>
              <a:pPr/>
              <a:t>‹#›</a:t>
            </a:fld>
            <a:endParaRPr lang="en-GB">
              <a:solidFill>
                <a:srgbClr val="9A8B7D"/>
              </a:solidFill>
            </a:endParaRPr>
          </a:p>
        </p:txBody>
      </p:sp>
    </p:spTree>
    <p:extLst>
      <p:ext uri="{BB962C8B-B14F-4D97-AF65-F5344CB8AC3E}">
        <p14:creationId xmlns:p14="http://schemas.microsoft.com/office/powerpoint/2010/main" val="206309295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Section Header or Statement">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174" t="10353" b="10238"/>
          <a:stretch/>
        </p:blipFill>
        <p:spPr>
          <a:xfrm>
            <a:off x="0" y="0"/>
            <a:ext cx="12205596" cy="6862531"/>
          </a:xfrm>
          <a:prstGeom prst="rect">
            <a:avLst/>
          </a:prstGeom>
        </p:spPr>
      </p:pic>
      <p:sp>
        <p:nvSpPr>
          <p:cNvPr id="12" name="Text Placeholder 5"/>
          <p:cNvSpPr>
            <a:spLocks noGrp="1"/>
          </p:cNvSpPr>
          <p:nvPr>
            <p:ph type="body" sz="quarter" idx="11" hasCustomPrompt="1"/>
          </p:nvPr>
        </p:nvSpPr>
        <p:spPr>
          <a:xfrm>
            <a:off x="480000" y="5824027"/>
            <a:ext cx="9163200" cy="328295"/>
          </a:xfrm>
        </p:spPr>
        <p:txBody>
          <a:bodyPr anchor="b" anchorCtr="0">
            <a:spAutoFit/>
          </a:bodyPr>
          <a:lstStyle>
            <a:lvl1pPr marL="0" indent="0">
              <a:spcAft>
                <a:spcPts val="0"/>
              </a:spcAft>
              <a:buNone/>
              <a:defRPr>
                <a:solidFill>
                  <a:schemeClr val="bg1"/>
                </a:solidFill>
              </a:defRPr>
            </a:lvl1pPr>
            <a:lvl2pPr marL="361942" indent="0">
              <a:spcAft>
                <a:spcPts val="0"/>
              </a:spcAft>
              <a:buNone/>
              <a:defRPr>
                <a:solidFill>
                  <a:schemeClr val="bg1"/>
                </a:solidFill>
              </a:defRPr>
            </a:lvl2pPr>
            <a:lvl3pPr marL="711182" indent="0">
              <a:spcAft>
                <a:spcPts val="0"/>
              </a:spcAft>
              <a:buNone/>
              <a:defRPr>
                <a:solidFill>
                  <a:schemeClr val="bg1"/>
                </a:solidFill>
              </a:defRPr>
            </a:lvl3pPr>
            <a:lvl4pPr marL="1087939" indent="0">
              <a:spcAft>
                <a:spcPts val="0"/>
              </a:spcAft>
              <a:buNone/>
              <a:defRPr>
                <a:solidFill>
                  <a:schemeClr val="bg1"/>
                </a:solidFill>
              </a:defRPr>
            </a:lvl4pPr>
            <a:lvl5pPr marL="1473163" indent="0">
              <a:spcAft>
                <a:spcPts val="0"/>
              </a:spcAft>
              <a:buNone/>
              <a:defRPr>
                <a:solidFill>
                  <a:schemeClr val="bg1"/>
                </a:solidFill>
              </a:defRPr>
            </a:lvl5pPr>
          </a:lstStyle>
          <a:p>
            <a:pPr lvl="0"/>
            <a:r>
              <a:rPr lang="en-US" dirty="0"/>
              <a:t>Subtitle here if required</a:t>
            </a:r>
          </a:p>
        </p:txBody>
      </p:sp>
      <p:sp>
        <p:nvSpPr>
          <p:cNvPr id="13" name="Text Placeholder 3"/>
          <p:cNvSpPr>
            <a:spLocks noGrp="1"/>
          </p:cNvSpPr>
          <p:nvPr>
            <p:ph type="body" sz="quarter" idx="10" hasCustomPrompt="1"/>
          </p:nvPr>
        </p:nvSpPr>
        <p:spPr>
          <a:xfrm>
            <a:off x="480000" y="4440350"/>
            <a:ext cx="9160723" cy="444567"/>
          </a:xfrm>
        </p:spPr>
        <p:txBody>
          <a:bodyPr wrap="square" anchor="ctr" anchorCtr="0">
            <a:spAutoFit/>
          </a:bodyPr>
          <a:lstStyle>
            <a:lvl1pPr marL="0" indent="0">
              <a:lnSpc>
                <a:spcPts val="3467"/>
              </a:lnSpc>
              <a:spcAft>
                <a:spcPts val="0"/>
              </a:spcAft>
              <a:buNone/>
              <a:defRPr sz="3467" b="1">
                <a:solidFill>
                  <a:schemeClr val="bg1"/>
                </a:solidFill>
              </a:defRPr>
            </a:lvl1pPr>
            <a:lvl2pPr marL="361942" indent="0">
              <a:buNone/>
              <a:defRPr sz="3467" b="1">
                <a:solidFill>
                  <a:schemeClr val="bg1"/>
                </a:solidFill>
              </a:defRPr>
            </a:lvl2pPr>
            <a:lvl3pPr marL="711182" indent="0">
              <a:buNone/>
              <a:defRPr sz="3467" b="1">
                <a:solidFill>
                  <a:schemeClr val="bg1"/>
                </a:solidFill>
              </a:defRPr>
            </a:lvl3pPr>
            <a:lvl4pPr marL="1087939" indent="0">
              <a:buNone/>
              <a:defRPr sz="3467" b="1">
                <a:solidFill>
                  <a:schemeClr val="bg1"/>
                </a:solidFill>
              </a:defRPr>
            </a:lvl4pPr>
            <a:lvl5pPr marL="1473163" indent="0">
              <a:buNone/>
              <a:defRPr sz="3467" b="1">
                <a:solidFill>
                  <a:schemeClr val="bg1"/>
                </a:solidFill>
              </a:defRPr>
            </a:lvl5pPr>
          </a:lstStyle>
          <a:p>
            <a:pPr lvl="0"/>
            <a:r>
              <a:rPr lang="en-US" dirty="0"/>
              <a:t>Section Header title here</a:t>
            </a:r>
          </a:p>
        </p:txBody>
      </p:sp>
      <p:sp>
        <p:nvSpPr>
          <p:cNvPr id="9" name="Text Placeholder 6"/>
          <p:cNvSpPr>
            <a:spLocks noGrp="1"/>
          </p:cNvSpPr>
          <p:nvPr>
            <p:ph type="body" sz="quarter" idx="12" hasCustomPrompt="1"/>
          </p:nvPr>
        </p:nvSpPr>
        <p:spPr>
          <a:xfrm>
            <a:off x="480000" y="1519769"/>
            <a:ext cx="9152469" cy="533480"/>
          </a:xfrm>
        </p:spPr>
        <p:txBody>
          <a:bodyPr>
            <a:spAutoFit/>
          </a:bodyPr>
          <a:lstStyle>
            <a:lvl1pPr marL="0" indent="0">
              <a:spcAft>
                <a:spcPts val="0"/>
              </a:spcAft>
              <a:buNone/>
              <a:defRPr sz="3467" b="1">
                <a:solidFill>
                  <a:schemeClr val="bg1"/>
                </a:solidFill>
              </a:defRPr>
            </a:lvl1pPr>
            <a:lvl2pPr marL="361942" indent="0">
              <a:buNone/>
              <a:defRPr>
                <a:solidFill>
                  <a:schemeClr val="bg1"/>
                </a:solidFill>
              </a:defRPr>
            </a:lvl2pPr>
            <a:lvl3pPr marL="711182" indent="0">
              <a:buNone/>
              <a:defRPr>
                <a:solidFill>
                  <a:schemeClr val="bg1"/>
                </a:solidFill>
              </a:defRPr>
            </a:lvl3pPr>
            <a:lvl4pPr marL="1087939" indent="0">
              <a:buNone/>
              <a:defRPr>
                <a:solidFill>
                  <a:schemeClr val="bg1"/>
                </a:solidFill>
              </a:defRPr>
            </a:lvl4pPr>
            <a:lvl5pPr marL="1473163" indent="0">
              <a:buNone/>
              <a:defRPr>
                <a:solidFill>
                  <a:schemeClr val="bg1"/>
                </a:solidFill>
              </a:defRPr>
            </a:lvl5pPr>
          </a:lstStyle>
          <a:p>
            <a:pPr lvl="0"/>
            <a:r>
              <a:rPr lang="en-US" dirty="0"/>
              <a:t>Type your statement text here</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279355" y="118570"/>
            <a:ext cx="737097" cy="637340"/>
          </a:xfrm>
          <a:prstGeom prst="rect">
            <a:avLst/>
          </a:prstGeom>
        </p:spPr>
      </p:pic>
    </p:spTree>
    <p:extLst>
      <p:ext uri="{BB962C8B-B14F-4D97-AF65-F5344CB8AC3E}">
        <p14:creationId xmlns:p14="http://schemas.microsoft.com/office/powerpoint/2010/main" val="23790732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2" name="Content Placeholder 11"/>
          <p:cNvSpPr>
            <a:spLocks noGrp="1"/>
          </p:cNvSpPr>
          <p:nvPr>
            <p:ph sz="quarter" idx="17"/>
          </p:nvPr>
        </p:nvSpPr>
        <p:spPr>
          <a:xfrm>
            <a:off x="478870" y="1589912"/>
            <a:ext cx="5314951" cy="41018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Content Placeholder 13"/>
          <p:cNvSpPr>
            <a:spLocks noGrp="1"/>
          </p:cNvSpPr>
          <p:nvPr>
            <p:ph sz="quarter" idx="18"/>
          </p:nvPr>
        </p:nvSpPr>
        <p:spPr>
          <a:xfrm>
            <a:off x="6396290" y="1589912"/>
            <a:ext cx="5334279" cy="41018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478870" y="384852"/>
            <a:ext cx="10102852" cy="451405"/>
          </a:xfrm>
        </p:spPr>
        <p:txBody>
          <a:bodyPr/>
          <a:lstStyle/>
          <a:p>
            <a:r>
              <a:rPr lang="en-US"/>
              <a:t>Click to edit Master title style</a:t>
            </a:r>
            <a:endParaRPr lang="en-GB" dirty="0"/>
          </a:p>
        </p:txBody>
      </p:sp>
      <p:sp>
        <p:nvSpPr>
          <p:cNvPr id="18" name="Text Placeholder 2"/>
          <p:cNvSpPr>
            <a:spLocks noGrp="1"/>
          </p:cNvSpPr>
          <p:nvPr>
            <p:ph type="body" sz="quarter" idx="14" hasCustomPrompt="1"/>
          </p:nvPr>
        </p:nvSpPr>
        <p:spPr>
          <a:xfrm>
            <a:off x="478869" y="924738"/>
            <a:ext cx="10104000" cy="369332"/>
          </a:xfrm>
        </p:spPr>
        <p:txBody>
          <a:bodyPr anchor="t" anchorCtr="0">
            <a:noAutofit/>
          </a:bodyPr>
          <a:lstStyle>
            <a:lvl1pPr marL="0" indent="0">
              <a:spcAft>
                <a:spcPts val="0"/>
              </a:spcAft>
              <a:buNone/>
              <a:defRPr sz="2400"/>
            </a:lvl1pPr>
            <a:lvl2pPr marL="361942" indent="0">
              <a:buNone/>
              <a:defRPr/>
            </a:lvl2pPr>
            <a:lvl3pPr marL="711182" indent="0">
              <a:buNone/>
              <a:defRPr/>
            </a:lvl3pPr>
            <a:lvl4pPr marL="1087939" indent="0">
              <a:buNone/>
              <a:defRPr/>
            </a:lvl4pPr>
            <a:lvl5pPr marL="1473163" indent="0">
              <a:buNone/>
              <a:defRPr/>
            </a:lvl5pPr>
          </a:lstStyle>
          <a:p>
            <a:pPr lvl="0"/>
            <a:r>
              <a:rPr lang="en-US" dirty="0"/>
              <a:t>Subtitle here if required</a:t>
            </a:r>
          </a:p>
        </p:txBody>
      </p:sp>
      <p:sp>
        <p:nvSpPr>
          <p:cNvPr id="19" name="Text Placeholder 5"/>
          <p:cNvSpPr>
            <a:spLocks noGrp="1"/>
          </p:cNvSpPr>
          <p:nvPr>
            <p:ph type="body" sz="quarter" idx="19" hasCustomPrompt="1"/>
          </p:nvPr>
        </p:nvSpPr>
        <p:spPr>
          <a:xfrm>
            <a:off x="478869" y="5762694"/>
            <a:ext cx="5328000" cy="164148"/>
          </a:xfrm>
        </p:spPr>
        <p:txBody>
          <a:bodyPr wrap="square" anchor="b" anchorCtr="0">
            <a:spAutoFit/>
          </a:bodyPr>
          <a:lstStyle>
            <a:lvl1pPr marL="0" indent="0">
              <a:buNone/>
              <a:defRPr sz="1067"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US" dirty="0"/>
              <a:t>Insert Source text here</a:t>
            </a:r>
          </a:p>
        </p:txBody>
      </p:sp>
      <p:sp>
        <p:nvSpPr>
          <p:cNvPr id="20" name="Text Placeholder 5"/>
          <p:cNvSpPr>
            <a:spLocks noGrp="1"/>
          </p:cNvSpPr>
          <p:nvPr>
            <p:ph type="body" sz="quarter" idx="20" hasCustomPrompt="1"/>
          </p:nvPr>
        </p:nvSpPr>
        <p:spPr>
          <a:xfrm>
            <a:off x="6396289" y="5762694"/>
            <a:ext cx="5328000" cy="164148"/>
          </a:xfrm>
        </p:spPr>
        <p:txBody>
          <a:bodyPr wrap="square" anchor="b" anchorCtr="0">
            <a:spAutoFit/>
          </a:bodyPr>
          <a:lstStyle>
            <a:lvl1pPr marL="0" indent="0">
              <a:buNone/>
              <a:defRPr sz="1067"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US" dirty="0"/>
              <a:t>Insert Source text here</a:t>
            </a:r>
          </a:p>
        </p:txBody>
      </p:sp>
      <p:sp>
        <p:nvSpPr>
          <p:cNvPr id="6" name="Date Placeholder 5"/>
          <p:cNvSpPr>
            <a:spLocks noGrp="1"/>
          </p:cNvSpPr>
          <p:nvPr>
            <p:ph type="dt" sz="half" idx="21"/>
          </p:nvPr>
        </p:nvSpPr>
        <p:spPr>
          <a:xfrm>
            <a:off x="3980329" y="6272002"/>
            <a:ext cx="4219640" cy="365125"/>
          </a:xfrm>
          <a:prstGeom prst="rect">
            <a:avLst/>
          </a:prstGeom>
        </p:spPr>
        <p:txBody>
          <a:bodyPr/>
          <a:lstStyle/>
          <a:p>
            <a:pPr algn="ctr"/>
            <a:endParaRPr lang="en-GB" dirty="0">
              <a:solidFill>
                <a:srgbClr val="9A8B7D"/>
              </a:solidFill>
            </a:endParaRPr>
          </a:p>
        </p:txBody>
      </p:sp>
      <p:sp>
        <p:nvSpPr>
          <p:cNvPr id="7" name="Footer Placeholder 6"/>
          <p:cNvSpPr>
            <a:spLocks noGrp="1"/>
          </p:cNvSpPr>
          <p:nvPr>
            <p:ph type="ftr" sz="quarter" idx="22"/>
          </p:nvPr>
        </p:nvSpPr>
        <p:spPr>
          <a:xfrm>
            <a:off x="383159" y="6272002"/>
            <a:ext cx="3515743" cy="365125"/>
          </a:xfrm>
          <a:prstGeom prst="rect">
            <a:avLst/>
          </a:prstGeom>
        </p:spPr>
        <p:txBody>
          <a:bodyPr/>
          <a:lstStyle/>
          <a:p>
            <a:endParaRPr lang="en-GB" dirty="0">
              <a:solidFill>
                <a:srgbClr val="9A8B7D"/>
              </a:solidFill>
            </a:endParaRPr>
          </a:p>
        </p:txBody>
      </p:sp>
      <p:sp>
        <p:nvSpPr>
          <p:cNvPr id="8" name="Slide Number Placeholder 7"/>
          <p:cNvSpPr>
            <a:spLocks noGrp="1"/>
          </p:cNvSpPr>
          <p:nvPr>
            <p:ph type="sldNum" sz="quarter" idx="23"/>
          </p:nvPr>
        </p:nvSpPr>
        <p:spPr>
          <a:xfrm>
            <a:off x="10623178" y="6272002"/>
            <a:ext cx="1106831" cy="365125"/>
          </a:xfrm>
          <a:prstGeom prst="rect">
            <a:avLst/>
          </a:prstGeom>
        </p:spPr>
        <p:txBody>
          <a:bodyPr/>
          <a:lstStyle/>
          <a:p>
            <a:fld id="{9F9F533D-B52E-4A2F-BF72-0ADD2D94BD75}" type="slidenum">
              <a:rPr lang="en-GB" smtClean="0">
                <a:solidFill>
                  <a:srgbClr val="9A8B7D"/>
                </a:solidFill>
              </a:rPr>
              <a:pPr/>
              <a:t>‹#›</a:t>
            </a:fld>
            <a:endParaRPr lang="en-GB">
              <a:solidFill>
                <a:srgbClr val="9A8B7D"/>
              </a:solidFill>
            </a:endParaRPr>
          </a:p>
        </p:txBody>
      </p:sp>
    </p:spTree>
    <p:extLst>
      <p:ext uri="{BB962C8B-B14F-4D97-AF65-F5344CB8AC3E}">
        <p14:creationId xmlns:p14="http://schemas.microsoft.com/office/powerpoint/2010/main" val="15128670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矩形 5">
            <a:extLst>
              <a:ext uri="{FF2B5EF4-FFF2-40B4-BE49-F238E27FC236}">
                <a16:creationId xmlns:a16="http://schemas.microsoft.com/office/drawing/2014/main" id="{09A34CBB-61F7-B84F-9257-4F3A78137261}"/>
              </a:ext>
            </a:extLst>
          </p:cNvPr>
          <p:cNvSpPr/>
          <p:nvPr userDrawn="1"/>
        </p:nvSpPr>
        <p:spPr bwMode="auto">
          <a:xfrm>
            <a:off x="0" y="0"/>
            <a:ext cx="12192000" cy="6858000"/>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fontAlgn="auto" hangingPunct="0">
              <a:spcBef>
                <a:spcPts val="0"/>
              </a:spcBef>
              <a:spcAft>
                <a:spcPts val="0"/>
              </a:spcAft>
              <a:buClr>
                <a:schemeClr val="bg1"/>
              </a:buClr>
              <a:buFont typeface="Arial" pitchFamily="34" charset="0"/>
              <a:buChar char="–"/>
            </a:pPr>
            <a:endParaRPr kumimoji="1" lang="zh-CN" altLang="en-US" sz="1200" b="1" kern="0" dirty="0" err="1">
              <a:solidFill>
                <a:srgbClr val="FFFFFF"/>
              </a:solidFill>
              <a:latin typeface="Arial"/>
            </a:endParaRPr>
          </a:p>
        </p:txBody>
      </p:sp>
    </p:spTree>
    <p:extLst>
      <p:ext uri="{BB962C8B-B14F-4D97-AF65-F5344CB8AC3E}">
        <p14:creationId xmlns:p14="http://schemas.microsoft.com/office/powerpoint/2010/main" val="90956223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Video Standard (4x3)">
    <p:spTree>
      <p:nvGrpSpPr>
        <p:cNvPr id="1" name=""/>
        <p:cNvGrpSpPr/>
        <p:nvPr/>
      </p:nvGrpSpPr>
      <p:grpSpPr>
        <a:xfrm>
          <a:off x="0" y="0"/>
          <a:ext cx="0" cy="0"/>
          <a:chOff x="0" y="0"/>
          <a:chExt cx="0" cy="0"/>
        </a:xfrm>
      </p:grpSpPr>
      <p:sp>
        <p:nvSpPr>
          <p:cNvPr id="6" name="Media Placeholder 5"/>
          <p:cNvSpPr>
            <a:spLocks noGrp="1" noChangeAspect="1"/>
          </p:cNvSpPr>
          <p:nvPr>
            <p:ph type="media" sz="quarter" idx="12" hasCustomPrompt="1"/>
          </p:nvPr>
        </p:nvSpPr>
        <p:spPr>
          <a:xfrm>
            <a:off x="2394328" y="1695412"/>
            <a:ext cx="7410027" cy="4168141"/>
          </a:xfrm>
        </p:spPr>
        <p:txBody>
          <a:bodyPr lIns="108000" tIns="108000"/>
          <a:lstStyle>
            <a:lvl1pPr marL="0" indent="0">
              <a:buNone/>
              <a:defRPr baseline="0">
                <a:solidFill>
                  <a:schemeClr val="tx1"/>
                </a:solidFill>
              </a:defRPr>
            </a:lvl1pPr>
          </a:lstStyle>
          <a:p>
            <a:r>
              <a:rPr lang="en-GB" dirty="0"/>
              <a:t>Click on the film icon to insert your Standard (4x3 video)</a:t>
            </a:r>
          </a:p>
        </p:txBody>
      </p:sp>
      <p:sp>
        <p:nvSpPr>
          <p:cNvPr id="2" name="Title 1"/>
          <p:cNvSpPr>
            <a:spLocks noGrp="1"/>
          </p:cNvSpPr>
          <p:nvPr>
            <p:ph type="title"/>
          </p:nvPr>
        </p:nvSpPr>
        <p:spPr/>
        <p:txBody>
          <a:bodyPr/>
          <a:lstStyle/>
          <a:p>
            <a:r>
              <a:rPr lang="en-US"/>
              <a:t>Click to edit Master title style</a:t>
            </a:r>
            <a:endParaRPr lang="en-GB" dirty="0"/>
          </a:p>
        </p:txBody>
      </p:sp>
      <p:sp>
        <p:nvSpPr>
          <p:cNvPr id="12" name="Text Placeholder 2"/>
          <p:cNvSpPr>
            <a:spLocks noGrp="1"/>
          </p:cNvSpPr>
          <p:nvPr>
            <p:ph type="body" sz="quarter" idx="14" hasCustomPrompt="1"/>
          </p:nvPr>
        </p:nvSpPr>
        <p:spPr>
          <a:xfrm>
            <a:off x="478869" y="924738"/>
            <a:ext cx="10104000" cy="369332"/>
          </a:xfrm>
        </p:spPr>
        <p:txBody>
          <a:bodyPr anchor="t" anchorCtr="0">
            <a:noAutofit/>
          </a:bodyPr>
          <a:lstStyle>
            <a:lvl1pPr marL="0" indent="0">
              <a:spcAft>
                <a:spcPts val="0"/>
              </a:spcAft>
              <a:buNone/>
              <a:defRPr sz="2400"/>
            </a:lvl1pPr>
            <a:lvl2pPr marL="361942" indent="0">
              <a:buNone/>
              <a:defRPr/>
            </a:lvl2pPr>
            <a:lvl3pPr marL="711182" indent="0">
              <a:buNone/>
              <a:defRPr/>
            </a:lvl3pPr>
            <a:lvl4pPr marL="1087939" indent="0">
              <a:buNone/>
              <a:defRPr/>
            </a:lvl4pPr>
            <a:lvl5pPr marL="1473163" indent="0">
              <a:buNone/>
              <a:defRPr/>
            </a:lvl5pPr>
          </a:lstStyle>
          <a:p>
            <a:pPr lvl="0"/>
            <a:r>
              <a:rPr lang="en-US" dirty="0"/>
              <a:t>Subtitle here if required</a:t>
            </a:r>
          </a:p>
        </p:txBody>
      </p:sp>
      <p:sp>
        <p:nvSpPr>
          <p:cNvPr id="5" name="Date Placeholder 4"/>
          <p:cNvSpPr>
            <a:spLocks noGrp="1"/>
          </p:cNvSpPr>
          <p:nvPr>
            <p:ph type="dt" sz="half" idx="15"/>
          </p:nvPr>
        </p:nvSpPr>
        <p:spPr>
          <a:xfrm>
            <a:off x="3980329" y="6272002"/>
            <a:ext cx="4219640" cy="365125"/>
          </a:xfrm>
          <a:prstGeom prst="rect">
            <a:avLst/>
          </a:prstGeom>
        </p:spPr>
        <p:txBody>
          <a:bodyPr/>
          <a:lstStyle/>
          <a:p>
            <a:pPr algn="ctr"/>
            <a:endParaRPr lang="en-GB" dirty="0">
              <a:solidFill>
                <a:srgbClr val="9A8B7D"/>
              </a:solidFill>
            </a:endParaRPr>
          </a:p>
        </p:txBody>
      </p:sp>
      <p:sp>
        <p:nvSpPr>
          <p:cNvPr id="7" name="Footer Placeholder 6"/>
          <p:cNvSpPr>
            <a:spLocks noGrp="1"/>
          </p:cNvSpPr>
          <p:nvPr>
            <p:ph type="ftr" sz="quarter" idx="16"/>
          </p:nvPr>
        </p:nvSpPr>
        <p:spPr>
          <a:xfrm>
            <a:off x="383159" y="6272002"/>
            <a:ext cx="3515743" cy="365125"/>
          </a:xfrm>
          <a:prstGeom prst="rect">
            <a:avLst/>
          </a:prstGeom>
        </p:spPr>
        <p:txBody>
          <a:bodyPr/>
          <a:lstStyle/>
          <a:p>
            <a:endParaRPr lang="en-GB" dirty="0">
              <a:solidFill>
                <a:srgbClr val="9A8B7D"/>
              </a:solidFill>
            </a:endParaRPr>
          </a:p>
        </p:txBody>
      </p:sp>
      <p:sp>
        <p:nvSpPr>
          <p:cNvPr id="8" name="Slide Number Placeholder 7"/>
          <p:cNvSpPr>
            <a:spLocks noGrp="1"/>
          </p:cNvSpPr>
          <p:nvPr>
            <p:ph type="sldNum" sz="quarter" idx="17"/>
          </p:nvPr>
        </p:nvSpPr>
        <p:spPr>
          <a:xfrm>
            <a:off x="10623178" y="6272002"/>
            <a:ext cx="1106831" cy="365125"/>
          </a:xfrm>
          <a:prstGeom prst="rect">
            <a:avLst/>
          </a:prstGeom>
        </p:spPr>
        <p:txBody>
          <a:bodyPr/>
          <a:lstStyle/>
          <a:p>
            <a:fld id="{9F9F533D-B52E-4A2F-BF72-0ADD2D94BD75}" type="slidenum">
              <a:rPr lang="en-GB" smtClean="0">
                <a:solidFill>
                  <a:srgbClr val="9A8B7D"/>
                </a:solidFill>
              </a:rPr>
              <a:pPr/>
              <a:t>‹#›</a:t>
            </a:fld>
            <a:endParaRPr lang="en-GB">
              <a:solidFill>
                <a:srgbClr val="9A8B7D"/>
              </a:solidFill>
            </a:endParaRPr>
          </a:p>
        </p:txBody>
      </p:sp>
    </p:spTree>
    <p:extLst>
      <p:ext uri="{BB962C8B-B14F-4D97-AF65-F5344CB8AC3E}">
        <p14:creationId xmlns:p14="http://schemas.microsoft.com/office/powerpoint/2010/main" val="399526231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Widescreen (16 x 9)">
    <p:spTree>
      <p:nvGrpSpPr>
        <p:cNvPr id="1" name=""/>
        <p:cNvGrpSpPr/>
        <p:nvPr/>
      </p:nvGrpSpPr>
      <p:grpSpPr>
        <a:xfrm>
          <a:off x="0" y="0"/>
          <a:ext cx="0" cy="0"/>
          <a:chOff x="0" y="0"/>
          <a:chExt cx="0" cy="0"/>
        </a:xfrm>
      </p:grpSpPr>
      <p:sp>
        <p:nvSpPr>
          <p:cNvPr id="5" name="Media Placeholder 5"/>
          <p:cNvSpPr>
            <a:spLocks noGrp="1" noChangeAspect="1"/>
          </p:cNvSpPr>
          <p:nvPr>
            <p:ph type="media" sz="quarter" idx="12" hasCustomPrompt="1"/>
          </p:nvPr>
        </p:nvSpPr>
        <p:spPr>
          <a:xfrm>
            <a:off x="1310676" y="1637355"/>
            <a:ext cx="9570793" cy="4054363"/>
          </a:xfrm>
        </p:spPr>
        <p:txBody>
          <a:bodyPr lIns="108000" tIns="108000"/>
          <a:lstStyle>
            <a:lvl1pPr marL="0" indent="0">
              <a:buNone/>
              <a:defRPr baseline="0">
                <a:solidFill>
                  <a:schemeClr val="tx1"/>
                </a:solidFill>
              </a:defRPr>
            </a:lvl1pPr>
          </a:lstStyle>
          <a:p>
            <a:r>
              <a:rPr lang="en-GB" dirty="0"/>
              <a:t>Click on the film icon to insert your widescreen (16x9) video</a:t>
            </a:r>
          </a:p>
        </p:txBody>
      </p:sp>
      <p:sp>
        <p:nvSpPr>
          <p:cNvPr id="10" name="Title 9"/>
          <p:cNvSpPr>
            <a:spLocks noGrp="1"/>
          </p:cNvSpPr>
          <p:nvPr>
            <p:ph type="title"/>
          </p:nvPr>
        </p:nvSpPr>
        <p:spPr/>
        <p:txBody>
          <a:bodyPr/>
          <a:lstStyle/>
          <a:p>
            <a:r>
              <a:rPr lang="en-US"/>
              <a:t>Click to edit Master title style</a:t>
            </a:r>
            <a:endParaRPr lang="en-GB" dirty="0"/>
          </a:p>
        </p:txBody>
      </p:sp>
      <p:sp>
        <p:nvSpPr>
          <p:cNvPr id="12" name="Text Placeholder 2"/>
          <p:cNvSpPr>
            <a:spLocks noGrp="1"/>
          </p:cNvSpPr>
          <p:nvPr>
            <p:ph type="body" sz="quarter" idx="16" hasCustomPrompt="1"/>
          </p:nvPr>
        </p:nvSpPr>
        <p:spPr>
          <a:xfrm>
            <a:off x="478869" y="924738"/>
            <a:ext cx="10104000" cy="369332"/>
          </a:xfrm>
        </p:spPr>
        <p:txBody>
          <a:bodyPr anchor="t" anchorCtr="0">
            <a:noAutofit/>
          </a:bodyPr>
          <a:lstStyle>
            <a:lvl1pPr marL="0" indent="0">
              <a:spcAft>
                <a:spcPts val="0"/>
              </a:spcAft>
              <a:buNone/>
              <a:defRPr sz="2400"/>
            </a:lvl1pPr>
            <a:lvl2pPr marL="361942" indent="0">
              <a:buNone/>
              <a:defRPr/>
            </a:lvl2pPr>
            <a:lvl3pPr marL="711182" indent="0">
              <a:buNone/>
              <a:defRPr/>
            </a:lvl3pPr>
            <a:lvl4pPr marL="1087939" indent="0">
              <a:buNone/>
              <a:defRPr/>
            </a:lvl4pPr>
            <a:lvl5pPr marL="1473163" indent="0">
              <a:buNone/>
              <a:defRPr/>
            </a:lvl5pPr>
          </a:lstStyle>
          <a:p>
            <a:pPr lvl="0"/>
            <a:r>
              <a:rPr lang="en-US" dirty="0"/>
              <a:t>Subtitle here if required</a:t>
            </a:r>
          </a:p>
        </p:txBody>
      </p:sp>
      <p:sp>
        <p:nvSpPr>
          <p:cNvPr id="6" name="Date Placeholder 5"/>
          <p:cNvSpPr>
            <a:spLocks noGrp="1"/>
          </p:cNvSpPr>
          <p:nvPr>
            <p:ph type="dt" sz="half" idx="17"/>
          </p:nvPr>
        </p:nvSpPr>
        <p:spPr>
          <a:xfrm>
            <a:off x="3980329" y="6272002"/>
            <a:ext cx="4219640" cy="365125"/>
          </a:xfrm>
          <a:prstGeom prst="rect">
            <a:avLst/>
          </a:prstGeom>
        </p:spPr>
        <p:txBody>
          <a:bodyPr/>
          <a:lstStyle/>
          <a:p>
            <a:pPr algn="ctr"/>
            <a:endParaRPr lang="en-GB" dirty="0">
              <a:solidFill>
                <a:srgbClr val="9A8B7D"/>
              </a:solidFill>
            </a:endParaRPr>
          </a:p>
        </p:txBody>
      </p:sp>
      <p:sp>
        <p:nvSpPr>
          <p:cNvPr id="7" name="Footer Placeholder 6"/>
          <p:cNvSpPr>
            <a:spLocks noGrp="1"/>
          </p:cNvSpPr>
          <p:nvPr>
            <p:ph type="ftr" sz="quarter" idx="18"/>
          </p:nvPr>
        </p:nvSpPr>
        <p:spPr>
          <a:xfrm>
            <a:off x="383159" y="6272002"/>
            <a:ext cx="3515743" cy="365125"/>
          </a:xfrm>
          <a:prstGeom prst="rect">
            <a:avLst/>
          </a:prstGeom>
        </p:spPr>
        <p:txBody>
          <a:bodyPr/>
          <a:lstStyle/>
          <a:p>
            <a:endParaRPr lang="en-GB" dirty="0">
              <a:solidFill>
                <a:srgbClr val="9A8B7D"/>
              </a:solidFill>
            </a:endParaRPr>
          </a:p>
        </p:txBody>
      </p:sp>
      <p:sp>
        <p:nvSpPr>
          <p:cNvPr id="8" name="Slide Number Placeholder 7"/>
          <p:cNvSpPr>
            <a:spLocks noGrp="1"/>
          </p:cNvSpPr>
          <p:nvPr>
            <p:ph type="sldNum" sz="quarter" idx="19"/>
          </p:nvPr>
        </p:nvSpPr>
        <p:spPr>
          <a:xfrm>
            <a:off x="10623178" y="6272002"/>
            <a:ext cx="1106831" cy="365125"/>
          </a:xfrm>
          <a:prstGeom prst="rect">
            <a:avLst/>
          </a:prstGeom>
        </p:spPr>
        <p:txBody>
          <a:bodyPr/>
          <a:lstStyle/>
          <a:p>
            <a:fld id="{9F9F533D-B52E-4A2F-BF72-0ADD2D94BD75}" type="slidenum">
              <a:rPr lang="en-GB" smtClean="0">
                <a:solidFill>
                  <a:srgbClr val="9A8B7D"/>
                </a:solidFill>
              </a:rPr>
              <a:pPr/>
              <a:t>‹#›</a:t>
            </a:fld>
            <a:endParaRPr lang="en-GB">
              <a:solidFill>
                <a:srgbClr val="9A8B7D"/>
              </a:solidFill>
            </a:endParaRPr>
          </a:p>
        </p:txBody>
      </p:sp>
    </p:spTree>
    <p:extLst>
      <p:ext uri="{BB962C8B-B14F-4D97-AF65-F5344CB8AC3E}">
        <p14:creationId xmlns:p14="http://schemas.microsoft.com/office/powerpoint/2010/main" val="63645476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78870" y="1590986"/>
            <a:ext cx="5314951" cy="41007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hasCustomPrompt="1"/>
          </p:nvPr>
        </p:nvSpPr>
        <p:spPr>
          <a:xfrm>
            <a:off x="6398401" y="1562101"/>
            <a:ext cx="5310263" cy="3873499"/>
          </a:xfrm>
        </p:spPr>
        <p:txBody>
          <a:bodyPr lIns="0" tIns="0"/>
          <a:lstStyle>
            <a:lvl1pPr marL="0" indent="0">
              <a:buNone/>
              <a:defRPr sz="1467" baseline="0"/>
            </a:lvl1pPr>
          </a:lstStyle>
          <a:p>
            <a:r>
              <a:rPr lang="en-GB" dirty="0"/>
              <a:t>Click on the picture icon to insert your picture</a:t>
            </a:r>
          </a:p>
        </p:txBody>
      </p:sp>
      <p:sp>
        <p:nvSpPr>
          <p:cNvPr id="11" name="Text Placeholder 7"/>
          <p:cNvSpPr>
            <a:spLocks noGrp="1"/>
          </p:cNvSpPr>
          <p:nvPr>
            <p:ph type="body" sz="quarter" idx="26" hasCustomPrompt="1"/>
          </p:nvPr>
        </p:nvSpPr>
        <p:spPr>
          <a:xfrm>
            <a:off x="6398400" y="5568825"/>
            <a:ext cx="5328355" cy="465665"/>
          </a:xfrm>
        </p:spPr>
        <p:txBody>
          <a:bodyPr lIns="0" tIns="0" rIns="0" bIns="0"/>
          <a:lstStyle>
            <a:lvl1pPr marL="0" indent="0">
              <a:buNone/>
              <a:defRPr sz="1067">
                <a:solidFill>
                  <a:schemeClr val="bg2"/>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US" dirty="0"/>
              <a:t>Enter your image caption text here</a:t>
            </a:r>
          </a:p>
        </p:txBody>
      </p:sp>
      <p:sp>
        <p:nvSpPr>
          <p:cNvPr id="6" name="Title 5"/>
          <p:cNvSpPr>
            <a:spLocks noGrp="1"/>
          </p:cNvSpPr>
          <p:nvPr>
            <p:ph type="title"/>
          </p:nvPr>
        </p:nvSpPr>
        <p:spPr>
          <a:xfrm>
            <a:off x="478870" y="384852"/>
            <a:ext cx="10102852" cy="451405"/>
          </a:xfrm>
        </p:spPr>
        <p:txBody>
          <a:bodyPr/>
          <a:lstStyle/>
          <a:p>
            <a:r>
              <a:rPr lang="en-US"/>
              <a:t>Click to edit Master title style</a:t>
            </a:r>
            <a:endParaRPr lang="en-GB"/>
          </a:p>
        </p:txBody>
      </p:sp>
      <p:sp>
        <p:nvSpPr>
          <p:cNvPr id="12" name="Text Placeholder 2"/>
          <p:cNvSpPr>
            <a:spLocks noGrp="1"/>
          </p:cNvSpPr>
          <p:nvPr>
            <p:ph type="body" sz="quarter" idx="27" hasCustomPrompt="1"/>
          </p:nvPr>
        </p:nvSpPr>
        <p:spPr>
          <a:xfrm>
            <a:off x="478869" y="924738"/>
            <a:ext cx="10104000" cy="369332"/>
          </a:xfrm>
        </p:spPr>
        <p:txBody>
          <a:bodyPr anchor="t" anchorCtr="0">
            <a:noAutofit/>
          </a:bodyPr>
          <a:lstStyle>
            <a:lvl1pPr marL="0" indent="0">
              <a:spcAft>
                <a:spcPts val="0"/>
              </a:spcAft>
              <a:buNone/>
              <a:defRPr sz="2400"/>
            </a:lvl1pPr>
            <a:lvl2pPr marL="361942" indent="0">
              <a:buNone/>
              <a:defRPr/>
            </a:lvl2pPr>
            <a:lvl3pPr marL="711182" indent="0">
              <a:buNone/>
              <a:defRPr/>
            </a:lvl3pPr>
            <a:lvl4pPr marL="1087939" indent="0">
              <a:buNone/>
              <a:defRPr/>
            </a:lvl4pPr>
            <a:lvl5pPr marL="1473163" indent="0">
              <a:buNone/>
              <a:defRPr/>
            </a:lvl5pPr>
          </a:lstStyle>
          <a:p>
            <a:pPr lvl="0"/>
            <a:r>
              <a:rPr lang="en-US" dirty="0"/>
              <a:t>Subtitle here if required</a:t>
            </a:r>
          </a:p>
        </p:txBody>
      </p:sp>
      <p:sp>
        <p:nvSpPr>
          <p:cNvPr id="5" name="Date Placeholder 4"/>
          <p:cNvSpPr>
            <a:spLocks noGrp="1"/>
          </p:cNvSpPr>
          <p:nvPr>
            <p:ph type="dt" sz="half" idx="28"/>
          </p:nvPr>
        </p:nvSpPr>
        <p:spPr>
          <a:xfrm>
            <a:off x="3980329" y="6272002"/>
            <a:ext cx="4219640" cy="365125"/>
          </a:xfrm>
          <a:prstGeom prst="rect">
            <a:avLst/>
          </a:prstGeom>
        </p:spPr>
        <p:txBody>
          <a:bodyPr/>
          <a:lstStyle/>
          <a:p>
            <a:pPr algn="ctr"/>
            <a:endParaRPr lang="en-GB" dirty="0">
              <a:solidFill>
                <a:srgbClr val="9A8B7D"/>
              </a:solidFill>
            </a:endParaRPr>
          </a:p>
        </p:txBody>
      </p:sp>
      <p:sp>
        <p:nvSpPr>
          <p:cNvPr id="8" name="Footer Placeholder 7"/>
          <p:cNvSpPr>
            <a:spLocks noGrp="1"/>
          </p:cNvSpPr>
          <p:nvPr>
            <p:ph type="ftr" sz="quarter" idx="29"/>
          </p:nvPr>
        </p:nvSpPr>
        <p:spPr>
          <a:xfrm>
            <a:off x="383159" y="6272002"/>
            <a:ext cx="3515743" cy="365125"/>
          </a:xfrm>
          <a:prstGeom prst="rect">
            <a:avLst/>
          </a:prstGeom>
        </p:spPr>
        <p:txBody>
          <a:bodyPr/>
          <a:lstStyle/>
          <a:p>
            <a:endParaRPr lang="en-GB" dirty="0">
              <a:solidFill>
                <a:srgbClr val="9A8B7D"/>
              </a:solidFill>
            </a:endParaRPr>
          </a:p>
        </p:txBody>
      </p:sp>
      <p:sp>
        <p:nvSpPr>
          <p:cNvPr id="10" name="Slide Number Placeholder 9"/>
          <p:cNvSpPr>
            <a:spLocks noGrp="1"/>
          </p:cNvSpPr>
          <p:nvPr>
            <p:ph type="sldNum" sz="quarter" idx="30"/>
          </p:nvPr>
        </p:nvSpPr>
        <p:spPr>
          <a:xfrm>
            <a:off x="10623178" y="6272002"/>
            <a:ext cx="1106831" cy="365125"/>
          </a:xfrm>
          <a:prstGeom prst="rect">
            <a:avLst/>
          </a:prstGeom>
        </p:spPr>
        <p:txBody>
          <a:bodyPr/>
          <a:lstStyle/>
          <a:p>
            <a:fld id="{9F9F533D-B52E-4A2F-BF72-0ADD2D94BD75}" type="slidenum">
              <a:rPr lang="en-GB" smtClean="0">
                <a:solidFill>
                  <a:srgbClr val="9A8B7D"/>
                </a:solidFill>
              </a:rPr>
              <a:pPr/>
              <a:t>‹#›</a:t>
            </a:fld>
            <a:endParaRPr lang="en-GB">
              <a:solidFill>
                <a:srgbClr val="9A8B7D"/>
              </a:solidFill>
            </a:endParaRPr>
          </a:p>
        </p:txBody>
      </p:sp>
    </p:spTree>
    <p:extLst>
      <p:ext uri="{BB962C8B-B14F-4D97-AF65-F5344CB8AC3E}">
        <p14:creationId xmlns:p14="http://schemas.microsoft.com/office/powerpoint/2010/main" val="426155968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Image and Tex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lang="en-GB" dirty="0"/>
          </a:p>
        </p:txBody>
      </p:sp>
      <p:sp>
        <p:nvSpPr>
          <p:cNvPr id="19" name="Text Placeholder 6"/>
          <p:cNvSpPr>
            <a:spLocks noGrp="1"/>
          </p:cNvSpPr>
          <p:nvPr>
            <p:ph type="body" sz="quarter" idx="13"/>
          </p:nvPr>
        </p:nvSpPr>
        <p:spPr>
          <a:xfrm>
            <a:off x="478870" y="1587502"/>
            <a:ext cx="5314951" cy="41007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Picture Placeholder 8"/>
          <p:cNvSpPr>
            <a:spLocks noGrp="1"/>
          </p:cNvSpPr>
          <p:nvPr>
            <p:ph type="pic" sz="quarter" idx="14" hasCustomPrompt="1"/>
          </p:nvPr>
        </p:nvSpPr>
        <p:spPr>
          <a:xfrm>
            <a:off x="6398400" y="1587501"/>
            <a:ext cx="5329059" cy="1638299"/>
          </a:xfrm>
        </p:spPr>
        <p:txBody>
          <a:bodyPr lIns="0" tIns="0"/>
          <a:lstStyle>
            <a:lvl1pPr marL="0" indent="0">
              <a:buNone/>
              <a:defRPr sz="1467" baseline="0"/>
            </a:lvl1pPr>
          </a:lstStyle>
          <a:p>
            <a:r>
              <a:rPr lang="en-GB" dirty="0"/>
              <a:t>Click on the picture icon to insert your picture</a:t>
            </a:r>
          </a:p>
        </p:txBody>
      </p:sp>
      <p:sp>
        <p:nvSpPr>
          <p:cNvPr id="21" name="Text Placeholder 7"/>
          <p:cNvSpPr>
            <a:spLocks noGrp="1"/>
          </p:cNvSpPr>
          <p:nvPr>
            <p:ph type="body" sz="quarter" idx="26" hasCustomPrompt="1"/>
          </p:nvPr>
        </p:nvSpPr>
        <p:spPr>
          <a:xfrm>
            <a:off x="6398400" y="3357036"/>
            <a:ext cx="5328355" cy="338665"/>
          </a:xfrm>
        </p:spPr>
        <p:txBody>
          <a:bodyPr lIns="0" tIns="0" rIns="0" bIns="0"/>
          <a:lstStyle>
            <a:lvl1pPr marL="0" indent="0">
              <a:spcAft>
                <a:spcPts val="0"/>
              </a:spcAft>
              <a:buNone/>
              <a:defRPr sz="1067">
                <a:solidFill>
                  <a:schemeClr val="bg2"/>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US" dirty="0"/>
              <a:t>Enter your image caption text here</a:t>
            </a:r>
          </a:p>
        </p:txBody>
      </p:sp>
      <p:sp>
        <p:nvSpPr>
          <p:cNvPr id="35" name="Picture Placeholder 8"/>
          <p:cNvSpPr>
            <a:spLocks noGrp="1"/>
          </p:cNvSpPr>
          <p:nvPr>
            <p:ph type="pic" sz="quarter" idx="27" hasCustomPrompt="1"/>
          </p:nvPr>
        </p:nvSpPr>
        <p:spPr>
          <a:xfrm>
            <a:off x="6398400" y="3793068"/>
            <a:ext cx="5329059" cy="1638299"/>
          </a:xfrm>
        </p:spPr>
        <p:txBody>
          <a:bodyPr lIns="0" tIns="0"/>
          <a:lstStyle>
            <a:lvl1pPr marL="0" indent="0">
              <a:buNone/>
              <a:defRPr sz="1467" baseline="0"/>
            </a:lvl1pPr>
          </a:lstStyle>
          <a:p>
            <a:r>
              <a:rPr lang="en-GB" dirty="0"/>
              <a:t>Click on the picture icon to insert your picture</a:t>
            </a:r>
          </a:p>
        </p:txBody>
      </p:sp>
      <p:sp>
        <p:nvSpPr>
          <p:cNvPr id="36" name="Text Placeholder 7"/>
          <p:cNvSpPr>
            <a:spLocks noGrp="1"/>
          </p:cNvSpPr>
          <p:nvPr>
            <p:ph type="body" sz="quarter" idx="28" hasCustomPrompt="1"/>
          </p:nvPr>
        </p:nvSpPr>
        <p:spPr>
          <a:xfrm>
            <a:off x="6398400" y="5562602"/>
            <a:ext cx="5328355" cy="338665"/>
          </a:xfrm>
        </p:spPr>
        <p:txBody>
          <a:bodyPr lIns="0" tIns="0" rIns="0" bIns="0"/>
          <a:lstStyle>
            <a:lvl1pPr marL="0" indent="0">
              <a:spcAft>
                <a:spcPts val="0"/>
              </a:spcAft>
              <a:buNone/>
              <a:defRPr sz="1067">
                <a:solidFill>
                  <a:schemeClr val="bg2"/>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US" dirty="0"/>
              <a:t>Enter your image caption text here</a:t>
            </a:r>
          </a:p>
        </p:txBody>
      </p:sp>
      <p:sp>
        <p:nvSpPr>
          <p:cNvPr id="37" name="Text Placeholder 2"/>
          <p:cNvSpPr>
            <a:spLocks noGrp="1"/>
          </p:cNvSpPr>
          <p:nvPr>
            <p:ph type="body" sz="quarter" idx="29" hasCustomPrompt="1"/>
          </p:nvPr>
        </p:nvSpPr>
        <p:spPr>
          <a:xfrm>
            <a:off x="478869" y="924738"/>
            <a:ext cx="10104000" cy="369332"/>
          </a:xfrm>
        </p:spPr>
        <p:txBody>
          <a:bodyPr anchor="t" anchorCtr="0">
            <a:noAutofit/>
          </a:bodyPr>
          <a:lstStyle>
            <a:lvl1pPr marL="0" indent="0">
              <a:spcAft>
                <a:spcPts val="0"/>
              </a:spcAft>
              <a:buNone/>
              <a:defRPr sz="2400"/>
            </a:lvl1pPr>
            <a:lvl2pPr marL="361942" indent="0">
              <a:buNone/>
              <a:defRPr/>
            </a:lvl2pPr>
            <a:lvl3pPr marL="711182" indent="0">
              <a:buNone/>
              <a:defRPr/>
            </a:lvl3pPr>
            <a:lvl4pPr marL="1087939" indent="0">
              <a:buNone/>
              <a:defRPr/>
            </a:lvl4pPr>
            <a:lvl5pPr marL="1473163" indent="0">
              <a:buNone/>
              <a:defRPr/>
            </a:lvl5pPr>
          </a:lstStyle>
          <a:p>
            <a:pPr lvl="0"/>
            <a:r>
              <a:rPr lang="en-US" dirty="0"/>
              <a:t>Subtitle here if required</a:t>
            </a:r>
          </a:p>
        </p:txBody>
      </p:sp>
      <p:sp>
        <p:nvSpPr>
          <p:cNvPr id="2" name="Date Placeholder 1"/>
          <p:cNvSpPr>
            <a:spLocks noGrp="1"/>
          </p:cNvSpPr>
          <p:nvPr>
            <p:ph type="dt" sz="half" idx="30"/>
          </p:nvPr>
        </p:nvSpPr>
        <p:spPr>
          <a:xfrm>
            <a:off x="3980329" y="6272002"/>
            <a:ext cx="4219640" cy="365125"/>
          </a:xfrm>
          <a:prstGeom prst="rect">
            <a:avLst/>
          </a:prstGeom>
        </p:spPr>
        <p:txBody>
          <a:bodyPr/>
          <a:lstStyle/>
          <a:p>
            <a:pPr algn="ctr"/>
            <a:endParaRPr lang="en-GB" dirty="0">
              <a:solidFill>
                <a:srgbClr val="9A8B7D"/>
              </a:solidFill>
            </a:endParaRPr>
          </a:p>
        </p:txBody>
      </p:sp>
      <p:sp>
        <p:nvSpPr>
          <p:cNvPr id="3" name="Footer Placeholder 2"/>
          <p:cNvSpPr>
            <a:spLocks noGrp="1"/>
          </p:cNvSpPr>
          <p:nvPr>
            <p:ph type="ftr" sz="quarter" idx="31"/>
          </p:nvPr>
        </p:nvSpPr>
        <p:spPr>
          <a:xfrm>
            <a:off x="383159" y="6272002"/>
            <a:ext cx="3515743" cy="365125"/>
          </a:xfrm>
          <a:prstGeom prst="rect">
            <a:avLst/>
          </a:prstGeom>
        </p:spPr>
        <p:txBody>
          <a:bodyPr/>
          <a:lstStyle/>
          <a:p>
            <a:endParaRPr lang="en-GB" dirty="0">
              <a:solidFill>
                <a:srgbClr val="9A8B7D"/>
              </a:solidFill>
            </a:endParaRPr>
          </a:p>
        </p:txBody>
      </p:sp>
      <p:sp>
        <p:nvSpPr>
          <p:cNvPr id="4" name="Slide Number Placeholder 3"/>
          <p:cNvSpPr>
            <a:spLocks noGrp="1"/>
          </p:cNvSpPr>
          <p:nvPr>
            <p:ph type="sldNum" sz="quarter" idx="32"/>
          </p:nvPr>
        </p:nvSpPr>
        <p:spPr>
          <a:xfrm>
            <a:off x="10623178" y="6272002"/>
            <a:ext cx="1106831" cy="365125"/>
          </a:xfrm>
          <a:prstGeom prst="rect">
            <a:avLst/>
          </a:prstGeom>
        </p:spPr>
        <p:txBody>
          <a:bodyPr/>
          <a:lstStyle/>
          <a:p>
            <a:fld id="{9F9F533D-B52E-4A2F-BF72-0ADD2D94BD75}" type="slidenum">
              <a:rPr lang="en-GB" smtClean="0">
                <a:solidFill>
                  <a:srgbClr val="9A8B7D"/>
                </a:solidFill>
              </a:rPr>
              <a:pPr/>
              <a:t>‹#›</a:t>
            </a:fld>
            <a:endParaRPr lang="en-GB">
              <a:solidFill>
                <a:srgbClr val="9A8B7D"/>
              </a:solidFill>
            </a:endParaRPr>
          </a:p>
        </p:txBody>
      </p:sp>
    </p:spTree>
    <p:extLst>
      <p:ext uri="{BB962C8B-B14F-4D97-AF65-F5344CB8AC3E}">
        <p14:creationId xmlns:p14="http://schemas.microsoft.com/office/powerpoint/2010/main" val="4387041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and Content with Subheading">
    <p:spTree>
      <p:nvGrpSpPr>
        <p:cNvPr id="1" name=""/>
        <p:cNvGrpSpPr/>
        <p:nvPr/>
      </p:nvGrpSpPr>
      <p:grpSpPr>
        <a:xfrm>
          <a:off x="0" y="0"/>
          <a:ext cx="0" cy="0"/>
          <a:chOff x="0" y="0"/>
          <a:chExt cx="0" cy="0"/>
        </a:xfrm>
      </p:grpSpPr>
      <p:sp>
        <p:nvSpPr>
          <p:cNvPr id="6" name="Title 5"/>
          <p:cNvSpPr>
            <a:spLocks noGrp="1"/>
          </p:cNvSpPr>
          <p:nvPr>
            <p:ph type="title"/>
          </p:nvPr>
        </p:nvSpPr>
        <p:spPr>
          <a:xfrm>
            <a:off x="486833" y="46543"/>
            <a:ext cx="10102852" cy="586821"/>
          </a:xfrm>
        </p:spPr>
        <p:txBody>
          <a:bodyPr/>
          <a:lstStyle/>
          <a:p>
            <a:r>
              <a:rPr lang="en-US" dirty="0"/>
              <a:t>Click to edit Master title style</a:t>
            </a:r>
            <a:endParaRPr lang="en-GB" dirty="0"/>
          </a:p>
        </p:txBody>
      </p:sp>
      <p:sp>
        <p:nvSpPr>
          <p:cNvPr id="10" name="Content Placeholder 9"/>
          <p:cNvSpPr>
            <a:spLocks noGrp="1"/>
          </p:cNvSpPr>
          <p:nvPr>
            <p:ph sz="quarter" idx="19"/>
          </p:nvPr>
        </p:nvSpPr>
        <p:spPr>
          <a:xfrm>
            <a:off x="486833" y="1533526"/>
            <a:ext cx="11224684" cy="445611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2"/>
          <p:cNvSpPr>
            <a:spLocks noGrp="1"/>
          </p:cNvSpPr>
          <p:nvPr>
            <p:ph type="body" sz="quarter" idx="13" hasCustomPrompt="1"/>
          </p:nvPr>
        </p:nvSpPr>
        <p:spPr>
          <a:xfrm>
            <a:off x="486833" y="1184781"/>
            <a:ext cx="11224684" cy="413127"/>
          </a:xfrm>
        </p:spPr>
        <p:txBody>
          <a:bodyPr anchor="t" anchorCtr="0">
            <a:spAutoFit/>
          </a:bodyPr>
          <a:lstStyle>
            <a:lvl1pPr marL="0" indent="0">
              <a:spcAft>
                <a:spcPts val="0"/>
              </a:spcAft>
              <a:buNone/>
              <a:defRPr sz="1900" b="1">
                <a:solidFill>
                  <a:schemeClr val="bg2"/>
                </a:solidFill>
              </a:defRPr>
            </a:lvl1pPr>
            <a:lvl2pPr marL="323462" indent="0">
              <a:buNone/>
              <a:defRPr/>
            </a:lvl2pPr>
            <a:lvl3pPr marL="634832" indent="0">
              <a:buNone/>
              <a:defRPr/>
            </a:lvl3pPr>
            <a:lvl4pPr marL="971143" indent="0">
              <a:buNone/>
              <a:defRPr/>
            </a:lvl4pPr>
            <a:lvl5pPr marL="1315010" indent="0">
              <a:buNone/>
              <a:defRPr/>
            </a:lvl5pPr>
          </a:lstStyle>
          <a:p>
            <a:pPr lvl="0"/>
            <a:r>
              <a:rPr lang="en-US" dirty="0"/>
              <a:t>Subheading here if required</a:t>
            </a:r>
          </a:p>
        </p:txBody>
      </p:sp>
      <p:sp>
        <p:nvSpPr>
          <p:cNvPr id="5" name="Date Placeholder 4"/>
          <p:cNvSpPr>
            <a:spLocks noGrp="1"/>
          </p:cNvSpPr>
          <p:nvPr>
            <p:ph type="dt" sz="half" idx="20"/>
          </p:nvPr>
        </p:nvSpPr>
        <p:spPr>
          <a:xfrm>
            <a:off x="3980330" y="6437314"/>
            <a:ext cx="4219640" cy="365125"/>
          </a:xfrm>
          <a:prstGeom prst="rect">
            <a:avLst/>
          </a:prstGeom>
        </p:spPr>
        <p:txBody>
          <a:bodyPr lIns="108850" tIns="54425" rIns="108850" bIns="54425"/>
          <a:lstStyle/>
          <a:p>
            <a:pPr algn="ctr"/>
            <a:endParaRPr lang="en-GB" dirty="0">
              <a:solidFill>
                <a:srgbClr val="9A8B7D"/>
              </a:solidFill>
            </a:endParaRPr>
          </a:p>
        </p:txBody>
      </p:sp>
      <p:sp>
        <p:nvSpPr>
          <p:cNvPr id="7" name="Footer Placeholder 6"/>
          <p:cNvSpPr>
            <a:spLocks noGrp="1"/>
          </p:cNvSpPr>
          <p:nvPr>
            <p:ph type="ftr" sz="quarter" idx="21"/>
          </p:nvPr>
        </p:nvSpPr>
        <p:spPr>
          <a:xfrm>
            <a:off x="383158" y="6437314"/>
            <a:ext cx="3515743" cy="365125"/>
          </a:xfrm>
          <a:prstGeom prst="rect">
            <a:avLst/>
          </a:prstGeom>
        </p:spPr>
        <p:txBody>
          <a:bodyPr lIns="108850" tIns="54425" rIns="108850" bIns="54425"/>
          <a:lstStyle/>
          <a:p>
            <a:endParaRPr lang="en-GB" dirty="0">
              <a:solidFill>
                <a:srgbClr val="9A8B7D"/>
              </a:solidFill>
            </a:endParaRPr>
          </a:p>
        </p:txBody>
      </p:sp>
      <p:sp>
        <p:nvSpPr>
          <p:cNvPr id="8" name="Slide Number Placeholder 7"/>
          <p:cNvSpPr>
            <a:spLocks noGrp="1"/>
          </p:cNvSpPr>
          <p:nvPr>
            <p:ph type="sldNum" sz="quarter" idx="22"/>
          </p:nvPr>
        </p:nvSpPr>
        <p:spPr>
          <a:xfrm>
            <a:off x="10623177" y="6437314"/>
            <a:ext cx="1106831" cy="365125"/>
          </a:xfrm>
          <a:prstGeom prst="rect">
            <a:avLst/>
          </a:prstGeom>
        </p:spPr>
        <p:txBody>
          <a:bodyPr lIns="108850" tIns="54425" rIns="108850" bIns="54425"/>
          <a:lstStyle/>
          <a:p>
            <a:fld id="{9F9F533D-B52E-4A2F-BF72-0ADD2D94BD75}" type="slidenum">
              <a:rPr lang="en-GB" smtClean="0">
                <a:solidFill>
                  <a:srgbClr val="9A8B7D"/>
                </a:solidFill>
              </a:rPr>
              <a:pPr/>
              <a:t>‹#›</a:t>
            </a:fld>
            <a:endParaRPr lang="en-GB">
              <a:solidFill>
                <a:srgbClr val="9A8B7D"/>
              </a:solidFill>
            </a:endParaRPr>
          </a:p>
        </p:txBody>
      </p:sp>
      <p:sp>
        <p:nvSpPr>
          <p:cNvPr id="12" name="Text Placeholder 2"/>
          <p:cNvSpPr>
            <a:spLocks noGrp="1"/>
          </p:cNvSpPr>
          <p:nvPr>
            <p:ph type="body" sz="quarter" idx="14" hasCustomPrompt="1"/>
          </p:nvPr>
        </p:nvSpPr>
        <p:spPr>
          <a:xfrm>
            <a:off x="486833" y="692554"/>
            <a:ext cx="10130368" cy="234950"/>
          </a:xfrm>
        </p:spPr>
        <p:txBody>
          <a:bodyPr anchor="t" anchorCtr="0"/>
          <a:lstStyle>
            <a:lvl1pPr marL="0" indent="0">
              <a:spcAft>
                <a:spcPts val="0"/>
              </a:spcAft>
              <a:buNone/>
              <a:defRPr sz="2100"/>
            </a:lvl1pPr>
            <a:lvl2pPr marL="323462" indent="0">
              <a:buNone/>
              <a:defRPr/>
            </a:lvl2pPr>
            <a:lvl3pPr marL="634832" indent="0">
              <a:buNone/>
              <a:defRPr/>
            </a:lvl3pPr>
            <a:lvl4pPr marL="971143" indent="0">
              <a:buNone/>
              <a:defRPr/>
            </a:lvl4pPr>
            <a:lvl5pPr marL="1315010" indent="0">
              <a:buNone/>
              <a:defRPr/>
            </a:lvl5pPr>
          </a:lstStyle>
          <a:p>
            <a:pPr lvl="0"/>
            <a:r>
              <a:rPr lang="en-US" dirty="0"/>
              <a:t>Subtitle here if required</a:t>
            </a:r>
          </a:p>
        </p:txBody>
      </p:sp>
      <p:sp>
        <p:nvSpPr>
          <p:cNvPr id="9" name="Text Placeholder 5"/>
          <p:cNvSpPr>
            <a:spLocks noGrp="1"/>
          </p:cNvSpPr>
          <p:nvPr>
            <p:ph type="body" sz="quarter" idx="18" hasCustomPrompt="1"/>
          </p:nvPr>
        </p:nvSpPr>
        <p:spPr>
          <a:xfrm>
            <a:off x="492757" y="5919009"/>
            <a:ext cx="11261094" cy="262189"/>
          </a:xfrm>
        </p:spPr>
        <p:txBody>
          <a:bodyPr wrap="square" anchor="b" anchorCtr="0">
            <a:spAutoFit/>
          </a:bodyPr>
          <a:lstStyle>
            <a:lvl1pPr marL="0" indent="0">
              <a:buNone/>
              <a:defRPr sz="1000" baseline="0"/>
            </a:lvl1pPr>
            <a:lvl2pPr marL="318927" indent="0">
              <a:buNone/>
              <a:defRPr sz="1000"/>
            </a:lvl2pPr>
            <a:lvl3pPr marL="642389" indent="0">
              <a:buNone/>
              <a:defRPr sz="1000"/>
            </a:lvl3pPr>
            <a:lvl4pPr marL="965096" indent="0">
              <a:buNone/>
              <a:defRPr sz="1000"/>
            </a:lvl4pPr>
            <a:lvl5pPr marL="1285536" indent="0">
              <a:buNone/>
              <a:defRPr sz="1000"/>
            </a:lvl5pPr>
          </a:lstStyle>
          <a:p>
            <a:pPr lvl="0"/>
            <a:r>
              <a:rPr lang="en-US" dirty="0"/>
              <a:t>Insert Source text here</a:t>
            </a:r>
          </a:p>
        </p:txBody>
      </p:sp>
    </p:spTree>
    <p:extLst>
      <p:ext uri="{BB962C8B-B14F-4D97-AF65-F5344CB8AC3E}">
        <p14:creationId xmlns:p14="http://schemas.microsoft.com/office/powerpoint/2010/main" val="79326448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6" name="矩形 5">
            <a:extLst>
              <a:ext uri="{FF2B5EF4-FFF2-40B4-BE49-F238E27FC236}">
                <a16:creationId xmlns:a16="http://schemas.microsoft.com/office/drawing/2014/main" id="{B0570700-F9F1-47B5-8E84-FB33E107BBC9}"/>
              </a:ext>
            </a:extLst>
          </p:cNvPr>
          <p:cNvSpPr/>
          <p:nvPr userDrawn="1"/>
        </p:nvSpPr>
        <p:spPr bwMode="auto">
          <a:xfrm>
            <a:off x="457200" y="684798"/>
            <a:ext cx="11340548" cy="320625"/>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fontAlgn="auto" hangingPunct="0">
              <a:spcBef>
                <a:spcPts val="0"/>
              </a:spcBef>
              <a:spcAft>
                <a:spcPts val="0"/>
              </a:spcAft>
              <a:buClr>
                <a:schemeClr val="bg1"/>
              </a:buClr>
              <a:buFont typeface="Arial" pitchFamily="34" charset="0"/>
              <a:buChar char="–"/>
            </a:pPr>
            <a:endParaRPr lang="zh-CN" altLang="en-US" sz="1200" b="1" kern="0" dirty="0" err="1">
              <a:solidFill>
                <a:srgbClr val="FFFFFF"/>
              </a:solidFill>
              <a:latin typeface="Arial"/>
            </a:endParaRPr>
          </a:p>
        </p:txBody>
      </p:sp>
      <p:sp>
        <p:nvSpPr>
          <p:cNvPr id="8" name="矩形 7">
            <a:extLst>
              <a:ext uri="{FF2B5EF4-FFF2-40B4-BE49-F238E27FC236}">
                <a16:creationId xmlns:a16="http://schemas.microsoft.com/office/drawing/2014/main" id="{9953565B-B4BC-46D5-8D6B-327BE596F606}"/>
              </a:ext>
            </a:extLst>
          </p:cNvPr>
          <p:cNvSpPr/>
          <p:nvPr userDrawn="1"/>
        </p:nvSpPr>
        <p:spPr bwMode="auto">
          <a:xfrm>
            <a:off x="425726" y="5852577"/>
            <a:ext cx="11340548" cy="320625"/>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fontAlgn="auto" hangingPunct="0">
              <a:spcBef>
                <a:spcPts val="0"/>
              </a:spcBef>
              <a:spcAft>
                <a:spcPts val="0"/>
              </a:spcAft>
              <a:buClr>
                <a:schemeClr val="bg1"/>
              </a:buClr>
              <a:buFont typeface="Arial" pitchFamily="34" charset="0"/>
              <a:buChar char="–"/>
            </a:pPr>
            <a:endParaRPr lang="zh-CN" altLang="en-US" sz="1200" b="1" kern="0" dirty="0" err="1">
              <a:solidFill>
                <a:srgbClr val="FFFFFF"/>
              </a:solidFill>
              <a:latin typeface="Arial"/>
            </a:endParaRPr>
          </a:p>
        </p:txBody>
      </p:sp>
      <p:sp>
        <p:nvSpPr>
          <p:cNvPr id="7" name="矩形 6">
            <a:extLst>
              <a:ext uri="{FF2B5EF4-FFF2-40B4-BE49-F238E27FC236}">
                <a16:creationId xmlns:a16="http://schemas.microsoft.com/office/drawing/2014/main" id="{16DB2622-9EC8-4B0B-9DD5-F27F5B6FB90B}"/>
              </a:ext>
            </a:extLst>
          </p:cNvPr>
          <p:cNvSpPr/>
          <p:nvPr userDrawn="1"/>
        </p:nvSpPr>
        <p:spPr bwMode="auto">
          <a:xfrm>
            <a:off x="10737851" y="6072809"/>
            <a:ext cx="1454149" cy="785191"/>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80975" indent="-180975" algn="ctr" eaLnBrk="0" fontAlgn="auto" hangingPunct="0">
              <a:spcBef>
                <a:spcPts val="0"/>
              </a:spcBef>
              <a:spcAft>
                <a:spcPts val="0"/>
              </a:spcAft>
              <a:buClr>
                <a:schemeClr val="bg1"/>
              </a:buClr>
              <a:buFont typeface="Arial" pitchFamily="34" charset="0"/>
              <a:buChar char="–"/>
            </a:pPr>
            <a:endParaRPr lang="zh-CN" altLang="en-US" sz="1200" b="1" kern="0" dirty="0" err="1">
              <a:solidFill>
                <a:srgbClr val="FFFFFF"/>
              </a:solidFill>
              <a:latin typeface="Arial"/>
            </a:endParaRPr>
          </a:p>
        </p:txBody>
      </p:sp>
    </p:spTree>
    <p:extLst>
      <p:ext uri="{BB962C8B-B14F-4D97-AF65-F5344CB8AC3E}">
        <p14:creationId xmlns:p14="http://schemas.microsoft.com/office/powerpoint/2010/main" val="233072836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cxnSp>
        <p:nvCxnSpPr>
          <p:cNvPr id="12" name="Straight Connector 11"/>
          <p:cNvCxnSpPr/>
          <p:nvPr userDrawn="1"/>
        </p:nvCxnSpPr>
        <p:spPr>
          <a:xfrm>
            <a:off x="478869" y="6132244"/>
            <a:ext cx="112320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3980329" y="6272002"/>
            <a:ext cx="4219640" cy="365125"/>
          </a:xfrm>
          <a:prstGeom prst="rect">
            <a:avLst/>
          </a:prstGeom>
        </p:spPr>
        <p:txBody>
          <a:bodyPr/>
          <a:lstStyle/>
          <a:p>
            <a:pPr algn="ctr"/>
            <a:endParaRPr lang="en-GB" dirty="0">
              <a:solidFill>
                <a:srgbClr val="9A8B7D"/>
              </a:solidFill>
            </a:endParaRPr>
          </a:p>
        </p:txBody>
      </p:sp>
      <p:sp>
        <p:nvSpPr>
          <p:cNvPr id="3" name="Footer Placeholder 2"/>
          <p:cNvSpPr>
            <a:spLocks noGrp="1"/>
          </p:cNvSpPr>
          <p:nvPr>
            <p:ph type="ftr" sz="quarter" idx="11"/>
          </p:nvPr>
        </p:nvSpPr>
        <p:spPr>
          <a:xfrm>
            <a:off x="383159" y="6272002"/>
            <a:ext cx="3515743" cy="365125"/>
          </a:xfrm>
          <a:prstGeom prst="rect">
            <a:avLst/>
          </a:prstGeom>
        </p:spPr>
        <p:txBody>
          <a:bodyPr/>
          <a:lstStyle/>
          <a:p>
            <a:endParaRPr lang="en-GB" dirty="0">
              <a:solidFill>
                <a:srgbClr val="9A8B7D"/>
              </a:solidFill>
            </a:endParaRPr>
          </a:p>
        </p:txBody>
      </p:sp>
      <p:sp>
        <p:nvSpPr>
          <p:cNvPr id="4" name="Slide Number Placeholder 3"/>
          <p:cNvSpPr>
            <a:spLocks noGrp="1"/>
          </p:cNvSpPr>
          <p:nvPr>
            <p:ph type="sldNum" sz="quarter" idx="12"/>
          </p:nvPr>
        </p:nvSpPr>
        <p:spPr>
          <a:xfrm>
            <a:off x="10623178" y="6272002"/>
            <a:ext cx="1106831" cy="365125"/>
          </a:xfrm>
          <a:prstGeom prst="rect">
            <a:avLst/>
          </a:prstGeom>
        </p:spPr>
        <p:txBody>
          <a:bodyPr/>
          <a:lstStyle/>
          <a:p>
            <a:fld id="{9F9F533D-B52E-4A2F-BF72-0ADD2D94BD75}" type="slidenum">
              <a:rPr lang="en-GB" smtClean="0">
                <a:solidFill>
                  <a:srgbClr val="9A8B7D"/>
                </a:solidFill>
              </a:rPr>
              <a:pPr/>
              <a:t>‹#›</a:t>
            </a:fld>
            <a:endParaRPr lang="en-GB">
              <a:solidFill>
                <a:srgbClr val="9A8B7D"/>
              </a:solidFill>
            </a:endParaRPr>
          </a:p>
        </p:txBody>
      </p:sp>
      <p:pic>
        <p:nvPicPr>
          <p:cNvPr id="6" name="Picture 9">
            <a:extLst>
              <a:ext uri="{FF2B5EF4-FFF2-40B4-BE49-F238E27FC236}">
                <a16:creationId xmlns:a16="http://schemas.microsoft.com/office/drawing/2014/main" id="{5411423D-DE14-1A4C-B414-4E990FE6CB9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174" t="10353" b="10238"/>
          <a:stretch/>
        </p:blipFill>
        <p:spPr>
          <a:xfrm>
            <a:off x="-5538" y="0"/>
            <a:ext cx="12197538" cy="6858000"/>
          </a:xfrm>
          <a:prstGeom prst="rect">
            <a:avLst/>
          </a:prstGeom>
        </p:spPr>
      </p:pic>
    </p:spTree>
    <p:extLst>
      <p:ext uri="{BB962C8B-B14F-4D97-AF65-F5344CB8AC3E}">
        <p14:creationId xmlns:p14="http://schemas.microsoft.com/office/powerpoint/2010/main" val="3115937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标题和内容">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AF31F16C-7D3C-4B7E-BDD2-2F1ECF31E32A}"/>
              </a:ext>
            </a:extLst>
          </p:cNvPr>
          <p:cNvPicPr>
            <a:picLocks noChangeAspect="1"/>
          </p:cNvPicPr>
          <p:nvPr userDrawn="1"/>
        </p:nvPicPr>
        <p:blipFill rotWithShape="1">
          <a:blip r:embed="rId2"/>
          <a:srcRect r="4498"/>
          <a:stretch/>
        </p:blipFill>
        <p:spPr>
          <a:xfrm>
            <a:off x="-26035" y="-2406"/>
            <a:ext cx="12218035" cy="6860406"/>
          </a:xfrm>
          <a:prstGeom prst="rect">
            <a:avLst/>
          </a:prstGeom>
        </p:spPr>
      </p:pic>
      <p:pic>
        <p:nvPicPr>
          <p:cNvPr id="3" name="图片 2">
            <a:extLst>
              <a:ext uri="{FF2B5EF4-FFF2-40B4-BE49-F238E27FC236}">
                <a16:creationId xmlns:a16="http://schemas.microsoft.com/office/drawing/2014/main" id="{51B4052E-EEE8-4135-B6BB-AF3252EBD7D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972799" y="325506"/>
            <a:ext cx="725715" cy="634997"/>
          </a:xfrm>
          <a:prstGeom prst="rect">
            <a:avLst/>
          </a:prstGeom>
        </p:spPr>
      </p:pic>
      <p:pic>
        <p:nvPicPr>
          <p:cNvPr id="4" name="图形 27">
            <a:extLst>
              <a:ext uri="{FF2B5EF4-FFF2-40B4-BE49-F238E27FC236}">
                <a16:creationId xmlns:a16="http://schemas.microsoft.com/office/drawing/2014/main" id="{62F8676B-AB7B-492B-8F3E-DA22CBFD00B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5866" y="178862"/>
            <a:ext cx="623773" cy="773479"/>
          </a:xfrm>
          <a:prstGeom prst="rect">
            <a:avLst/>
          </a:prstGeom>
        </p:spPr>
      </p:pic>
      <p:sp>
        <p:nvSpPr>
          <p:cNvPr id="5" name="标题 4">
            <a:extLst>
              <a:ext uri="{FF2B5EF4-FFF2-40B4-BE49-F238E27FC236}">
                <a16:creationId xmlns:a16="http://schemas.microsoft.com/office/drawing/2014/main" id="{B562BDD0-011C-437A-8138-695CC619FE91}"/>
              </a:ext>
            </a:extLst>
          </p:cNvPr>
          <p:cNvSpPr>
            <a:spLocks noGrp="1"/>
          </p:cNvSpPr>
          <p:nvPr>
            <p:ph type="title"/>
          </p:nvPr>
        </p:nvSpPr>
        <p:spPr>
          <a:xfrm>
            <a:off x="1016000" y="365126"/>
            <a:ext cx="10337799" cy="587216"/>
          </a:xfrm>
          <a:prstGeom prst="rect">
            <a:avLst/>
          </a:prstGeom>
        </p:spPr>
        <p:txBody>
          <a:bodyPr anchor="ctr"/>
          <a:lstStyle>
            <a:lvl1pPr algn="l" defTabSz="914377" rtl="0" eaLnBrk="1" latinLnBrk="0" hangingPunct="1">
              <a:lnSpc>
                <a:spcPct val="90000"/>
              </a:lnSpc>
              <a:spcBef>
                <a:spcPct val="0"/>
              </a:spcBef>
              <a:buNone/>
              <a:defRPr lang="zh-CN" altLang="en-US" sz="2800" b="1" kern="0" dirty="0">
                <a:solidFill>
                  <a:prstClr val="black">
                    <a:lumMod val="85000"/>
                    <a:lumOff val="15000"/>
                  </a:prstClr>
                </a:solidFill>
                <a:latin typeface="Arial" panose="020B0604020202020204" pitchFamily="34" charset="0"/>
                <a:ea typeface="微软雅黑" panose="020B0503020204020204" pitchFamily="34" charset="-122"/>
                <a:cs typeface="+mj-cs"/>
              </a:defRPr>
            </a:lvl1pPr>
          </a:lstStyle>
          <a:p>
            <a:r>
              <a:rPr lang="zh-CN" altLang="en-US" dirty="0"/>
              <a:t>单击此处编辑母版标题样式</a:t>
            </a:r>
          </a:p>
        </p:txBody>
      </p:sp>
    </p:spTree>
    <p:extLst>
      <p:ext uri="{BB962C8B-B14F-4D97-AF65-F5344CB8AC3E}">
        <p14:creationId xmlns:p14="http://schemas.microsoft.com/office/powerpoint/2010/main" val="3412692933"/>
      </p:ext>
    </p:extLst>
  </p:cSld>
  <p:clrMapOvr>
    <a:masterClrMapping/>
  </p:clrMapOvr>
  <p:extLst>
    <p:ext uri="{DCECCB84-F9BA-43D5-87BE-67443E8EF086}">
      <p15:sldGuideLst xmlns:p15="http://schemas.microsoft.com/office/powerpoint/2012/main">
        <p15:guide id="1" pos="325">
          <p15:clr>
            <a:srgbClr val="FBAE40"/>
          </p15:clr>
        </p15:guide>
        <p15:guide id="2" orient="horz" pos="777">
          <p15:clr>
            <a:srgbClr val="FBAE40"/>
          </p15:clr>
        </p15:guide>
        <p15:guide id="3" orient="horz" pos="4088">
          <p15:clr>
            <a:srgbClr val="FBAE40"/>
          </p15:clr>
        </p15:guide>
        <p15:guide id="4" pos="7355">
          <p15:clr>
            <a:srgbClr val="FBAE40"/>
          </p15:clr>
        </p15:guide>
        <p15:guide id="5" orient="horz" pos="603">
          <p15:clr>
            <a:srgbClr val="FBAE40"/>
          </p15:clr>
        </p15:guide>
        <p15:guide id="6" orient="horz" pos="510">
          <p15:clr>
            <a:srgbClr val="FBAE40"/>
          </p15:clr>
        </p15:guide>
        <p15:guide id="7" orient="horz" pos="404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Front">
    <p:spTree>
      <p:nvGrpSpPr>
        <p:cNvPr id="1" name=""/>
        <p:cNvGrpSpPr/>
        <p:nvPr/>
      </p:nvGrpSpPr>
      <p:grpSpPr>
        <a:xfrm>
          <a:off x="0" y="0"/>
          <a:ext cx="0" cy="0"/>
          <a:chOff x="0" y="0"/>
          <a:chExt cx="0" cy="0"/>
        </a:xfrm>
      </p:grpSpPr>
      <p:pic>
        <p:nvPicPr>
          <p:cNvPr id="6" name="图片 3">
            <a:extLst>
              <a:ext uri="{FF2B5EF4-FFF2-40B4-BE49-F238E27FC236}">
                <a16:creationId xmlns:a16="http://schemas.microsoft.com/office/drawing/2014/main" id="{8650A219-2D09-4FD8-87F8-A2B33F3785FE}"/>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19" name="文本占位符 18"/>
          <p:cNvSpPr>
            <a:spLocks noGrp="1"/>
          </p:cNvSpPr>
          <p:nvPr>
            <p:ph type="body" sz="quarter" idx="15"/>
          </p:nvPr>
        </p:nvSpPr>
        <p:spPr>
          <a:xfrm>
            <a:off x="5673090" y="2451894"/>
            <a:ext cx="6120103" cy="1954212"/>
          </a:xfrm>
          <a:prstGeom prst="rect">
            <a:avLst/>
          </a:prstGeom>
        </p:spPr>
        <p:txBody>
          <a:bodyPr anchor="ctr">
            <a:normAutofit/>
          </a:bodyPr>
          <a:lstStyle>
            <a:lvl1pPr marL="0" indent="0" algn="l">
              <a:lnSpc>
                <a:spcPct val="100000"/>
              </a:lnSpc>
              <a:spcBef>
                <a:spcPts val="0"/>
              </a:spcBef>
              <a:buFontTx/>
              <a:buNone/>
              <a:defRPr sz="3600" b="1">
                <a:solidFill>
                  <a:schemeClr val="bg1"/>
                </a:solidFill>
                <a:latin typeface="微软雅黑" panose="020B0503020204020204" pitchFamily="34" charset="-122"/>
                <a:ea typeface="微软雅黑" panose="020B0503020204020204" pitchFamily="34" charset="-122"/>
              </a:defRPr>
            </a:lvl1pPr>
            <a:lvl2pPr marL="457200" indent="0" algn="l">
              <a:buFontTx/>
              <a:buNone/>
              <a:defRPr sz="3200" b="1">
                <a:solidFill>
                  <a:schemeClr val="bg1"/>
                </a:solidFill>
                <a:latin typeface="微软雅黑" panose="020B0503020204020204" pitchFamily="34" charset="-122"/>
                <a:ea typeface="微软雅黑" panose="020B0503020204020204" pitchFamily="34" charset="-122"/>
              </a:defRPr>
            </a:lvl2pPr>
            <a:lvl3pPr marL="914400" indent="0">
              <a:buFontTx/>
              <a:buNone/>
              <a:defRPr sz="4400" b="1">
                <a:solidFill>
                  <a:schemeClr val="bg1"/>
                </a:solidFill>
                <a:latin typeface="微软雅黑" panose="020B0503020204020204" pitchFamily="34" charset="-122"/>
                <a:ea typeface="微软雅黑" panose="020B0503020204020204" pitchFamily="34" charset="-122"/>
              </a:defRPr>
            </a:lvl3pPr>
            <a:lvl4pPr marL="1371600" indent="0">
              <a:buFontTx/>
              <a:buNone/>
              <a:defRPr sz="4400" b="1">
                <a:solidFill>
                  <a:schemeClr val="bg1"/>
                </a:solidFill>
                <a:latin typeface="微软雅黑" panose="020B0503020204020204" pitchFamily="34" charset="-122"/>
                <a:ea typeface="微软雅黑" panose="020B0503020204020204" pitchFamily="34" charset="-122"/>
              </a:defRPr>
            </a:lvl4pPr>
            <a:lvl5pPr marL="1828800" indent="0">
              <a:buFontTx/>
              <a:buNone/>
              <a:defRPr sz="4400" b="1">
                <a:solidFill>
                  <a:schemeClr val="bg1"/>
                </a:solidFill>
                <a:latin typeface="微软雅黑" panose="020B0503020204020204" pitchFamily="34" charset="-122"/>
                <a:ea typeface="微软雅黑" panose="020B0503020204020204" pitchFamily="34" charset="-122"/>
              </a:defRPr>
            </a:lvl5pPr>
          </a:lstStyle>
          <a:p>
            <a:pPr lvl="0"/>
            <a:endParaRPr lang="zh-CN" altLang="en-US" dirty="0"/>
          </a:p>
        </p:txBody>
      </p:sp>
      <p:sp>
        <p:nvSpPr>
          <p:cNvPr id="4" name="Text Placeholder 3"/>
          <p:cNvSpPr>
            <a:spLocks noGrp="1"/>
          </p:cNvSpPr>
          <p:nvPr>
            <p:ph type="body" sz="quarter" idx="16"/>
          </p:nvPr>
        </p:nvSpPr>
        <p:spPr>
          <a:xfrm>
            <a:off x="6961015" y="6271909"/>
            <a:ext cx="4969933" cy="430887"/>
          </a:xfrm>
          <a:prstGeom prst="rect">
            <a:avLst/>
          </a:prstGeom>
        </p:spPr>
        <p:txBody>
          <a:bodyPr anchor="ctr"/>
          <a:lstStyle>
            <a:lvl1pPr marL="0" indent="0" algn="r">
              <a:lnSpc>
                <a:spcPct val="100000"/>
              </a:lnSpc>
              <a:spcBef>
                <a:spcPts val="0"/>
              </a:spcBef>
              <a:buNone/>
              <a:defRPr sz="1100" b="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405549255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Bridge">
    <p:spTree>
      <p:nvGrpSpPr>
        <p:cNvPr id="1" name=""/>
        <p:cNvGrpSpPr/>
        <p:nvPr/>
      </p:nvGrpSpPr>
      <p:grpSpPr>
        <a:xfrm>
          <a:off x="0" y="0"/>
          <a:ext cx="0" cy="0"/>
          <a:chOff x="0" y="0"/>
          <a:chExt cx="0" cy="0"/>
        </a:xfrm>
      </p:grpSpPr>
      <p:sp>
        <p:nvSpPr>
          <p:cNvPr id="11" name="文本占位符 17"/>
          <p:cNvSpPr>
            <a:spLocks noGrp="1"/>
          </p:cNvSpPr>
          <p:nvPr>
            <p:ph type="body" sz="quarter" idx="15"/>
          </p:nvPr>
        </p:nvSpPr>
        <p:spPr>
          <a:xfrm>
            <a:off x="1310289" y="3279228"/>
            <a:ext cx="9541275" cy="678177"/>
          </a:xfrm>
          <a:prstGeom prst="rect">
            <a:avLst/>
          </a:prstGeom>
        </p:spPr>
        <p:txBody>
          <a:bodyPr anchor="t">
            <a:normAutofit/>
          </a:bodyPr>
          <a:lstStyle>
            <a:lvl1pPr marL="0" indent="0" algn="ctr">
              <a:lnSpc>
                <a:spcPct val="100000"/>
              </a:lnSpc>
              <a:spcBef>
                <a:spcPts val="0"/>
              </a:spcBef>
              <a:buFontTx/>
              <a:buNone/>
              <a:defRPr sz="3600" b="1">
                <a:solidFill>
                  <a:srgbClr val="612166"/>
                </a:solidFill>
                <a:latin typeface="微软雅黑" panose="020B0503020204020204" pitchFamily="34" charset="-122"/>
                <a:ea typeface="微软雅黑" panose="020B0503020204020204" pitchFamily="34" charset="-122"/>
              </a:defRPr>
            </a:lvl1pPr>
          </a:lstStyle>
          <a:p>
            <a:pPr lvl="0"/>
            <a:endParaRPr lang="zh-CN" altLang="en-US" dirty="0"/>
          </a:p>
        </p:txBody>
      </p:sp>
      <p:sp>
        <p:nvSpPr>
          <p:cNvPr id="6" name="Slide Number Placeholder 5"/>
          <p:cNvSpPr>
            <a:spLocks noGrp="1"/>
          </p:cNvSpPr>
          <p:nvPr>
            <p:ph type="sldNum" sz="quarter" idx="4"/>
          </p:nvPr>
        </p:nvSpPr>
        <p:spPr>
          <a:xfrm>
            <a:off x="11693991" y="6492876"/>
            <a:ext cx="495300" cy="365125"/>
          </a:xfrm>
          <a:prstGeom prst="rect">
            <a:avLst/>
          </a:prstGeom>
        </p:spPr>
        <p:txBody>
          <a:bodyPr vert="horz" lIns="91440" tIns="45720" rIns="91440" bIns="45720" rtlCol="0" anchor="ctr"/>
          <a:lstStyle>
            <a:lvl1pPr algn="ctr">
              <a:defRPr sz="900">
                <a:solidFill>
                  <a:schemeClr val="tx1"/>
                </a:solidFill>
                <a:latin typeface="Arial" panose="020B0604020202020204" pitchFamily="34" charset="0"/>
                <a:cs typeface="Arial" panose="020B0604020202020204" pitchFamily="34" charset="0"/>
              </a:defRPr>
            </a:lvl1pPr>
          </a:lstStyle>
          <a:p>
            <a:fld id="{D6F24B0C-7668-4973-8E6C-4D4CB7EF0CEB}" type="slidenum">
              <a:rPr lang="en-US" smtClean="0"/>
              <a:t>‹#›</a:t>
            </a:fld>
            <a:endParaRPr lang="en-US"/>
          </a:p>
        </p:txBody>
      </p:sp>
    </p:spTree>
    <p:extLst>
      <p:ext uri="{BB962C8B-B14F-4D97-AF65-F5344CB8AC3E}">
        <p14:creationId xmlns:p14="http://schemas.microsoft.com/office/powerpoint/2010/main" val="130675813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19" name="文本占位符 17"/>
          <p:cNvSpPr>
            <a:spLocks noGrp="1"/>
          </p:cNvSpPr>
          <p:nvPr>
            <p:ph type="body" sz="quarter" idx="15"/>
          </p:nvPr>
        </p:nvSpPr>
        <p:spPr>
          <a:xfrm>
            <a:off x="861297" y="473612"/>
            <a:ext cx="10480336" cy="698500"/>
          </a:xfrm>
          <a:prstGeom prst="rect">
            <a:avLst/>
          </a:prstGeom>
        </p:spPr>
        <p:txBody>
          <a:bodyPr lIns="0" rIns="0" anchor="ctr">
            <a:normAutofit/>
          </a:bodyPr>
          <a:lstStyle>
            <a:lvl1pPr marL="0" indent="0">
              <a:lnSpc>
                <a:spcPct val="100000"/>
              </a:lnSpc>
              <a:spcBef>
                <a:spcPts val="0"/>
              </a:spcBef>
              <a:buFontTx/>
              <a:buNone/>
              <a:defRPr sz="3200" b="1">
                <a:solidFill>
                  <a:srgbClr val="612166"/>
                </a:solidFill>
                <a:latin typeface="微软雅黑" panose="020B0503020204020204" pitchFamily="34" charset="-122"/>
                <a:ea typeface="微软雅黑" panose="020B0503020204020204" pitchFamily="34" charset="-122"/>
              </a:defRPr>
            </a:lvl1pPr>
          </a:lstStyle>
          <a:p>
            <a:pPr lvl="0"/>
            <a:endParaRPr lang="zh-CN" altLang="en-US" dirty="0"/>
          </a:p>
        </p:txBody>
      </p:sp>
      <p:sp>
        <p:nvSpPr>
          <p:cNvPr id="20" name="文本占位符 19"/>
          <p:cNvSpPr>
            <a:spLocks noGrp="1"/>
          </p:cNvSpPr>
          <p:nvPr>
            <p:ph type="body" sz="quarter" idx="16"/>
          </p:nvPr>
        </p:nvSpPr>
        <p:spPr>
          <a:xfrm>
            <a:off x="861299" y="6443932"/>
            <a:ext cx="10714016" cy="414068"/>
          </a:xfrm>
          <a:prstGeom prst="rect">
            <a:avLst/>
          </a:prstGeom>
        </p:spPr>
        <p:txBody>
          <a:bodyPr lIns="0" rIns="0" anchor="ctr"/>
          <a:lstStyle>
            <a:lvl1pPr marL="114300" indent="-114300">
              <a:spcBef>
                <a:spcPts val="0"/>
              </a:spcBef>
              <a:buFont typeface="+mj-lt"/>
              <a:buAutoNum type="arabicPeriod"/>
              <a:defRPr sz="700">
                <a:solidFill>
                  <a:schemeClr val="bg1"/>
                </a:solidFill>
                <a:latin typeface="Arial" panose="020B0604020202020204" pitchFamily="34" charset="0"/>
                <a:cs typeface="Arial" panose="020B0604020202020204" pitchFamily="34" charset="0"/>
              </a:defRPr>
            </a:lvl1pPr>
            <a:lvl2pPr marL="457200" indent="0">
              <a:buNone/>
              <a:defRPr sz="800">
                <a:latin typeface="Arial" panose="020B0604020202020204" pitchFamily="34" charset="0"/>
                <a:cs typeface="Arial" panose="020B0604020202020204" pitchFamily="34" charset="0"/>
              </a:defRPr>
            </a:lvl2pPr>
            <a:lvl3pPr>
              <a:defRPr sz="800">
                <a:latin typeface="Arial" panose="020B0604020202020204" pitchFamily="34" charset="0"/>
                <a:cs typeface="Arial" panose="020B0604020202020204" pitchFamily="34" charset="0"/>
              </a:defRPr>
            </a:lvl3pPr>
            <a:lvl4pPr>
              <a:defRPr sz="800">
                <a:latin typeface="Arial" panose="020B0604020202020204" pitchFamily="34" charset="0"/>
                <a:cs typeface="Arial" panose="020B0604020202020204" pitchFamily="34" charset="0"/>
              </a:defRPr>
            </a:lvl4pPr>
            <a:lvl5pPr>
              <a:defRPr sz="800">
                <a:latin typeface="Arial" panose="020B0604020202020204" pitchFamily="34" charset="0"/>
                <a:cs typeface="Arial" panose="020B0604020202020204" pitchFamily="34" charset="0"/>
              </a:defRPr>
            </a:lvl5pPr>
          </a:lstStyle>
          <a:p>
            <a:pPr lvl="0"/>
            <a:endParaRPr lang="zh-CN" altLang="en-US" dirty="0"/>
          </a:p>
        </p:txBody>
      </p:sp>
      <p:sp>
        <p:nvSpPr>
          <p:cNvPr id="7" name="Slide Number Placeholder 5"/>
          <p:cNvSpPr>
            <a:spLocks noGrp="1"/>
          </p:cNvSpPr>
          <p:nvPr>
            <p:ph type="sldNum" sz="quarter" idx="4"/>
          </p:nvPr>
        </p:nvSpPr>
        <p:spPr>
          <a:xfrm>
            <a:off x="11693991" y="6492876"/>
            <a:ext cx="495300" cy="365125"/>
          </a:xfrm>
          <a:prstGeom prst="rect">
            <a:avLst/>
          </a:prstGeom>
        </p:spPr>
        <p:txBody>
          <a:bodyPr vert="horz" lIns="91440" tIns="45720" rIns="91440" bIns="45720" rtlCol="0" anchor="ctr"/>
          <a:lstStyle>
            <a:lvl1pPr algn="ctr">
              <a:defRPr sz="900">
                <a:solidFill>
                  <a:schemeClr val="tx1"/>
                </a:solidFill>
                <a:latin typeface="Arial" panose="020B0604020202020204" pitchFamily="34" charset="0"/>
                <a:cs typeface="Arial" panose="020B0604020202020204" pitchFamily="34" charset="0"/>
              </a:defRPr>
            </a:lvl1pPr>
          </a:lstStyle>
          <a:p>
            <a:fld id="{D6F24B0C-7668-4973-8E6C-4D4CB7EF0CEB}" type="slidenum">
              <a:rPr lang="en-US" smtClean="0"/>
              <a:t>‹#›</a:t>
            </a:fld>
            <a:endParaRPr lang="en-US"/>
          </a:p>
        </p:txBody>
      </p:sp>
      <p:sp>
        <p:nvSpPr>
          <p:cNvPr id="3" name="Text Placeholder 2"/>
          <p:cNvSpPr>
            <a:spLocks noGrp="1"/>
          </p:cNvSpPr>
          <p:nvPr>
            <p:ph type="body" sz="quarter" idx="17"/>
          </p:nvPr>
        </p:nvSpPr>
        <p:spPr>
          <a:xfrm>
            <a:off x="861297" y="1314451"/>
            <a:ext cx="10480336" cy="4714875"/>
          </a:xfrm>
          <a:prstGeom prst="rect">
            <a:avLst/>
          </a:prstGeom>
        </p:spPr>
        <p:txBody>
          <a:bodyPr lIns="0" rIns="0"/>
          <a:lstStyle>
            <a:lvl1pPr marL="228600" indent="-228600">
              <a:lnSpc>
                <a:spcPct val="100000"/>
              </a:lnSpc>
              <a:spcBef>
                <a:spcPts val="300"/>
              </a:spcBef>
              <a:buClr>
                <a:srgbClr val="C10562"/>
              </a:buClr>
              <a:buFont typeface="Wingdings" panose="05000000000000000000" pitchFamily="2" charset="2"/>
              <a:buChar char="q"/>
              <a:defRPr sz="1600">
                <a:latin typeface="微软雅黑" panose="020B0503020204020204" pitchFamily="34" charset="-122"/>
                <a:ea typeface="微软雅黑" panose="020B0503020204020204" pitchFamily="34" charset="-122"/>
              </a:defRPr>
            </a:lvl1pPr>
          </a:lstStyle>
          <a:p>
            <a:pPr lvl="0"/>
            <a:r>
              <a:rPr lang="en-US" dirty="0"/>
              <a:t>Click to edit Master text styles</a:t>
            </a:r>
          </a:p>
        </p:txBody>
      </p:sp>
    </p:spTree>
    <p:extLst>
      <p:ext uri="{BB962C8B-B14F-4D97-AF65-F5344CB8AC3E}">
        <p14:creationId xmlns:p14="http://schemas.microsoft.com/office/powerpoint/2010/main" val="202802702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Ending">
    <p:spTree>
      <p:nvGrpSpPr>
        <p:cNvPr id="1" name=""/>
        <p:cNvGrpSpPr/>
        <p:nvPr/>
      </p:nvGrpSpPr>
      <p:grpSpPr>
        <a:xfrm>
          <a:off x="0" y="0"/>
          <a:ext cx="0" cy="0"/>
          <a:chOff x="0" y="0"/>
          <a:chExt cx="0" cy="0"/>
        </a:xfrm>
      </p:grpSpPr>
      <p:sp>
        <p:nvSpPr>
          <p:cNvPr id="19" name="文本占位符 18"/>
          <p:cNvSpPr>
            <a:spLocks noGrp="1"/>
          </p:cNvSpPr>
          <p:nvPr>
            <p:ph type="body" sz="quarter" idx="15"/>
          </p:nvPr>
        </p:nvSpPr>
        <p:spPr>
          <a:xfrm>
            <a:off x="5673090" y="2451894"/>
            <a:ext cx="6120103" cy="1954212"/>
          </a:xfrm>
          <a:prstGeom prst="rect">
            <a:avLst/>
          </a:prstGeom>
        </p:spPr>
        <p:txBody>
          <a:bodyPr anchor="ctr">
            <a:normAutofit/>
          </a:bodyPr>
          <a:lstStyle>
            <a:lvl1pPr marL="0" indent="0" algn="l">
              <a:lnSpc>
                <a:spcPct val="100000"/>
              </a:lnSpc>
              <a:spcBef>
                <a:spcPts val="0"/>
              </a:spcBef>
              <a:buFontTx/>
              <a:buNone/>
              <a:defRPr sz="2800" b="1">
                <a:solidFill>
                  <a:schemeClr val="bg1"/>
                </a:solidFill>
                <a:latin typeface="微软雅黑" panose="020B0503020204020204" pitchFamily="34" charset="-122"/>
                <a:ea typeface="微软雅黑" panose="020B0503020204020204" pitchFamily="34" charset="-122"/>
              </a:defRPr>
            </a:lvl1pPr>
            <a:lvl2pPr marL="457200" indent="0" algn="l">
              <a:buFontTx/>
              <a:buNone/>
              <a:defRPr sz="3200" b="1">
                <a:solidFill>
                  <a:schemeClr val="bg1"/>
                </a:solidFill>
                <a:latin typeface="微软雅黑" panose="020B0503020204020204" pitchFamily="34" charset="-122"/>
                <a:ea typeface="微软雅黑" panose="020B0503020204020204" pitchFamily="34" charset="-122"/>
              </a:defRPr>
            </a:lvl2pPr>
            <a:lvl3pPr marL="914400" indent="0">
              <a:buFontTx/>
              <a:buNone/>
              <a:defRPr sz="4400" b="1">
                <a:solidFill>
                  <a:schemeClr val="bg1"/>
                </a:solidFill>
                <a:latin typeface="微软雅黑" panose="020B0503020204020204" pitchFamily="34" charset="-122"/>
                <a:ea typeface="微软雅黑" panose="020B0503020204020204" pitchFamily="34" charset="-122"/>
              </a:defRPr>
            </a:lvl3pPr>
            <a:lvl4pPr marL="1371600" indent="0">
              <a:buFontTx/>
              <a:buNone/>
              <a:defRPr sz="4400" b="1">
                <a:solidFill>
                  <a:schemeClr val="bg1"/>
                </a:solidFill>
                <a:latin typeface="微软雅黑" panose="020B0503020204020204" pitchFamily="34" charset="-122"/>
                <a:ea typeface="微软雅黑" panose="020B0503020204020204" pitchFamily="34" charset="-122"/>
              </a:defRPr>
            </a:lvl4pPr>
            <a:lvl5pPr marL="1828800" indent="0">
              <a:buFontTx/>
              <a:buNone/>
              <a:defRPr sz="4400" b="1">
                <a:solidFill>
                  <a:schemeClr val="bg1"/>
                </a:solidFill>
                <a:latin typeface="微软雅黑" panose="020B0503020204020204" pitchFamily="34" charset="-122"/>
                <a:ea typeface="微软雅黑" panose="020B0503020204020204" pitchFamily="34" charset="-122"/>
              </a:defRPr>
            </a:lvl5pPr>
          </a:lstStyle>
          <a:p>
            <a:pPr lvl="0"/>
            <a:endParaRPr lang="zh-CN" altLang="en-US" dirty="0"/>
          </a:p>
        </p:txBody>
      </p:sp>
    </p:spTree>
    <p:extLst>
      <p:ext uri="{BB962C8B-B14F-4D97-AF65-F5344CB8AC3E}">
        <p14:creationId xmlns:p14="http://schemas.microsoft.com/office/powerpoint/2010/main" val="19271036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a:xfrm>
            <a:off x="10623177" y="6437314"/>
            <a:ext cx="1106831" cy="365125"/>
          </a:xfrm>
          <a:prstGeom prst="rect">
            <a:avLst/>
          </a:prstGeom>
        </p:spPr>
        <p:txBody>
          <a:bodyPr lIns="108850" tIns="54425" rIns="108850" bIns="54425"/>
          <a:lstStyle/>
          <a:p>
            <a:fld id="{2A603147-C618-4EA3-8F82-359C170F62BB}" type="slidenum">
              <a:rPr lang="en-GB" smtClean="0">
                <a:solidFill>
                  <a:srgbClr val="9A8B7D"/>
                </a:solidFill>
              </a:rPr>
              <a:pPr/>
              <a:t>‹#›</a:t>
            </a:fld>
            <a:endParaRPr lang="en-GB">
              <a:solidFill>
                <a:srgbClr val="9A8B7D"/>
              </a:solidFill>
            </a:endParaRPr>
          </a:p>
        </p:txBody>
      </p:sp>
      <p:sp>
        <p:nvSpPr>
          <p:cNvPr id="9" name="Text Placeholder 8"/>
          <p:cNvSpPr>
            <a:spLocks noGrp="1"/>
          </p:cNvSpPr>
          <p:nvPr>
            <p:ph type="body" sz="quarter" idx="13" hasCustomPrompt="1"/>
          </p:nvPr>
        </p:nvSpPr>
        <p:spPr>
          <a:xfrm>
            <a:off x="336000" y="771650"/>
            <a:ext cx="9984000" cy="504000"/>
          </a:xfrm>
        </p:spPr>
        <p:txBody>
          <a:bodyPr vert="horz" lIns="108850" tIns="54425" rIns="108850" bIns="54425" rtlCol="0" anchor="ctr">
            <a:noAutofit/>
          </a:bodyPr>
          <a:lstStyle>
            <a:lvl1pPr marL="0" indent="0">
              <a:buFont typeface="Arial" pitchFamily="34" charset="0"/>
              <a:buNone/>
              <a:defRPr lang="en-US" sz="1400"/>
            </a:lvl1pPr>
          </a:lstStyle>
          <a:p>
            <a:pPr marL="204053" lvl="0" indent="-204053">
              <a:spcAft>
                <a:spcPct val="0"/>
              </a:spcAft>
            </a:pPr>
            <a:r>
              <a:rPr lang="en-GB"/>
              <a:t>Supporting heading 16pt</a:t>
            </a:r>
            <a:endParaRPr lang="en-US"/>
          </a:p>
        </p:txBody>
      </p:sp>
      <p:sp>
        <p:nvSpPr>
          <p:cNvPr id="10" name="Text Placeholder 14"/>
          <p:cNvSpPr>
            <a:spLocks noGrp="1"/>
          </p:cNvSpPr>
          <p:nvPr>
            <p:ph type="body" sz="quarter" idx="21" hasCustomPrompt="1"/>
          </p:nvPr>
        </p:nvSpPr>
        <p:spPr>
          <a:xfrm>
            <a:off x="462433" y="6221528"/>
            <a:ext cx="10752000" cy="468000"/>
          </a:xfrm>
        </p:spPr>
        <p:txBody>
          <a:bodyPr lIns="0" tIns="0" rIns="0" bIns="0" anchor="t" anchorCtr="0"/>
          <a:lstStyle>
            <a:lvl1pPr marL="0" indent="0" algn="l">
              <a:lnSpc>
                <a:spcPct val="100000"/>
              </a:lnSpc>
              <a:spcBef>
                <a:spcPct val="0"/>
              </a:spcBef>
              <a:spcAft>
                <a:spcPct val="0"/>
              </a:spcAft>
              <a:buNone/>
              <a:defRPr sz="700"/>
            </a:lvl1pPr>
          </a:lstStyle>
          <a:p>
            <a:pPr lvl="0"/>
            <a:r>
              <a:rPr lang="en-GB"/>
              <a:t>References</a:t>
            </a:r>
          </a:p>
        </p:txBody>
      </p:sp>
      <p:sp>
        <p:nvSpPr>
          <p:cNvPr id="11" name="Text Placeholder 14"/>
          <p:cNvSpPr>
            <a:spLocks noGrp="1"/>
          </p:cNvSpPr>
          <p:nvPr>
            <p:ph type="body" sz="quarter" idx="19" hasCustomPrompt="1"/>
          </p:nvPr>
        </p:nvSpPr>
        <p:spPr>
          <a:xfrm>
            <a:off x="470401" y="5962570"/>
            <a:ext cx="11251200" cy="194733"/>
          </a:xfrm>
        </p:spPr>
        <p:txBody>
          <a:bodyPr lIns="0" tIns="0" rIns="0" bIns="0" anchor="b" anchorCtr="0">
            <a:noAutofit/>
          </a:bodyPr>
          <a:lstStyle>
            <a:lvl1pPr marL="0" indent="0" algn="l">
              <a:lnSpc>
                <a:spcPct val="100000"/>
              </a:lnSpc>
              <a:spcBef>
                <a:spcPct val="0"/>
              </a:spcBef>
              <a:spcAft>
                <a:spcPct val="0"/>
              </a:spcAft>
              <a:buNone/>
              <a:defRPr sz="700"/>
            </a:lvl1pPr>
          </a:lstStyle>
          <a:p>
            <a:pPr lvl="0"/>
            <a:r>
              <a:rPr lang="en-GB"/>
              <a:t>Abbreviations</a:t>
            </a:r>
          </a:p>
        </p:txBody>
      </p:sp>
    </p:spTree>
    <p:extLst>
      <p:ext uri="{BB962C8B-B14F-4D97-AF65-F5344CB8AC3E}">
        <p14:creationId xmlns:p14="http://schemas.microsoft.com/office/powerpoint/2010/main" val="153668095"/>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image" Target="../media/image2.pn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theme" Target="../theme/theme2.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slideLayout" Target="../slideLayouts/slideLayout58.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slideLayout" Target="../slideLayouts/slideLayout57.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29" Type="http://schemas.openxmlformats.org/officeDocument/2006/relationships/image" Target="../media/image2.pn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slideLayout" Target="../slideLayouts/slideLayout56.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28" Type="http://schemas.openxmlformats.org/officeDocument/2006/relationships/theme" Target="../theme/theme3.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slideLayout" Target="../slideLayouts/slideLayout59.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62.xml"/><Relationship Id="rId7" Type="http://schemas.openxmlformats.org/officeDocument/2006/relationships/tags" Target="../tags/tag2.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vmlDrawing" Target="../drawings/vmlDrawing2.vml"/><Relationship Id="rId5" Type="http://schemas.openxmlformats.org/officeDocument/2006/relationships/theme" Target="../theme/theme4.xml"/><Relationship Id="rId10" Type="http://schemas.openxmlformats.org/officeDocument/2006/relationships/image" Target="../media/image2.png"/><Relationship Id="rId4" Type="http://schemas.openxmlformats.org/officeDocument/2006/relationships/slideLayout" Target="../slideLayouts/slideLayout63.xml"/><Relationship Id="rId9" Type="http://schemas.openxmlformats.org/officeDocument/2006/relationships/image" Target="../media/image13.emf"/></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66.xml"/><Relationship Id="rId7" Type="http://schemas.openxmlformats.org/officeDocument/2006/relationships/vmlDrawing" Target="../drawings/vmlDrawing3.v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theme" Target="../theme/theme5.xml"/><Relationship Id="rId11" Type="http://schemas.openxmlformats.org/officeDocument/2006/relationships/image" Target="../media/image2.png"/><Relationship Id="rId5" Type="http://schemas.openxmlformats.org/officeDocument/2006/relationships/slideLayout" Target="../slideLayouts/slideLayout68.xml"/><Relationship Id="rId10" Type="http://schemas.openxmlformats.org/officeDocument/2006/relationships/image" Target="../media/image13.emf"/><Relationship Id="rId4" Type="http://schemas.openxmlformats.org/officeDocument/2006/relationships/slideLayout" Target="../slideLayouts/slideLayout67.xml"/><Relationship Id="rId9" Type="http://schemas.openxmlformats.org/officeDocument/2006/relationships/oleObject" Target="../embeddings/oleObject3.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2" Type="http://schemas.openxmlformats.org/officeDocument/2006/relationships/slideLayout" Target="../slideLayouts/slideLayout70.xml"/><Relationship Id="rId16" Type="http://schemas.openxmlformats.org/officeDocument/2006/relationships/image" Target="../media/image2.png"/><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theme" Target="../theme/theme6.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85.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image" Target="../media/image2.png"/><Relationship Id="rId5" Type="http://schemas.openxmlformats.org/officeDocument/2006/relationships/theme" Target="../theme/theme7.xml"/><Relationship Id="rId4" Type="http://schemas.openxmlformats.org/officeDocument/2006/relationships/slideLayout" Target="../slideLayouts/slideLayout8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图片 19">
            <a:extLst>
              <a:ext uri="{FF2B5EF4-FFF2-40B4-BE49-F238E27FC236}">
                <a16:creationId xmlns:a16="http://schemas.microsoft.com/office/drawing/2014/main" id="{99A6039D-1806-4B8B-B3AB-54C8A9045FA5}"/>
              </a:ext>
            </a:extLst>
          </p:cNvPr>
          <p:cNvPicPr>
            <a:picLocks noChangeAspect="1"/>
          </p:cNvPicPr>
          <p:nvPr userDrawn="1"/>
        </p:nvPicPr>
        <p:blipFill rotWithShape="1">
          <a:blip r:embed="rId16">
            <a:extLst>
              <a:ext uri="{28A0092B-C50C-407E-A947-70E740481C1C}">
                <a14:useLocalDpi xmlns:a14="http://schemas.microsoft.com/office/drawing/2010/main" val="0"/>
              </a:ext>
            </a:extLst>
          </a:blip>
          <a:srcRect t="25040"/>
          <a:stretch/>
        </p:blipFill>
        <p:spPr>
          <a:xfrm>
            <a:off x="-3662" y="794"/>
            <a:ext cx="12195663" cy="6856412"/>
          </a:xfrm>
          <a:prstGeom prst="rect">
            <a:avLst/>
          </a:prstGeom>
        </p:spPr>
      </p:pic>
      <p:sp>
        <p:nvSpPr>
          <p:cNvPr id="3" name="Text Placeholder 2"/>
          <p:cNvSpPr>
            <a:spLocks noGrp="1"/>
          </p:cNvSpPr>
          <p:nvPr>
            <p:ph type="body" idx="1"/>
          </p:nvPr>
        </p:nvSpPr>
        <p:spPr>
          <a:xfrm>
            <a:off x="486831" y="1151733"/>
            <a:ext cx="10801406" cy="4678917"/>
          </a:xfrm>
          <a:prstGeom prst="rect">
            <a:avLst/>
          </a:prstGeom>
        </p:spPr>
        <p:txBody>
          <a:bodyPr vert="horz" lIns="90000" tIns="46800" rIns="90000" bIns="468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Title Placeholder 3"/>
          <p:cNvSpPr>
            <a:spLocks noGrp="1"/>
          </p:cNvSpPr>
          <p:nvPr>
            <p:ph type="title"/>
          </p:nvPr>
        </p:nvSpPr>
        <p:spPr>
          <a:xfrm>
            <a:off x="486837" y="242742"/>
            <a:ext cx="10081312" cy="607241"/>
          </a:xfrm>
          <a:prstGeom prst="rect">
            <a:avLst/>
          </a:prstGeom>
        </p:spPr>
        <p:txBody>
          <a:bodyPr vert="horz" lIns="90000" tIns="46800" rIns="90000" bIns="46800" rtlCol="0" anchor="b" anchorCtr="0">
            <a:spAutoFit/>
          </a:bodyPr>
          <a:lstStyle/>
          <a:p>
            <a:r>
              <a:rPr lang="en-US" dirty="0"/>
              <a:t>Click to edit Master title style</a:t>
            </a:r>
            <a:endParaRPr lang="en-GB" dirty="0"/>
          </a:p>
        </p:txBody>
      </p:sp>
    </p:spTree>
    <p:extLst>
      <p:ext uri="{BB962C8B-B14F-4D97-AF65-F5344CB8AC3E}">
        <p14:creationId xmlns:p14="http://schemas.microsoft.com/office/powerpoint/2010/main" val="328178521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Lst>
  <p:transition spd="slow">
    <p:strips dir="rd"/>
  </p:transition>
  <p:hf hdr="0" ftr="0" dt="0"/>
  <p:txStyles>
    <p:titleStyle>
      <a:lvl1pPr algn="l" defTabSz="1218926" rtl="0" eaLnBrk="1" latinLnBrk="0" hangingPunct="1">
        <a:lnSpc>
          <a:spcPct val="100000"/>
        </a:lnSpc>
        <a:spcBef>
          <a:spcPct val="0"/>
        </a:spcBef>
        <a:buNone/>
        <a:defRPr sz="3199" b="1" kern="1200" baseline="0">
          <a:solidFill>
            <a:schemeClr val="accent1"/>
          </a:solidFill>
          <a:latin typeface="Arial" panose="020B0604020202020204" pitchFamily="34" charset="0"/>
          <a:ea typeface="微软雅黑" panose="020B0503020204020204" pitchFamily="34" charset="-122"/>
          <a:cs typeface="+mj-cs"/>
        </a:defRPr>
      </a:lvl1pPr>
    </p:titleStyle>
    <p:bodyStyle>
      <a:lvl1pPr marL="359919" indent="-359919" algn="just" defTabSz="1218926" rtl="0" eaLnBrk="1" latinLnBrk="0" hangingPunct="1">
        <a:lnSpc>
          <a:spcPct val="120000"/>
        </a:lnSpc>
        <a:spcBef>
          <a:spcPts val="600"/>
        </a:spcBef>
        <a:spcAft>
          <a:spcPts val="0"/>
        </a:spcAft>
        <a:buClr>
          <a:schemeClr val="accent2"/>
        </a:buClr>
        <a:buFont typeface="Arial" pitchFamily="34" charset="0"/>
        <a:buChar char="–"/>
        <a:defRPr sz="2400" kern="1200" baseline="0">
          <a:solidFill>
            <a:schemeClr val="accent2"/>
          </a:solidFill>
          <a:latin typeface="Arial" panose="020B0604020202020204" pitchFamily="34" charset="0"/>
          <a:ea typeface="微软雅黑" panose="020B0503020204020204" pitchFamily="34" charset="-122"/>
          <a:cs typeface="+mn-cs"/>
        </a:defRPr>
      </a:lvl1pPr>
      <a:lvl2pPr marL="717389" indent="-359919" algn="just" defTabSz="1218926" rtl="0" eaLnBrk="1" latinLnBrk="0" hangingPunct="1">
        <a:lnSpc>
          <a:spcPct val="120000"/>
        </a:lnSpc>
        <a:spcBef>
          <a:spcPts val="600"/>
        </a:spcBef>
        <a:spcAft>
          <a:spcPts val="0"/>
        </a:spcAft>
        <a:buFont typeface="Arial" pitchFamily="34" charset="0"/>
        <a:buChar char="–"/>
        <a:defRPr sz="2000" kern="1200" baseline="0">
          <a:solidFill>
            <a:schemeClr val="accent2"/>
          </a:solidFill>
          <a:latin typeface="Arial" panose="020B0604020202020204" pitchFamily="34" charset="0"/>
          <a:ea typeface="微软雅黑" panose="020B0503020204020204" pitchFamily="34" charset="-122"/>
          <a:cs typeface="+mn-cs"/>
        </a:defRPr>
      </a:lvl2pPr>
      <a:lvl3pPr marL="1079757" indent="-359919" algn="just" defTabSz="1218926" rtl="0" eaLnBrk="1" latinLnBrk="0" hangingPunct="1">
        <a:lnSpc>
          <a:spcPct val="120000"/>
        </a:lnSpc>
        <a:spcBef>
          <a:spcPts val="600"/>
        </a:spcBef>
        <a:spcAft>
          <a:spcPts val="0"/>
        </a:spcAft>
        <a:buFont typeface="Arial" pitchFamily="34" charset="0"/>
        <a:buChar char="–"/>
        <a:defRPr sz="1800" kern="1200" baseline="0">
          <a:solidFill>
            <a:schemeClr val="accent2"/>
          </a:solidFill>
          <a:latin typeface="Arial" panose="020B0604020202020204" pitchFamily="34" charset="0"/>
          <a:ea typeface="微软雅黑" panose="020B0503020204020204" pitchFamily="34" charset="-122"/>
          <a:cs typeface="+mn-cs"/>
        </a:defRPr>
      </a:lvl3pPr>
      <a:lvl4pPr marL="1441127" indent="-359919" algn="just" defTabSz="1218926" rtl="0" eaLnBrk="1" latinLnBrk="0" hangingPunct="1">
        <a:lnSpc>
          <a:spcPct val="120000"/>
        </a:lnSpc>
        <a:spcBef>
          <a:spcPts val="600"/>
        </a:spcBef>
        <a:spcAft>
          <a:spcPts val="0"/>
        </a:spcAft>
        <a:buFont typeface="Arial" pitchFamily="34" charset="0"/>
        <a:buChar char="–"/>
        <a:defRPr sz="1800" kern="1200" baseline="0">
          <a:solidFill>
            <a:schemeClr val="accent2"/>
          </a:solidFill>
          <a:latin typeface="Arial" panose="020B0604020202020204" pitchFamily="34" charset="0"/>
          <a:ea typeface="微软雅黑" panose="020B0503020204020204" pitchFamily="34" charset="-122"/>
          <a:cs typeface="+mn-cs"/>
        </a:defRPr>
      </a:lvl4pPr>
      <a:lvl5pPr marL="1799595" indent="-359919" algn="just" defTabSz="1218926" rtl="0" eaLnBrk="1" latinLnBrk="0" hangingPunct="1">
        <a:lnSpc>
          <a:spcPct val="120000"/>
        </a:lnSpc>
        <a:spcBef>
          <a:spcPts val="600"/>
        </a:spcBef>
        <a:spcAft>
          <a:spcPts val="0"/>
        </a:spcAft>
        <a:buFont typeface="Arial" pitchFamily="34" charset="0"/>
        <a:buChar char="–"/>
        <a:defRPr sz="1800" b="0" kern="1200" baseline="0">
          <a:solidFill>
            <a:schemeClr val="accent2"/>
          </a:solidFill>
          <a:latin typeface="Arial" panose="020B0604020202020204" pitchFamily="34" charset="0"/>
          <a:ea typeface="微软雅黑" panose="020B0503020204020204" pitchFamily="34" charset="-122"/>
          <a:cs typeface="+mn-cs"/>
        </a:defRPr>
      </a:lvl5pPr>
      <a:lvl6pPr marL="2159514" indent="-359919" algn="l" defTabSz="1218926"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460" indent="-359919" algn="l" defTabSz="1218926"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379" indent="-359919" algn="l" defTabSz="1218926"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298" indent="-359919" algn="l" defTabSz="1218926"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p:bodyStyle>
    <p:otherStyle>
      <a:defPPr>
        <a:defRPr lang="en-US"/>
      </a:defPPr>
      <a:lvl1pPr marL="0" algn="l" defTabSz="1218926" rtl="0" eaLnBrk="1" latinLnBrk="0" hangingPunct="1">
        <a:defRPr sz="2400" kern="1200">
          <a:solidFill>
            <a:schemeClr val="tx1"/>
          </a:solidFill>
          <a:latin typeface="+mn-lt"/>
          <a:ea typeface="+mn-ea"/>
          <a:cs typeface="+mn-cs"/>
        </a:defRPr>
      </a:lvl1pPr>
      <a:lvl2pPr marL="609463" algn="l" defTabSz="1218926" rtl="0" eaLnBrk="1" latinLnBrk="0" hangingPunct="1">
        <a:defRPr sz="2400" kern="1200">
          <a:solidFill>
            <a:schemeClr val="tx1"/>
          </a:solidFill>
          <a:latin typeface="+mn-lt"/>
          <a:ea typeface="+mn-ea"/>
          <a:cs typeface="+mn-cs"/>
        </a:defRPr>
      </a:lvl2pPr>
      <a:lvl3pPr marL="1218926" algn="l" defTabSz="1218926" rtl="0" eaLnBrk="1" latinLnBrk="0" hangingPunct="1">
        <a:defRPr sz="2400" kern="1200">
          <a:solidFill>
            <a:schemeClr val="tx1"/>
          </a:solidFill>
          <a:latin typeface="+mn-lt"/>
          <a:ea typeface="+mn-ea"/>
          <a:cs typeface="+mn-cs"/>
        </a:defRPr>
      </a:lvl3pPr>
      <a:lvl4pPr marL="1828388" algn="l" defTabSz="1218926" rtl="0" eaLnBrk="1" latinLnBrk="0" hangingPunct="1">
        <a:defRPr sz="2400" kern="1200">
          <a:solidFill>
            <a:schemeClr val="tx1"/>
          </a:solidFill>
          <a:latin typeface="+mn-lt"/>
          <a:ea typeface="+mn-ea"/>
          <a:cs typeface="+mn-cs"/>
        </a:defRPr>
      </a:lvl4pPr>
      <a:lvl5pPr marL="2437851" algn="l" defTabSz="1218926" rtl="0" eaLnBrk="1" latinLnBrk="0" hangingPunct="1">
        <a:defRPr sz="2400" kern="1200">
          <a:solidFill>
            <a:schemeClr val="tx1"/>
          </a:solidFill>
          <a:latin typeface="+mn-lt"/>
          <a:ea typeface="+mn-ea"/>
          <a:cs typeface="+mn-cs"/>
        </a:defRPr>
      </a:lvl5pPr>
      <a:lvl6pPr marL="3047314" algn="l" defTabSz="1218926" rtl="0" eaLnBrk="1" latinLnBrk="0" hangingPunct="1">
        <a:defRPr sz="2400" kern="1200">
          <a:solidFill>
            <a:schemeClr val="tx1"/>
          </a:solidFill>
          <a:latin typeface="+mn-lt"/>
          <a:ea typeface="+mn-ea"/>
          <a:cs typeface="+mn-cs"/>
        </a:defRPr>
      </a:lvl6pPr>
      <a:lvl7pPr marL="3656777" algn="l" defTabSz="1218926" rtl="0" eaLnBrk="1" latinLnBrk="0" hangingPunct="1">
        <a:defRPr sz="2400" kern="1200">
          <a:solidFill>
            <a:schemeClr val="tx1"/>
          </a:solidFill>
          <a:latin typeface="+mn-lt"/>
          <a:ea typeface="+mn-ea"/>
          <a:cs typeface="+mn-cs"/>
        </a:defRPr>
      </a:lvl7pPr>
      <a:lvl8pPr marL="4266240" algn="l" defTabSz="1218926" rtl="0" eaLnBrk="1" latinLnBrk="0" hangingPunct="1">
        <a:defRPr sz="2400" kern="1200">
          <a:solidFill>
            <a:schemeClr val="tx1"/>
          </a:solidFill>
          <a:latin typeface="+mn-lt"/>
          <a:ea typeface="+mn-ea"/>
          <a:cs typeface="+mn-cs"/>
        </a:defRPr>
      </a:lvl8pPr>
      <a:lvl9pPr marL="4875703" algn="l" defTabSz="1218926"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96">
          <p15:clr>
            <a:srgbClr val="F26B43"/>
          </p15:clr>
        </p15:guide>
        <p15:guide id="2" orient="horz" pos="738">
          <p15:clr>
            <a:srgbClr val="F26B43"/>
          </p15:clr>
        </p15:guide>
        <p15:guide id="3" pos="226">
          <p15:clr>
            <a:srgbClr val="F26B43"/>
          </p15:clr>
        </p15:guide>
        <p15:guide id="4" pos="553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074" name="Text Placeholder 2"/>
          <p:cNvSpPr>
            <a:spLocks noGrp="1"/>
          </p:cNvSpPr>
          <p:nvPr>
            <p:ph type="body" idx="1"/>
          </p:nvPr>
        </p:nvSpPr>
        <p:spPr bwMode="auto">
          <a:xfrm>
            <a:off x="486834" y="1189038"/>
            <a:ext cx="11218333" cy="46656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en-GB" altLang="zh-CN"/>
          </a:p>
        </p:txBody>
      </p:sp>
      <p:sp>
        <p:nvSpPr>
          <p:cNvPr id="3077" name="Title Placeholder 3"/>
          <p:cNvSpPr>
            <a:spLocks noGrp="1"/>
          </p:cNvSpPr>
          <p:nvPr>
            <p:ph type="title"/>
          </p:nvPr>
        </p:nvSpPr>
        <p:spPr bwMode="auto">
          <a:xfrm>
            <a:off x="486833" y="295275"/>
            <a:ext cx="10102851" cy="33813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zh-CN" altLang="en-US"/>
              <a:t>单击此处编辑母版标题样式</a:t>
            </a:r>
            <a:endParaRPr lang="en-GB" altLang="zh-CN"/>
          </a:p>
        </p:txBody>
      </p:sp>
      <p:cxnSp>
        <p:nvCxnSpPr>
          <p:cNvPr id="11" name="Straight Connector 10"/>
          <p:cNvCxnSpPr/>
          <p:nvPr/>
        </p:nvCxnSpPr>
        <p:spPr>
          <a:xfrm>
            <a:off x="499534" y="1076325"/>
            <a:ext cx="11222567" cy="0"/>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9" name="Picture 7">
            <a:extLst>
              <a:ext uri="{FF2B5EF4-FFF2-40B4-BE49-F238E27FC236}">
                <a16:creationId xmlns:a16="http://schemas.microsoft.com/office/drawing/2014/main" id="{440661B0-7642-435A-87C9-46D497E92869}"/>
              </a:ext>
            </a:extLst>
          </p:cNvPr>
          <p:cNvPicPr>
            <a:picLocks noChangeAspect="1"/>
          </p:cNvPicPr>
          <p:nvPr userDrawn="1"/>
        </p:nvPicPr>
        <p:blipFill rotWithShape="1">
          <a:blip r:embed="rId20">
            <a:extLst>
              <a:ext uri="{28A0092B-C50C-407E-A947-70E740481C1C}">
                <a14:useLocalDpi xmlns:a14="http://schemas.microsoft.com/office/drawing/2010/main" val="0"/>
              </a:ext>
            </a:extLst>
          </a:blip>
          <a:srcRect t="86714"/>
          <a:stretch/>
        </p:blipFill>
        <p:spPr>
          <a:xfrm>
            <a:off x="0" y="6302494"/>
            <a:ext cx="12192000" cy="555506"/>
          </a:xfrm>
          <a:prstGeom prst="rect">
            <a:avLst/>
          </a:prstGeom>
        </p:spPr>
      </p:pic>
    </p:spTree>
    <p:extLst>
      <p:ext uri="{BB962C8B-B14F-4D97-AF65-F5344CB8AC3E}">
        <p14:creationId xmlns:p14="http://schemas.microsoft.com/office/powerpoint/2010/main" val="1534913859"/>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5" r:id="rId16"/>
    <p:sldLayoutId id="2147483698" r:id="rId17"/>
    <p:sldLayoutId id="2147483699" r:id="rId18"/>
  </p:sldLayoutIdLst>
  <p:hf hdr="0" ftr="0" dt="0"/>
  <p:txStyles>
    <p:titleStyle>
      <a:lvl1pPr algn="l" rtl="0" eaLnBrk="1" fontAlgn="base" hangingPunct="1">
        <a:spcBef>
          <a:spcPct val="0"/>
        </a:spcBef>
        <a:spcAft>
          <a:spcPct val="0"/>
        </a:spcAft>
        <a:defRPr sz="2200" b="1" kern="1200">
          <a:solidFill>
            <a:schemeClr val="bg2"/>
          </a:solidFill>
          <a:latin typeface="+mj-lt"/>
          <a:ea typeface="+mj-ea"/>
          <a:cs typeface="+mj-cs"/>
        </a:defRPr>
      </a:lvl1pPr>
      <a:lvl2pPr algn="l" rtl="0" eaLnBrk="1" fontAlgn="base" hangingPunct="1">
        <a:spcBef>
          <a:spcPct val="0"/>
        </a:spcBef>
        <a:spcAft>
          <a:spcPct val="0"/>
        </a:spcAft>
        <a:defRPr sz="2200" b="1">
          <a:solidFill>
            <a:schemeClr val="bg2"/>
          </a:solidFill>
          <a:latin typeface="Arial" panose="020B0604020202020204" pitchFamily="34" charset="0"/>
        </a:defRPr>
      </a:lvl2pPr>
      <a:lvl3pPr algn="l" rtl="0" eaLnBrk="1" fontAlgn="base" hangingPunct="1">
        <a:spcBef>
          <a:spcPct val="0"/>
        </a:spcBef>
        <a:spcAft>
          <a:spcPct val="0"/>
        </a:spcAft>
        <a:defRPr sz="2200" b="1">
          <a:solidFill>
            <a:schemeClr val="bg2"/>
          </a:solidFill>
          <a:latin typeface="Arial" panose="020B0604020202020204" pitchFamily="34" charset="0"/>
        </a:defRPr>
      </a:lvl3pPr>
      <a:lvl4pPr algn="l" rtl="0" eaLnBrk="1" fontAlgn="base" hangingPunct="1">
        <a:spcBef>
          <a:spcPct val="0"/>
        </a:spcBef>
        <a:spcAft>
          <a:spcPct val="0"/>
        </a:spcAft>
        <a:defRPr sz="2200" b="1">
          <a:solidFill>
            <a:schemeClr val="bg2"/>
          </a:solidFill>
          <a:latin typeface="Arial" panose="020B0604020202020204" pitchFamily="34" charset="0"/>
        </a:defRPr>
      </a:lvl4pPr>
      <a:lvl5pPr algn="l" rtl="0" eaLnBrk="1" fontAlgn="base" hangingPunct="1">
        <a:spcBef>
          <a:spcPct val="0"/>
        </a:spcBef>
        <a:spcAft>
          <a:spcPct val="0"/>
        </a:spcAft>
        <a:defRPr sz="2200" b="1">
          <a:solidFill>
            <a:schemeClr val="bg2"/>
          </a:solidFill>
          <a:latin typeface="Arial" panose="020B0604020202020204" pitchFamily="34" charset="0"/>
        </a:defRPr>
      </a:lvl5pPr>
      <a:lvl6pPr marL="457200" algn="l" rtl="0" eaLnBrk="1" fontAlgn="base" hangingPunct="1">
        <a:spcBef>
          <a:spcPct val="0"/>
        </a:spcBef>
        <a:spcAft>
          <a:spcPct val="0"/>
        </a:spcAft>
        <a:defRPr sz="2200" b="1">
          <a:solidFill>
            <a:schemeClr val="bg2"/>
          </a:solidFill>
          <a:latin typeface="Arial" panose="020B0604020202020204" pitchFamily="34" charset="0"/>
        </a:defRPr>
      </a:lvl6pPr>
      <a:lvl7pPr marL="914400" algn="l" rtl="0" eaLnBrk="1" fontAlgn="base" hangingPunct="1">
        <a:spcBef>
          <a:spcPct val="0"/>
        </a:spcBef>
        <a:spcAft>
          <a:spcPct val="0"/>
        </a:spcAft>
        <a:defRPr sz="2200" b="1">
          <a:solidFill>
            <a:schemeClr val="bg2"/>
          </a:solidFill>
          <a:latin typeface="Arial" panose="020B0604020202020204" pitchFamily="34" charset="0"/>
        </a:defRPr>
      </a:lvl7pPr>
      <a:lvl8pPr marL="1371600" algn="l" rtl="0" eaLnBrk="1" fontAlgn="base" hangingPunct="1">
        <a:spcBef>
          <a:spcPct val="0"/>
        </a:spcBef>
        <a:spcAft>
          <a:spcPct val="0"/>
        </a:spcAft>
        <a:defRPr sz="2200" b="1">
          <a:solidFill>
            <a:schemeClr val="bg2"/>
          </a:solidFill>
          <a:latin typeface="Arial" panose="020B0604020202020204" pitchFamily="34" charset="0"/>
        </a:defRPr>
      </a:lvl8pPr>
      <a:lvl9pPr marL="1828800" algn="l" rtl="0" eaLnBrk="1" fontAlgn="base" hangingPunct="1">
        <a:spcBef>
          <a:spcPct val="0"/>
        </a:spcBef>
        <a:spcAft>
          <a:spcPct val="0"/>
        </a:spcAft>
        <a:defRPr sz="2200" b="1">
          <a:solidFill>
            <a:schemeClr val="bg2"/>
          </a:solidFill>
          <a:latin typeface="Arial" panose="020B0604020202020204" pitchFamily="34" charset="0"/>
        </a:defRPr>
      </a:lvl9pPr>
    </p:titleStyle>
    <p:bodyStyle>
      <a:lvl1pPr marL="269875" indent="-269875" algn="l" rtl="0" eaLnBrk="1" fontAlgn="base" hangingPunct="1">
        <a:spcBef>
          <a:spcPct val="0"/>
        </a:spcBef>
        <a:spcAft>
          <a:spcPts val="600"/>
        </a:spcAft>
        <a:buClr>
          <a:schemeClr val="tx1"/>
        </a:buClr>
        <a:buFont typeface="Arial" charset="0"/>
        <a:buChar char="–"/>
        <a:defRPr sz="1600" kern="1200">
          <a:solidFill>
            <a:schemeClr val="tx1"/>
          </a:solidFill>
          <a:latin typeface="+mn-lt"/>
          <a:ea typeface="+mn-ea"/>
          <a:cs typeface="+mn-cs"/>
        </a:defRPr>
      </a:lvl1pPr>
      <a:lvl2pPr marL="538163" indent="-269875" algn="l" rtl="0" eaLnBrk="1" fontAlgn="base" hangingPunct="1">
        <a:spcBef>
          <a:spcPct val="0"/>
        </a:spcBef>
        <a:spcAft>
          <a:spcPts val="600"/>
        </a:spcAft>
        <a:buFont typeface="Arial" charset="0"/>
        <a:buChar char="–"/>
        <a:defRPr sz="1400" kern="1200">
          <a:solidFill>
            <a:schemeClr val="tx1"/>
          </a:solidFill>
          <a:latin typeface="+mn-lt"/>
          <a:ea typeface="+mn-ea"/>
          <a:cs typeface="+mn-cs"/>
        </a:defRPr>
      </a:lvl2pPr>
      <a:lvl3pPr marL="809625" indent="-269875" algn="l" rtl="0" eaLnBrk="1" fontAlgn="base" hangingPunct="1">
        <a:spcBef>
          <a:spcPct val="0"/>
        </a:spcBef>
        <a:spcAft>
          <a:spcPts val="600"/>
        </a:spcAft>
        <a:buFont typeface="Arial" charset="0"/>
        <a:buChar char="–"/>
        <a:defRPr sz="1200" kern="1200">
          <a:solidFill>
            <a:schemeClr val="tx1"/>
          </a:solidFill>
          <a:latin typeface="+mn-lt"/>
          <a:ea typeface="+mn-ea"/>
          <a:cs typeface="+mn-cs"/>
        </a:defRPr>
      </a:lvl3pPr>
      <a:lvl4pPr marL="1081088" indent="-269875" algn="l" rtl="0" eaLnBrk="1" fontAlgn="base" hangingPunct="1">
        <a:spcBef>
          <a:spcPct val="0"/>
        </a:spcBef>
        <a:spcAft>
          <a:spcPts val="600"/>
        </a:spcAft>
        <a:buFont typeface="Arial" charset="0"/>
        <a:buChar char="–"/>
        <a:defRPr sz="1200" kern="1200">
          <a:solidFill>
            <a:schemeClr val="tx1"/>
          </a:solidFill>
          <a:latin typeface="+mn-lt"/>
          <a:ea typeface="+mn-ea"/>
          <a:cs typeface="+mn-cs"/>
        </a:defRPr>
      </a:lvl4pPr>
      <a:lvl5pPr marL="1349375" indent="-269875" algn="l" rtl="0" eaLnBrk="1" fontAlgn="base" hangingPunct="1">
        <a:spcBef>
          <a:spcPct val="0"/>
        </a:spcBef>
        <a:spcAft>
          <a:spcPts val="600"/>
        </a:spcAft>
        <a:buFont typeface="Arial" charset="0"/>
        <a:buChar char="–"/>
        <a:defRPr sz="1200" kern="1200">
          <a:solidFill>
            <a:schemeClr val="tx1"/>
          </a:solidFill>
          <a:latin typeface="+mn-lt"/>
          <a:ea typeface="+mn-ea"/>
          <a:cs typeface="+mn-cs"/>
        </a:defRPr>
      </a:lvl5pPr>
      <a:lvl6pPr marL="162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6pPr>
      <a:lvl7pPr marL="180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7pPr>
      <a:lvl8pPr marL="207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8pPr>
      <a:lvl9pPr marL="234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tle Placeholder 3"/>
          <p:cNvSpPr>
            <a:spLocks noGrp="1"/>
          </p:cNvSpPr>
          <p:nvPr>
            <p:ph type="title"/>
          </p:nvPr>
        </p:nvSpPr>
        <p:spPr>
          <a:xfrm>
            <a:off x="478871" y="384852"/>
            <a:ext cx="10102852" cy="451405"/>
          </a:xfrm>
          <a:prstGeom prst="rect">
            <a:avLst/>
          </a:prstGeom>
        </p:spPr>
        <p:txBody>
          <a:bodyPr vert="horz" lIns="0" tIns="0" rIns="0" bIns="0" rtlCol="0" anchor="ctr" anchorCtr="0">
            <a:normAutofit/>
          </a:bodyPr>
          <a:lstStyle/>
          <a:p>
            <a:r>
              <a:rPr lang="en-US"/>
              <a:t>Click to edit Master heading style</a:t>
            </a:r>
            <a:endParaRPr lang="en-GB"/>
          </a:p>
        </p:txBody>
      </p:sp>
      <p:cxnSp>
        <p:nvCxnSpPr>
          <p:cNvPr id="11" name="Straight Connector 10"/>
          <p:cNvCxnSpPr/>
          <p:nvPr userDrawn="1"/>
        </p:nvCxnSpPr>
        <p:spPr>
          <a:xfrm>
            <a:off x="480000" y="1033808"/>
            <a:ext cx="11232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AA8F3B2A-0C08-4F63-81FA-C73A6F0E72D8}"/>
              </a:ext>
            </a:extLst>
          </p:cNvPr>
          <p:cNvPicPr>
            <a:picLocks noChangeAspect="1"/>
          </p:cNvPicPr>
          <p:nvPr userDrawn="1"/>
        </p:nvPicPr>
        <p:blipFill rotWithShape="1">
          <a:blip r:embed="rId29">
            <a:extLst>
              <a:ext uri="{28A0092B-C50C-407E-A947-70E740481C1C}">
                <a14:useLocalDpi xmlns:a14="http://schemas.microsoft.com/office/drawing/2010/main" val="0"/>
              </a:ext>
            </a:extLst>
          </a:blip>
          <a:srcRect t="86714"/>
          <a:stretch/>
        </p:blipFill>
        <p:spPr>
          <a:xfrm>
            <a:off x="0" y="6302494"/>
            <a:ext cx="12192000" cy="555506"/>
          </a:xfrm>
          <a:prstGeom prst="rect">
            <a:avLst/>
          </a:prstGeom>
        </p:spPr>
      </p:pic>
    </p:spTree>
    <p:extLst>
      <p:ext uri="{BB962C8B-B14F-4D97-AF65-F5344CB8AC3E}">
        <p14:creationId xmlns:p14="http://schemas.microsoft.com/office/powerpoint/2010/main" val="1586503415"/>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 id="2147483726" r:id="rId25"/>
    <p:sldLayoutId id="2147483727" r:id="rId26"/>
    <p:sldLayoutId id="2147483728" r:id="rId27"/>
  </p:sldLayoutIdLst>
  <p:hf hdr="0" ftr="0" dt="0"/>
  <p:txStyles>
    <p:titleStyle>
      <a:lvl1pPr algn="l" defTabSz="1219140" rtl="0" eaLnBrk="1" latinLnBrk="0" hangingPunct="1">
        <a:lnSpc>
          <a:spcPct val="100000"/>
        </a:lnSpc>
        <a:spcBef>
          <a:spcPct val="0"/>
        </a:spcBef>
        <a:buNone/>
        <a:defRPr sz="2933" b="1" kern="1200">
          <a:solidFill>
            <a:schemeClr val="bg2"/>
          </a:solidFill>
          <a:latin typeface="+mj-lt"/>
          <a:ea typeface="+mj-ea"/>
          <a:cs typeface="+mj-cs"/>
        </a:defRPr>
      </a:lvl1pPr>
    </p:titleStyle>
    <p:bodyStyle>
      <a:lvl1pPr marL="359982" indent="-359982" algn="l" defTabSz="1219140" rtl="0" eaLnBrk="1" latinLnBrk="0" hangingPunct="1">
        <a:spcBef>
          <a:spcPts val="0"/>
        </a:spcBef>
        <a:spcAft>
          <a:spcPts val="800"/>
        </a:spcAft>
        <a:buClr>
          <a:schemeClr val="tx1"/>
        </a:buClr>
        <a:buFont typeface="Arial" pitchFamily="34" charset="0"/>
        <a:buChar char="–"/>
        <a:defRPr sz="2133" kern="1200">
          <a:solidFill>
            <a:schemeClr val="tx1"/>
          </a:solidFill>
          <a:latin typeface="+mn-lt"/>
          <a:ea typeface="+mn-ea"/>
          <a:cs typeface="+mn-cs"/>
        </a:defRPr>
      </a:lvl1pPr>
      <a:lvl2pPr marL="717515" indent="-359982" algn="l" defTabSz="1219140" rtl="0" eaLnBrk="1" latinLnBrk="0" hangingPunct="1">
        <a:spcBef>
          <a:spcPts val="0"/>
        </a:spcBef>
        <a:spcAft>
          <a:spcPts val="800"/>
        </a:spcAft>
        <a:buFont typeface="Arial" pitchFamily="34" charset="0"/>
        <a:buChar char="–"/>
        <a:defRPr sz="1867" kern="1200">
          <a:solidFill>
            <a:schemeClr val="tx1"/>
          </a:solidFill>
          <a:latin typeface="+mn-lt"/>
          <a:ea typeface="+mn-ea"/>
          <a:cs typeface="+mn-cs"/>
        </a:defRPr>
      </a:lvl2pPr>
      <a:lvl3pPr marL="1079946" indent="-359982" algn="l" defTabSz="121914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3pPr>
      <a:lvl4pPr marL="1441379" indent="-359982" algn="l" defTabSz="121914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4pPr>
      <a:lvl5pPr marL="1799910" indent="-359982" algn="l" defTabSz="1219140" rtl="0" eaLnBrk="1" latinLnBrk="0" hangingPunct="1">
        <a:spcBef>
          <a:spcPts val="0"/>
        </a:spcBef>
        <a:spcAft>
          <a:spcPts val="800"/>
        </a:spcAft>
        <a:buFont typeface="Arial" pitchFamily="34" charset="0"/>
        <a:buChar char="–"/>
        <a:defRPr sz="1600" b="0" kern="1200">
          <a:solidFill>
            <a:schemeClr val="tx1"/>
          </a:solidFill>
          <a:latin typeface="+mn-lt"/>
          <a:ea typeface="+mn-ea"/>
          <a:cs typeface="+mn-cs"/>
        </a:defRPr>
      </a:lvl5pPr>
      <a:lvl6pPr marL="2159893" indent="-359982" algn="l" defTabSz="121914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880" indent="-359982" algn="l" defTabSz="121914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862" indent="-359982" algn="l" defTabSz="121914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845" indent="-359982" algn="l" defTabSz="121914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7" name="think-cell Slide" r:id="rId8" imgW="7620" imgH="7620" progId="TCLayout.ActiveDocument.1">
                  <p:embed/>
                </p:oleObj>
              </mc:Choice>
              <mc:Fallback>
                <p:oleObj name="think-cell Slide" r:id="rId8" imgW="7620" imgH="7620" progId="TCLayout.ActiveDocument.1">
                  <p:embed/>
                  <p:pic>
                    <p:nvPicPr>
                      <p:cNvPr id="3" name="对象 2"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7" name="矩形 16"/>
          <p:cNvSpPr/>
          <p:nvPr userDrawn="1"/>
        </p:nvSpPr>
        <p:spPr>
          <a:xfrm>
            <a:off x="9656814" y="6561518"/>
            <a:ext cx="2207656" cy="25654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Empower</a:t>
            </a:r>
            <a:r>
              <a:rPr kumimoji="0" lang="zh-CN" altLang="en-US"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 </a:t>
            </a:r>
            <a:r>
              <a:rPr kumimoji="0" lang="en-US" altLang="zh-CN"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the</a:t>
            </a:r>
            <a:r>
              <a:rPr kumimoji="0" lang="zh-CN" altLang="en-US"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 </a:t>
            </a:r>
            <a:r>
              <a:rPr kumimoji="0" lang="en-US" altLang="zh-CN"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Future</a:t>
            </a:r>
            <a:r>
              <a:rPr kumimoji="0" lang="zh-CN" altLang="en-US"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 </a:t>
            </a:r>
            <a:r>
              <a:rPr kumimoji="0" lang="en-US" altLang="zh-CN"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of</a:t>
            </a:r>
            <a:r>
              <a:rPr kumimoji="0" lang="zh-CN" altLang="en-US"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 </a:t>
            </a:r>
            <a:r>
              <a:rPr kumimoji="0" lang="en-US" altLang="zh-CN"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Marketing</a:t>
            </a:r>
            <a:endParaRPr kumimoji="0" lang="zh-CN" altLang="en-US" sz="1065" b="0" i="0" u="none" strike="noStrike" kern="1200" cap="none" spc="0" normalizeH="0" baseline="0" noProof="0" dirty="0">
              <a:ln>
                <a:noFill/>
              </a:ln>
              <a:solidFill>
                <a:srgbClr val="FFFFFF"/>
              </a:solidFill>
              <a:effectLst/>
              <a:uLnTx/>
              <a:uFillTx/>
              <a:latin typeface="Myriad Pro" charset="0"/>
              <a:ea typeface="Myriad Pro" charset="0"/>
              <a:cs typeface="Myriad Pro" charset="0"/>
            </a:endParaRPr>
          </a:p>
        </p:txBody>
      </p:sp>
      <p:pic>
        <p:nvPicPr>
          <p:cNvPr id="4" name="Picture 7">
            <a:extLst>
              <a:ext uri="{FF2B5EF4-FFF2-40B4-BE49-F238E27FC236}">
                <a16:creationId xmlns:a16="http://schemas.microsoft.com/office/drawing/2014/main" id="{0D8651D5-1D73-4C01-80AF-45A0FCB28CDD}"/>
              </a:ext>
            </a:extLst>
          </p:cNvPr>
          <p:cNvPicPr>
            <a:picLocks noChangeAspect="1"/>
          </p:cNvPicPr>
          <p:nvPr userDrawn="1"/>
        </p:nvPicPr>
        <p:blipFill rotWithShape="1">
          <a:blip r:embed="rId10">
            <a:extLst>
              <a:ext uri="{28A0092B-C50C-407E-A947-70E740481C1C}">
                <a14:useLocalDpi xmlns:a14="http://schemas.microsoft.com/office/drawing/2010/main" val="0"/>
              </a:ext>
            </a:extLst>
          </a:blip>
          <a:srcRect t="86714"/>
          <a:stretch/>
        </p:blipFill>
        <p:spPr>
          <a:xfrm>
            <a:off x="0" y="6302494"/>
            <a:ext cx="12192000" cy="555506"/>
          </a:xfrm>
          <a:prstGeom prst="rect">
            <a:avLst/>
          </a:prstGeom>
        </p:spPr>
      </p:pic>
    </p:spTree>
    <p:extLst>
      <p:ext uri="{BB962C8B-B14F-4D97-AF65-F5344CB8AC3E}">
        <p14:creationId xmlns:p14="http://schemas.microsoft.com/office/powerpoint/2010/main" val="3638778561"/>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2" name="think-cell Slide" r:id="rId9" imgW="7620" imgH="7620" progId="TCLayout.ActiveDocument.1">
                  <p:embed/>
                </p:oleObj>
              </mc:Choice>
              <mc:Fallback>
                <p:oleObj name="think-cell Slide" r:id="rId9" imgW="7620" imgH="7620" progId="TCLayout.ActiveDocument.1">
                  <p:embed/>
                  <p:pic>
                    <p:nvPicPr>
                      <p:cNvPr id="3" name="对象 2"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7" name="矩形 16"/>
          <p:cNvSpPr/>
          <p:nvPr userDrawn="1"/>
        </p:nvSpPr>
        <p:spPr>
          <a:xfrm>
            <a:off x="9656814" y="6561518"/>
            <a:ext cx="2207656" cy="25654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Empower</a:t>
            </a:r>
            <a:r>
              <a:rPr kumimoji="0" lang="zh-CN" altLang="en-US"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 </a:t>
            </a:r>
            <a:r>
              <a:rPr kumimoji="0" lang="en-US" altLang="zh-CN"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the</a:t>
            </a:r>
            <a:r>
              <a:rPr kumimoji="0" lang="zh-CN" altLang="en-US"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 </a:t>
            </a:r>
            <a:r>
              <a:rPr kumimoji="0" lang="en-US" altLang="zh-CN"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Future</a:t>
            </a:r>
            <a:r>
              <a:rPr kumimoji="0" lang="zh-CN" altLang="en-US"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 </a:t>
            </a:r>
            <a:r>
              <a:rPr kumimoji="0" lang="en-US" altLang="zh-CN"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of</a:t>
            </a:r>
            <a:r>
              <a:rPr kumimoji="0" lang="zh-CN" altLang="en-US"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 </a:t>
            </a:r>
            <a:r>
              <a:rPr kumimoji="0" lang="en-US" altLang="zh-CN" sz="1065" b="0" i="0" u="none" strike="noStrike" kern="1200" cap="none" spc="0" normalizeH="0" baseline="0" noProof="0" dirty="0">
                <a:ln>
                  <a:noFill/>
                </a:ln>
                <a:solidFill>
                  <a:srgbClr val="FFFFFF"/>
                </a:solidFill>
                <a:effectLst/>
                <a:uLnTx/>
                <a:uFillTx/>
                <a:latin typeface="Myriad Pro" charset="0"/>
                <a:ea typeface="Myriad Pro" charset="0"/>
                <a:cs typeface="Myriad Pro" charset="0"/>
              </a:rPr>
              <a:t>Marketing</a:t>
            </a:r>
            <a:endParaRPr kumimoji="0" lang="zh-CN" altLang="en-US" sz="1065" b="0" i="0" u="none" strike="noStrike" kern="1200" cap="none" spc="0" normalizeH="0" baseline="0" noProof="0" dirty="0">
              <a:ln>
                <a:noFill/>
              </a:ln>
              <a:solidFill>
                <a:srgbClr val="FFFFFF"/>
              </a:solidFill>
              <a:effectLst/>
              <a:uLnTx/>
              <a:uFillTx/>
              <a:latin typeface="Myriad Pro" charset="0"/>
              <a:ea typeface="Myriad Pro" charset="0"/>
              <a:cs typeface="Myriad Pro" charset="0"/>
            </a:endParaRPr>
          </a:p>
        </p:txBody>
      </p:sp>
      <p:pic>
        <p:nvPicPr>
          <p:cNvPr id="4" name="Picture 7">
            <a:extLst>
              <a:ext uri="{FF2B5EF4-FFF2-40B4-BE49-F238E27FC236}">
                <a16:creationId xmlns:a16="http://schemas.microsoft.com/office/drawing/2014/main" id="{1D38B43F-2BC2-4AA5-826C-DDF218AD5DBF}"/>
              </a:ext>
            </a:extLst>
          </p:cNvPr>
          <p:cNvPicPr>
            <a:picLocks noChangeAspect="1"/>
          </p:cNvPicPr>
          <p:nvPr userDrawn="1"/>
        </p:nvPicPr>
        <p:blipFill rotWithShape="1">
          <a:blip r:embed="rId11">
            <a:extLst>
              <a:ext uri="{28A0092B-C50C-407E-A947-70E740481C1C}">
                <a14:useLocalDpi xmlns:a14="http://schemas.microsoft.com/office/drawing/2010/main" val="0"/>
              </a:ext>
            </a:extLst>
          </a:blip>
          <a:srcRect t="86714"/>
          <a:stretch/>
        </p:blipFill>
        <p:spPr>
          <a:xfrm>
            <a:off x="0" y="6302494"/>
            <a:ext cx="12192000" cy="555506"/>
          </a:xfrm>
          <a:prstGeom prst="rect">
            <a:avLst/>
          </a:prstGeom>
        </p:spPr>
      </p:pic>
    </p:spTree>
    <p:extLst>
      <p:ext uri="{BB962C8B-B14F-4D97-AF65-F5344CB8AC3E}">
        <p14:creationId xmlns:p14="http://schemas.microsoft.com/office/powerpoint/2010/main" val="1438359549"/>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78869" y="1587484"/>
            <a:ext cx="11232000" cy="409234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Placeholder 3"/>
          <p:cNvSpPr>
            <a:spLocks noGrp="1"/>
          </p:cNvSpPr>
          <p:nvPr>
            <p:ph type="title"/>
          </p:nvPr>
        </p:nvSpPr>
        <p:spPr>
          <a:xfrm>
            <a:off x="634999" y="162248"/>
            <a:ext cx="10102852" cy="451405"/>
          </a:xfrm>
          <a:prstGeom prst="rect">
            <a:avLst/>
          </a:prstGeom>
        </p:spPr>
        <p:txBody>
          <a:bodyPr vert="horz" lIns="0" tIns="0" rIns="0" bIns="0" rtlCol="0" anchor="t" anchorCtr="0">
            <a:spAutoFit/>
          </a:bodyPr>
          <a:lstStyle/>
          <a:p>
            <a:r>
              <a:rPr lang="en-US"/>
              <a:t>Click to edit Master title style</a:t>
            </a:r>
            <a:endParaRPr lang="en-GB" dirty="0"/>
          </a:p>
        </p:txBody>
      </p:sp>
      <p:pic>
        <p:nvPicPr>
          <p:cNvPr id="10" name="Picture 7">
            <a:extLst>
              <a:ext uri="{FF2B5EF4-FFF2-40B4-BE49-F238E27FC236}">
                <a16:creationId xmlns:a16="http://schemas.microsoft.com/office/drawing/2014/main" id="{AE97245D-BE29-46B2-BCB3-8178CB312D3B}"/>
              </a:ext>
            </a:extLst>
          </p:cNvPr>
          <p:cNvPicPr>
            <a:picLocks noChangeAspect="1"/>
          </p:cNvPicPr>
          <p:nvPr userDrawn="1"/>
        </p:nvPicPr>
        <p:blipFill rotWithShape="1">
          <a:blip r:embed="rId16">
            <a:extLst>
              <a:ext uri="{28A0092B-C50C-407E-A947-70E740481C1C}">
                <a14:useLocalDpi xmlns:a14="http://schemas.microsoft.com/office/drawing/2010/main" val="0"/>
              </a:ext>
            </a:extLst>
          </a:blip>
          <a:srcRect t="86714"/>
          <a:stretch/>
        </p:blipFill>
        <p:spPr>
          <a:xfrm>
            <a:off x="0" y="6302494"/>
            <a:ext cx="12192000" cy="555506"/>
          </a:xfrm>
          <a:prstGeom prst="rect">
            <a:avLst/>
          </a:prstGeom>
        </p:spPr>
      </p:pic>
    </p:spTree>
    <p:extLst>
      <p:ext uri="{BB962C8B-B14F-4D97-AF65-F5344CB8AC3E}">
        <p14:creationId xmlns:p14="http://schemas.microsoft.com/office/powerpoint/2010/main" val="4126977877"/>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Lst>
  <p:hf hdr="0" ftr="0" dt="0"/>
  <p:txStyles>
    <p:titleStyle>
      <a:lvl1pPr algn="l" defTabSz="1219170" rtl="0" eaLnBrk="1" latinLnBrk="0" hangingPunct="1">
        <a:lnSpc>
          <a:spcPct val="100000"/>
        </a:lnSpc>
        <a:spcBef>
          <a:spcPct val="0"/>
        </a:spcBef>
        <a:buNone/>
        <a:defRPr sz="2933" b="1" kern="1200">
          <a:solidFill>
            <a:schemeClr val="tx1">
              <a:lumMod val="75000"/>
            </a:schemeClr>
          </a:solidFill>
          <a:latin typeface="+mj-lt"/>
          <a:ea typeface="+mj-ea"/>
          <a:cs typeface="+mj-cs"/>
        </a:defRPr>
      </a:lvl1pPr>
    </p:titleStyle>
    <p:bodyStyle>
      <a:lvl1pPr marL="359991" indent="-359991" algn="l" defTabSz="1219170" rtl="0" eaLnBrk="1" latinLnBrk="0" hangingPunct="1">
        <a:spcBef>
          <a:spcPts val="0"/>
        </a:spcBef>
        <a:spcAft>
          <a:spcPts val="800"/>
        </a:spcAft>
        <a:buClr>
          <a:schemeClr val="tx1"/>
        </a:buClr>
        <a:buFont typeface="Arial" pitchFamily="34" charset="0"/>
        <a:buChar char="–"/>
        <a:defRPr sz="2133" kern="1200">
          <a:solidFill>
            <a:schemeClr val="tx1"/>
          </a:solidFill>
          <a:latin typeface="+mn-lt"/>
          <a:ea typeface="+mn-ea"/>
          <a:cs typeface="+mn-cs"/>
        </a:defRPr>
      </a:lvl1pPr>
      <a:lvl2pPr marL="717533" indent="-359991" algn="l" defTabSz="1219170" rtl="0" eaLnBrk="1" latinLnBrk="0" hangingPunct="1">
        <a:spcBef>
          <a:spcPts val="0"/>
        </a:spcBef>
        <a:spcAft>
          <a:spcPts val="800"/>
        </a:spcAft>
        <a:buFont typeface="Arial" pitchFamily="34" charset="0"/>
        <a:buChar char="–"/>
        <a:defRPr sz="1867" kern="1200">
          <a:solidFill>
            <a:schemeClr val="tx1"/>
          </a:solidFill>
          <a:latin typeface="+mn-lt"/>
          <a:ea typeface="+mn-ea"/>
          <a:cs typeface="+mn-cs"/>
        </a:defRPr>
      </a:lvl2pPr>
      <a:lvl3pPr marL="1079973"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3pPr>
      <a:lvl4pPr marL="1441415"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4pPr>
      <a:lvl5pPr marL="1799955" indent="-359991" algn="l" defTabSz="1219170" rtl="0" eaLnBrk="1" latinLnBrk="0" hangingPunct="1">
        <a:spcBef>
          <a:spcPts val="0"/>
        </a:spcBef>
        <a:spcAft>
          <a:spcPts val="800"/>
        </a:spcAft>
        <a:buFont typeface="Arial" pitchFamily="34" charset="0"/>
        <a:buChar char="–"/>
        <a:defRPr sz="1600" b="0" kern="1200">
          <a:solidFill>
            <a:schemeClr val="tx1"/>
          </a:solidFill>
          <a:latin typeface="+mn-lt"/>
          <a:ea typeface="+mn-ea"/>
          <a:cs typeface="+mn-cs"/>
        </a:defRPr>
      </a:lvl5pPr>
      <a:lvl6pPr marL="2159946"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940"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931"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922" indent="-359991" algn="l" defTabSz="1219170"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6F24B0C-7668-4973-8E6C-4D4CB7EF0CEB}" type="slidenum">
              <a:rPr lang="en-US" smtClean="0"/>
              <a:t>‹#›</a:t>
            </a:fld>
            <a:endParaRPr lang="en-US"/>
          </a:p>
        </p:txBody>
      </p:sp>
      <p:pic>
        <p:nvPicPr>
          <p:cNvPr id="8" name="Picture 7">
            <a:extLst>
              <a:ext uri="{FF2B5EF4-FFF2-40B4-BE49-F238E27FC236}">
                <a16:creationId xmlns:a16="http://schemas.microsoft.com/office/drawing/2014/main" id="{4C72DC78-C382-4BCB-B840-4179ADF933E9}"/>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t="86714"/>
          <a:stretch/>
        </p:blipFill>
        <p:spPr>
          <a:xfrm>
            <a:off x="0" y="6302494"/>
            <a:ext cx="12192000" cy="555506"/>
          </a:xfrm>
          <a:prstGeom prst="rect">
            <a:avLst/>
          </a:prstGeom>
        </p:spPr>
      </p:pic>
    </p:spTree>
    <p:extLst>
      <p:ext uri="{BB962C8B-B14F-4D97-AF65-F5344CB8AC3E}">
        <p14:creationId xmlns:p14="http://schemas.microsoft.com/office/powerpoint/2010/main" val="752665787"/>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3.xml"/></Relationships>
</file>

<file path=ppt/slides/_rels/slide1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34.svg"/><Relationship Id="rId7" Type="http://schemas.openxmlformats.org/officeDocument/2006/relationships/image" Target="../media/image38.svg"/><Relationship Id="rId2" Type="http://schemas.openxmlformats.org/officeDocument/2006/relationships/image" Target="../media/image33.png"/><Relationship Id="rId1" Type="http://schemas.openxmlformats.org/officeDocument/2006/relationships/slideLayout" Target="../slideLayouts/slideLayout68.xml"/><Relationship Id="rId6" Type="http://schemas.openxmlformats.org/officeDocument/2006/relationships/image" Target="../media/image37.png"/><Relationship Id="rId5" Type="http://schemas.openxmlformats.org/officeDocument/2006/relationships/image" Target="../media/image36.svg"/><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8.xml"/><Relationship Id="rId1" Type="http://schemas.openxmlformats.org/officeDocument/2006/relationships/tags" Target="../tags/tag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3.xml"/><Relationship Id="rId1" Type="http://schemas.openxmlformats.org/officeDocument/2006/relationships/slideLayout" Target="../slideLayouts/slideLayout68.xml"/><Relationship Id="rId4" Type="http://schemas.openxmlformats.org/officeDocument/2006/relationships/chart" Target="../charts/chart1.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68.xml"/><Relationship Id="rId5" Type="http://schemas.openxmlformats.org/officeDocument/2006/relationships/image" Target="../media/image27.png"/><Relationship Id="rId4" Type="http://schemas.openxmlformats.org/officeDocument/2006/relationships/chart" Target="../charts/chart3.xml"/></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68.xml"/><Relationship Id="rId5" Type="http://schemas.openxmlformats.org/officeDocument/2006/relationships/chart" Target="../charts/chart5.xml"/><Relationship Id="rId4" Type="http://schemas.openxmlformats.org/officeDocument/2006/relationships/chart" Target="../charts/chart4.xml"/></Relationships>
</file>

<file path=ppt/slides/_rels/slide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6.xml"/><Relationship Id="rId1" Type="http://schemas.openxmlformats.org/officeDocument/2006/relationships/slideLayout" Target="../slideLayouts/slideLayout85.xml"/><Relationship Id="rId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27.png"/><Relationship Id="rId2" Type="http://schemas.openxmlformats.org/officeDocument/2006/relationships/slideLayout" Target="../slideLayouts/slideLayout85.xml"/><Relationship Id="rId1" Type="http://schemas.openxmlformats.org/officeDocument/2006/relationships/tags" Target="../tags/tag5.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7.xml"/><Relationship Id="rId1" Type="http://schemas.openxmlformats.org/officeDocument/2006/relationships/slideLayout" Target="../slideLayouts/slideLayout68.xml"/><Relationship Id="rId4"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文本占位符 3">
            <a:extLst>
              <a:ext uri="{FF2B5EF4-FFF2-40B4-BE49-F238E27FC236}">
                <a16:creationId xmlns:a16="http://schemas.microsoft.com/office/drawing/2014/main" id="{A2BCA48E-2039-4D86-8324-F4F11608166E}"/>
              </a:ext>
            </a:extLst>
          </p:cNvPr>
          <p:cNvSpPr txBox="1">
            <a:spLocks/>
          </p:cNvSpPr>
          <p:nvPr/>
        </p:nvSpPr>
        <p:spPr>
          <a:xfrm>
            <a:off x="421906" y="1091229"/>
            <a:ext cx="11348185" cy="3684599"/>
          </a:xfrm>
          <a:prstGeom prst="rect">
            <a:avLst/>
          </a:prstGeom>
        </p:spPr>
        <p:txBody>
          <a:bodyPr vert="horz" lIns="90000" tIns="46800" rIns="90000" bIns="46800" rtlCol="0">
            <a:spAutoFit/>
          </a:bodyPr>
          <a:lstStyle>
            <a:lvl1pPr marL="0" indent="0" algn="just" defTabSz="1218926" rtl="0" eaLnBrk="1" latinLnBrk="0" hangingPunct="1">
              <a:lnSpc>
                <a:spcPct val="120000"/>
              </a:lnSpc>
              <a:spcBef>
                <a:spcPts val="600"/>
              </a:spcBef>
              <a:spcAft>
                <a:spcPts val="0"/>
              </a:spcAft>
              <a:buClr>
                <a:schemeClr val="accent2"/>
              </a:buClr>
              <a:buFont typeface="Arial" pitchFamily="34" charset="0"/>
              <a:buNone/>
              <a:defRPr sz="2600" b="1" kern="1200" baseline="0">
                <a:solidFill>
                  <a:schemeClr val="bg1"/>
                </a:solidFill>
                <a:latin typeface="Arial" panose="020B0604020202020204" pitchFamily="34" charset="0"/>
                <a:ea typeface="微软雅黑" panose="020B0503020204020204" pitchFamily="34" charset="-122"/>
                <a:cs typeface="+mn-cs"/>
              </a:defRPr>
            </a:lvl1pPr>
            <a:lvl2pPr marL="271463" indent="0" algn="just" defTabSz="1218926" rtl="0" eaLnBrk="1" latinLnBrk="0" hangingPunct="1">
              <a:lnSpc>
                <a:spcPct val="120000"/>
              </a:lnSpc>
              <a:spcBef>
                <a:spcPts val="600"/>
              </a:spcBef>
              <a:spcAft>
                <a:spcPts val="0"/>
              </a:spcAft>
              <a:buFont typeface="Arial" pitchFamily="34" charset="0"/>
              <a:buNone/>
              <a:defRPr sz="2000" kern="1200" baseline="0">
                <a:solidFill>
                  <a:schemeClr val="bg1"/>
                </a:solidFill>
                <a:latin typeface="Arial" panose="020B0604020202020204" pitchFamily="34" charset="0"/>
                <a:ea typeface="微软雅黑" panose="020B0503020204020204" pitchFamily="34" charset="-122"/>
                <a:cs typeface="+mn-cs"/>
              </a:defRPr>
            </a:lvl2pPr>
            <a:lvl3pPr marL="533400" indent="0" algn="just" defTabSz="1218926" rtl="0" eaLnBrk="1" latinLnBrk="0" hangingPunct="1">
              <a:lnSpc>
                <a:spcPct val="120000"/>
              </a:lnSpc>
              <a:spcBef>
                <a:spcPts val="600"/>
              </a:spcBef>
              <a:spcAft>
                <a:spcPts val="0"/>
              </a:spcAft>
              <a:buFont typeface="Arial" pitchFamily="34" charset="0"/>
              <a:buNone/>
              <a:defRPr sz="1800" kern="1200" baseline="0">
                <a:solidFill>
                  <a:schemeClr val="bg1"/>
                </a:solidFill>
                <a:latin typeface="Arial" panose="020B0604020202020204" pitchFamily="34" charset="0"/>
                <a:ea typeface="微软雅黑" panose="020B0503020204020204" pitchFamily="34" charset="-122"/>
                <a:cs typeface="+mn-cs"/>
              </a:defRPr>
            </a:lvl3pPr>
            <a:lvl4pPr marL="815975" indent="0" algn="just" defTabSz="1218926" rtl="0" eaLnBrk="1" latinLnBrk="0" hangingPunct="1">
              <a:lnSpc>
                <a:spcPct val="120000"/>
              </a:lnSpc>
              <a:spcBef>
                <a:spcPts val="600"/>
              </a:spcBef>
              <a:spcAft>
                <a:spcPts val="0"/>
              </a:spcAft>
              <a:buFont typeface="Arial" pitchFamily="34" charset="0"/>
              <a:buNone/>
              <a:defRPr sz="1800" kern="1200" baseline="0">
                <a:solidFill>
                  <a:schemeClr val="bg1"/>
                </a:solidFill>
                <a:latin typeface="Arial" panose="020B0604020202020204" pitchFamily="34" charset="0"/>
                <a:ea typeface="微软雅黑" panose="020B0503020204020204" pitchFamily="34" charset="-122"/>
                <a:cs typeface="+mn-cs"/>
              </a:defRPr>
            </a:lvl4pPr>
            <a:lvl5pPr marL="1104900" indent="0" algn="just" defTabSz="1218926" rtl="0" eaLnBrk="1" latinLnBrk="0" hangingPunct="1">
              <a:lnSpc>
                <a:spcPct val="120000"/>
              </a:lnSpc>
              <a:spcBef>
                <a:spcPts val="600"/>
              </a:spcBef>
              <a:spcAft>
                <a:spcPts val="0"/>
              </a:spcAft>
              <a:buFont typeface="Arial" pitchFamily="34" charset="0"/>
              <a:buNone/>
              <a:defRPr sz="1800" b="0" kern="1200" baseline="0">
                <a:solidFill>
                  <a:schemeClr val="bg1"/>
                </a:solidFill>
                <a:latin typeface="Arial" panose="020B0604020202020204" pitchFamily="34" charset="0"/>
                <a:ea typeface="微软雅黑" panose="020B0503020204020204" pitchFamily="34" charset="-122"/>
                <a:cs typeface="+mn-cs"/>
              </a:defRPr>
            </a:lvl5pPr>
            <a:lvl6pPr marL="2159514" indent="-359919" algn="l" defTabSz="1218926"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6pPr>
            <a:lvl7pPr marL="2399460" indent="-359919" algn="l" defTabSz="1218926"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7pPr>
            <a:lvl8pPr marL="2759379" indent="-359919" algn="l" defTabSz="1218926"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8pPr>
            <a:lvl9pPr marL="3119298" indent="-359919" algn="l" defTabSz="1218926" rtl="0" eaLnBrk="1" latinLnBrk="0" hangingPunct="1">
              <a:spcBef>
                <a:spcPts val="0"/>
              </a:spcBef>
              <a:spcAft>
                <a:spcPts val="800"/>
              </a:spcAft>
              <a:buFont typeface="Arial" pitchFamily="34" charset="0"/>
              <a:buChar char="–"/>
              <a:defRPr sz="1600" kern="1200">
                <a:solidFill>
                  <a:schemeClr val="tx1"/>
                </a:solidFill>
                <a:latin typeface="+mn-lt"/>
                <a:ea typeface="+mn-ea"/>
                <a:cs typeface="+mn-cs"/>
              </a:defRPr>
            </a:lvl9pPr>
          </a:lstStyle>
          <a:p>
            <a:pPr marL="0" marR="0" lvl="0" indent="0" algn="ctr" defTabSz="1218926" rtl="0" eaLnBrk="1" fontAlgn="auto" latinLnBrk="0" hangingPunct="1">
              <a:lnSpc>
                <a:spcPct val="100000"/>
              </a:lnSpc>
              <a:spcBef>
                <a:spcPts val="0"/>
              </a:spcBef>
              <a:spcAft>
                <a:spcPts val="0"/>
              </a:spcAft>
              <a:buClr>
                <a:srgbClr val="544F40"/>
              </a:buClr>
              <a:buSzTx/>
              <a:buFont typeface="Arial" pitchFamily="34" charset="0"/>
              <a:buNone/>
              <a:tabLst/>
              <a:defRPr/>
            </a:pPr>
            <a:r>
              <a:rPr kumimoji="0" lang="en-US" altLang="zh-CN" sz="4000"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rPr>
              <a:t>2022</a:t>
            </a:r>
            <a:r>
              <a:rPr kumimoji="0" lang="zh-CN" altLang="en-US" sz="4000" b="1" i="0" u="none"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rPr>
              <a:t>年国家医保药品目录调整</a:t>
            </a:r>
          </a:p>
          <a:p>
            <a:pPr marL="0" marR="0" lvl="0" indent="0" algn="ctr" defTabSz="1218926" rtl="0" eaLnBrk="1" fontAlgn="auto" latinLnBrk="0" hangingPunct="1">
              <a:lnSpc>
                <a:spcPct val="100000"/>
              </a:lnSpc>
              <a:spcBef>
                <a:spcPts val="0"/>
              </a:spcBef>
              <a:spcAft>
                <a:spcPts val="0"/>
              </a:spcAft>
              <a:buClr>
                <a:srgbClr val="544F40"/>
              </a:buClr>
              <a:buSzTx/>
              <a:buFont typeface="Arial" pitchFamily="34" charset="0"/>
              <a:buNone/>
              <a:tabLst/>
              <a:defRPr/>
            </a:pPr>
            <a:r>
              <a:rPr lang="zh-CN" altLang="en-US" sz="4000" dirty="0">
                <a:solidFill>
                  <a:srgbClr val="FFFFFF"/>
                </a:solidFill>
              </a:rPr>
              <a:t>申报调整医保支付范围的目录内药品</a:t>
            </a:r>
            <a:endParaRPr lang="en-US" altLang="zh-CN" sz="4000" dirty="0">
              <a:solidFill>
                <a:srgbClr val="FFFFFF"/>
              </a:solidFill>
            </a:endParaRPr>
          </a:p>
          <a:p>
            <a:pPr marL="0" marR="0" lvl="0" indent="0" algn="ctr" defTabSz="1218926" rtl="0" eaLnBrk="1" fontAlgn="auto" latinLnBrk="0" hangingPunct="1">
              <a:lnSpc>
                <a:spcPct val="150000"/>
              </a:lnSpc>
              <a:spcBef>
                <a:spcPts val="600"/>
              </a:spcBef>
              <a:spcAft>
                <a:spcPts val="0"/>
              </a:spcAft>
              <a:buClr>
                <a:srgbClr val="544F40"/>
              </a:buClr>
              <a:buSzTx/>
              <a:buFont typeface="Arial" pitchFamily="34" charset="0"/>
              <a:buNone/>
              <a:tabLst/>
              <a:defRPr/>
            </a:pPr>
            <a:endParaRPr kumimoji="0" lang="en-US" altLang="zh-CN" sz="3200" b="1" i="0" u="sng"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endParaRPr>
          </a:p>
          <a:p>
            <a:pPr marL="0" marR="0" lvl="0" indent="0" algn="ctr" defTabSz="1218926" rtl="0" eaLnBrk="1" fontAlgn="auto" latinLnBrk="0" hangingPunct="1">
              <a:lnSpc>
                <a:spcPct val="150000"/>
              </a:lnSpc>
              <a:spcBef>
                <a:spcPts val="600"/>
              </a:spcBef>
              <a:spcAft>
                <a:spcPts val="0"/>
              </a:spcAft>
              <a:buClr>
                <a:srgbClr val="544F40"/>
              </a:buClr>
              <a:buSzTx/>
              <a:buFont typeface="Arial" pitchFamily="34" charset="0"/>
              <a:buNone/>
              <a:tabLst/>
              <a:defRPr/>
            </a:pPr>
            <a:r>
              <a:rPr kumimoji="0" lang="zh-CN" altLang="en-US" sz="3200" b="1" i="0" u="sng"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rPr>
              <a:t>通用名：拉米夫定多替拉韦片</a:t>
            </a:r>
            <a:endParaRPr kumimoji="0" lang="en-US" altLang="zh-CN" sz="3200" b="1" i="0" u="sng"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endParaRPr>
          </a:p>
          <a:p>
            <a:pPr marL="0" marR="0" lvl="0" indent="0" algn="ctr" defTabSz="1218926" rtl="0" eaLnBrk="1" fontAlgn="auto" latinLnBrk="0" hangingPunct="1">
              <a:lnSpc>
                <a:spcPct val="150000"/>
              </a:lnSpc>
              <a:spcBef>
                <a:spcPts val="600"/>
              </a:spcBef>
              <a:spcAft>
                <a:spcPts val="0"/>
              </a:spcAft>
              <a:buClr>
                <a:srgbClr val="544F40"/>
              </a:buClr>
              <a:buSzTx/>
              <a:buFont typeface="Arial" pitchFamily="34" charset="0"/>
              <a:buNone/>
              <a:tabLst/>
              <a:defRPr/>
            </a:pPr>
            <a:r>
              <a:rPr kumimoji="0" lang="zh-CN" altLang="en-US" sz="3200" b="1" i="0" u="sng"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rPr>
              <a:t>商品名：多伟托</a:t>
            </a:r>
            <a:endParaRPr kumimoji="0" lang="en-US" altLang="zh-CN" sz="3200" b="1" i="0" u="sng" strike="noStrike" kern="1200" cap="none" spc="0" normalizeH="0" baseline="0" noProof="0" dirty="0">
              <a:ln>
                <a:noFill/>
              </a:ln>
              <a:solidFill>
                <a:srgbClr val="FFFFFF"/>
              </a:solidFill>
              <a:effectLst/>
              <a:uLnTx/>
              <a:uFillTx/>
              <a:latin typeface="Arial" panose="020B0604020202020204" pitchFamily="34" charset="0"/>
              <a:ea typeface="微软雅黑" panose="020B0503020204020204" pitchFamily="34" charset="-122"/>
              <a:cs typeface="+mn-cs"/>
            </a:endParaRPr>
          </a:p>
        </p:txBody>
      </p:sp>
      <p:sp>
        <p:nvSpPr>
          <p:cNvPr id="12" name="TextBox 2">
            <a:extLst>
              <a:ext uri="{FF2B5EF4-FFF2-40B4-BE49-F238E27FC236}">
                <a16:creationId xmlns:a16="http://schemas.microsoft.com/office/drawing/2014/main" id="{85A878EA-E894-4F20-A106-A4075A344CEC}"/>
              </a:ext>
            </a:extLst>
          </p:cNvPr>
          <p:cNvSpPr txBox="1"/>
          <p:nvPr/>
        </p:nvSpPr>
        <p:spPr>
          <a:xfrm>
            <a:off x="3058160" y="5059680"/>
            <a:ext cx="5415280" cy="463846"/>
          </a:xfrm>
          <a:prstGeom prst="rect">
            <a:avLst/>
          </a:prstGeom>
          <a:noFill/>
        </p:spPr>
        <p:txBody>
          <a:bodyPr wrap="square" lIns="90000" tIns="46800" rIns="90000" bIns="46800" rtlCol="0" anchor="t">
            <a:spAutoFit/>
          </a:bodyPr>
          <a:lstStyle/>
          <a:p>
            <a:pPr algn="r">
              <a:buClr>
                <a:schemeClr val="tx1"/>
              </a:buClr>
            </a:pPr>
            <a:r>
              <a:rPr lang="zh-CN" altLang="en-US" sz="2400" dirty="0">
                <a:solidFill>
                  <a:schemeClr val="bg1"/>
                </a:solidFill>
              </a:rPr>
              <a:t>葛兰素史克（中国）投资有限公司</a:t>
            </a:r>
            <a:endParaRPr lang="en-US" sz="2400" dirty="0">
              <a:solidFill>
                <a:schemeClr val="bg1"/>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E9AC2178-38B8-4460-BE0D-FD768C2A42A3}"/>
              </a:ext>
            </a:extLst>
          </p:cNvPr>
          <p:cNvSpPr txBox="1"/>
          <p:nvPr/>
        </p:nvSpPr>
        <p:spPr>
          <a:xfrm>
            <a:off x="751995" y="703460"/>
            <a:ext cx="10871514" cy="461665"/>
          </a:xfrm>
          <a:prstGeom prst="rect">
            <a:avLst/>
          </a:prstGeom>
          <a:noFill/>
        </p:spPr>
        <p:txBody>
          <a:bodyPr wrap="square">
            <a:spAutoFit/>
          </a:bodyPr>
          <a:lstStyle/>
          <a:p>
            <a:pPr marL="0" marR="0" lvl="0" indent="0" algn="l" defTabSz="914400" rtl="0" eaLnBrk="1" fontAlgn="base" latinLnBrk="0" hangingPunct="1">
              <a:lnSpc>
                <a:spcPct val="100000"/>
              </a:lnSpc>
              <a:spcBef>
                <a:spcPts val="0"/>
              </a:spcBef>
              <a:spcAft>
                <a:spcPts val="0"/>
              </a:spcAft>
              <a:buClr>
                <a:srgbClr val="E43F1C"/>
              </a:buClr>
              <a:buSzPct val="100000"/>
              <a:buFontTx/>
              <a:buNone/>
              <a:tabLst/>
              <a:defRPr/>
            </a:pPr>
            <a:r>
              <a:rPr lang="zh-CN" altLang="en-US" sz="2400" b="1" dirty="0">
                <a:solidFill>
                  <a:srgbClr val="612166"/>
                </a:solidFill>
                <a:latin typeface="微软雅黑" panose="020B0503020204020204" pitchFamily="34" charset="-122"/>
                <a:ea typeface="微软雅黑" panose="020B0503020204020204" pitchFamily="34" charset="-122"/>
              </a:rPr>
              <a:t>本品在保护感染者自身健康的同时有助于遏制艾滋病的传播</a:t>
            </a:r>
          </a:p>
        </p:txBody>
      </p:sp>
      <p:sp>
        <p:nvSpPr>
          <p:cNvPr id="93" name="矩形: 圆角 150">
            <a:extLst>
              <a:ext uri="{FF2B5EF4-FFF2-40B4-BE49-F238E27FC236}">
                <a16:creationId xmlns:a16="http://schemas.microsoft.com/office/drawing/2014/main" id="{ABA08806-ADA7-4305-86F6-7B7F30270A4A}"/>
              </a:ext>
            </a:extLst>
          </p:cNvPr>
          <p:cNvSpPr/>
          <p:nvPr/>
        </p:nvSpPr>
        <p:spPr>
          <a:xfrm>
            <a:off x="1968618" y="4732283"/>
            <a:ext cx="9752662" cy="1341521"/>
          </a:xfrm>
          <a:prstGeom prst="roundRect">
            <a:avLst>
              <a:gd name="adj" fmla="val 21314"/>
            </a:avLst>
          </a:prstGeom>
          <a:solidFill>
            <a:schemeClr val="bg1"/>
          </a:solidFill>
          <a:ln>
            <a:gradFill flip="none" rotWithShape="1">
              <a:gsLst>
                <a:gs pos="0">
                  <a:srgbClr val="E4401D"/>
                </a:gs>
                <a:gs pos="100000">
                  <a:srgbClr val="F9C235"/>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srgbClr val="FFFFFF"/>
              </a:solidFill>
              <a:effectLst/>
              <a:uLnTx/>
              <a:uFillTx/>
              <a:latin typeface="Calibri" panose="020F0502020204030204"/>
              <a:ea typeface="宋体" panose="02010600030101010101" pitchFamily="2" charset="-122"/>
              <a:cs typeface="+mn-cs"/>
            </a:endParaRPr>
          </a:p>
        </p:txBody>
      </p:sp>
      <p:grpSp>
        <p:nvGrpSpPr>
          <p:cNvPr id="41" name="Group 40">
            <a:extLst>
              <a:ext uri="{FF2B5EF4-FFF2-40B4-BE49-F238E27FC236}">
                <a16:creationId xmlns:a16="http://schemas.microsoft.com/office/drawing/2014/main" id="{AFBC53D2-45F5-4075-B0E8-486907103FCA}"/>
              </a:ext>
            </a:extLst>
          </p:cNvPr>
          <p:cNvGrpSpPr/>
          <p:nvPr/>
        </p:nvGrpSpPr>
        <p:grpSpPr>
          <a:xfrm>
            <a:off x="435885" y="1658095"/>
            <a:ext cx="11383582" cy="4415709"/>
            <a:chOff x="317635" y="1277108"/>
            <a:chExt cx="11383582" cy="4049279"/>
          </a:xfrm>
        </p:grpSpPr>
        <p:sp>
          <p:nvSpPr>
            <p:cNvPr id="42" name="Rectangle: Rounded Corners 41">
              <a:extLst>
                <a:ext uri="{FF2B5EF4-FFF2-40B4-BE49-F238E27FC236}">
                  <a16:creationId xmlns:a16="http://schemas.microsoft.com/office/drawing/2014/main" id="{A7BE6992-5414-4186-BF41-B8086923DA77}"/>
                </a:ext>
              </a:extLst>
            </p:cNvPr>
            <p:cNvSpPr/>
            <p:nvPr/>
          </p:nvSpPr>
          <p:spPr bwMode="auto">
            <a:xfrm>
              <a:off x="2003303" y="1277108"/>
              <a:ext cx="9625622" cy="1266376"/>
            </a:xfrm>
            <a:prstGeom prst="roundRect">
              <a:avLst>
                <a:gd name="adj" fmla="val 23576"/>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noAutofit/>
            </a:bodyPr>
            <a:lstStyle/>
            <a:p>
              <a:pPr marL="0" marR="0" lvl="0" indent="0" defTabSz="914400" eaLnBrk="0" fontAlgn="auto" latinLnBrk="0" hangingPunct="0">
                <a:lnSpc>
                  <a:spcPct val="100000"/>
                </a:lnSpc>
                <a:spcBef>
                  <a:spcPts val="0"/>
                </a:spcBef>
                <a:spcAft>
                  <a:spcPts val="0"/>
                </a:spcAft>
                <a:buClr>
                  <a:srgbClr val="FFFFFF"/>
                </a:buClr>
                <a:buSzTx/>
                <a:buFontTx/>
                <a:buNone/>
                <a:tabLst/>
                <a:defRPr/>
              </a:pPr>
              <a:endParaRPr kumimoji="0" lang="en-US" sz="12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E09BF49A-D227-4CC2-9B2E-B6818335F531}"/>
                </a:ext>
              </a:extLst>
            </p:cNvPr>
            <p:cNvSpPr txBox="1"/>
            <p:nvPr/>
          </p:nvSpPr>
          <p:spPr>
            <a:xfrm>
              <a:off x="2096437" y="4096190"/>
              <a:ext cx="9604780" cy="1230197"/>
            </a:xfrm>
            <a:prstGeom prst="rect">
              <a:avLst/>
            </a:prstGeom>
            <a:noFill/>
          </p:spPr>
          <p:txBody>
            <a:bodyPr wrap="square" rtlCol="0">
              <a:spAutoFit/>
            </a:bodyPr>
            <a:lstStyle/>
            <a:p>
              <a:pPr marR="0" lvl="0" defTabSz="914400" eaLnBrk="1" fontAlgn="auto" latinLnBrk="0" hangingPunct="1">
                <a:lnSpc>
                  <a:spcPct val="130000"/>
                </a:lnSpc>
                <a:spcBef>
                  <a:spcPts val="0"/>
                </a:spcBef>
                <a:spcAft>
                  <a:spcPts val="0"/>
                </a:spcAft>
                <a:buClr>
                  <a:srgbClr val="544F40"/>
                </a:buClr>
                <a:buSzTx/>
                <a:tabLst/>
                <a:defRPr/>
              </a:pPr>
              <a:r>
                <a:rPr lang="zh-CN" altLang="en-US" sz="1600" dirty="0">
                  <a:solidFill>
                    <a:srgbClr val="262626"/>
                  </a:solidFill>
                  <a:latin typeface="微软雅黑" panose="020B0503020204020204" pitchFamily="34" charset="-122"/>
                  <a:ea typeface="微软雅黑" panose="020B0503020204020204" pitchFamily="34" charset="-122"/>
                  <a:cs typeface="Arial" panose="020B0604020202020204" pitchFamily="34" charset="0"/>
                </a:rPr>
                <a:t>本品</a:t>
              </a:r>
              <a:r>
                <a:rPr lang="zh-CN" altLang="en-US" sz="1600" b="1" dirty="0">
                  <a:solidFill>
                    <a:srgbClr val="262626"/>
                  </a:solidFill>
                  <a:latin typeface="微软雅黑" panose="020B0503020204020204" pitchFamily="34" charset="-122"/>
                  <a:ea typeface="微软雅黑" panose="020B0503020204020204" pitchFamily="34" charset="-122"/>
                  <a:cs typeface="Arial" panose="020B0604020202020204" pitchFamily="34" charset="0"/>
                </a:rPr>
                <a:t>每日一次，每次一片， 无需与餐同服</a:t>
              </a:r>
              <a:r>
                <a:rPr lang="en-US" altLang="zh-CN" sz="1600" baseline="30000" dirty="0">
                  <a:solidFill>
                    <a:srgbClr val="262626"/>
                  </a:solidFill>
                  <a:latin typeface="微软雅黑" panose="020B0503020204020204" pitchFamily="34" charset="-122"/>
                  <a:ea typeface="微软雅黑" panose="020B0503020204020204" pitchFamily="34" charset="-122"/>
                  <a:cs typeface="Arial" panose="020B0604020202020204" pitchFamily="34" charset="0"/>
                </a:rPr>
                <a:t>8</a:t>
              </a:r>
              <a:r>
                <a:rPr lang="zh-CN" altLang="en-US" sz="1600" dirty="0">
                  <a:solidFill>
                    <a:srgbClr val="262626"/>
                  </a:solidFill>
                  <a:latin typeface="微软雅黑" panose="020B0503020204020204" pitchFamily="34" charset="-122"/>
                  <a:ea typeface="微软雅黑" panose="020B0503020204020204" pitchFamily="34" charset="-122"/>
                  <a:cs typeface="Arial" panose="020B0604020202020204" pitchFamily="34" charset="0"/>
                </a:rPr>
                <a:t>。 可以减少对于患者日常生活的影响，提高患者的依从性，降低临床管理的难度。</a:t>
              </a:r>
              <a:endParaRPr lang="en-US" altLang="zh-CN" sz="1600" dirty="0">
                <a:solidFill>
                  <a:srgbClr val="262626"/>
                </a:solidFill>
                <a:latin typeface="微软雅黑" panose="020B0503020204020204" pitchFamily="34" charset="-122"/>
                <a:ea typeface="微软雅黑" panose="020B0503020204020204" pitchFamily="34" charset="-122"/>
                <a:cs typeface="Arial" panose="020B0604020202020204" pitchFamily="34" charset="0"/>
              </a:endParaRPr>
            </a:p>
            <a:p>
              <a:pPr marR="0" lvl="0" defTabSz="914400" eaLnBrk="1" fontAlgn="auto" latinLnBrk="0" hangingPunct="1">
                <a:lnSpc>
                  <a:spcPct val="130000"/>
                </a:lnSpc>
                <a:spcBef>
                  <a:spcPts val="0"/>
                </a:spcBef>
                <a:spcAft>
                  <a:spcPts val="0"/>
                </a:spcAft>
                <a:buClr>
                  <a:srgbClr val="544F40"/>
                </a:buClr>
                <a:buSzTx/>
                <a:tabLst/>
                <a:defRPr/>
              </a:pPr>
              <a:r>
                <a:rPr lang="zh-CN" altLang="en-US" sz="1600" dirty="0">
                  <a:solidFill>
                    <a:srgbClr val="262626"/>
                  </a:solidFill>
                  <a:latin typeface="微软雅黑" panose="020B0503020204020204" pitchFamily="34" charset="-122"/>
                  <a:ea typeface="微软雅黑" panose="020B0503020204020204" pitchFamily="34" charset="-122"/>
                  <a:cs typeface="Arial" panose="020B0604020202020204" pitchFamily="34" charset="0"/>
                </a:rPr>
                <a:t>艾滋病诊断主要通过</a:t>
              </a:r>
              <a:r>
                <a:rPr lang="en-US" altLang="zh-CN" sz="1600" dirty="0">
                  <a:solidFill>
                    <a:srgbClr val="262626"/>
                  </a:solidFill>
                  <a:latin typeface="微软雅黑" panose="020B0503020204020204" pitchFamily="34" charset="-122"/>
                  <a:ea typeface="微软雅黑" panose="020B0503020204020204" pitchFamily="34" charset="-122"/>
                  <a:cs typeface="Arial" panose="020B0604020202020204" pitchFamily="34" charset="0"/>
                </a:rPr>
                <a:t>HIV</a:t>
              </a:r>
              <a:r>
                <a:rPr lang="zh-CN" altLang="en-US" sz="1600" dirty="0">
                  <a:solidFill>
                    <a:srgbClr val="262626"/>
                  </a:solidFill>
                  <a:latin typeface="微软雅黑" panose="020B0503020204020204" pitchFamily="34" charset="-122"/>
                  <a:ea typeface="微软雅黑" panose="020B0503020204020204" pitchFamily="34" charset="-122"/>
                  <a:cs typeface="Arial" panose="020B0604020202020204" pitchFamily="34" charset="0"/>
                </a:rPr>
                <a:t>抗体的实验室检查，有明确的指南规范和清晰的临床路径，能够</a:t>
              </a:r>
              <a:r>
                <a:rPr lang="zh-CN" altLang="en-US" sz="1600" b="1" dirty="0">
                  <a:solidFill>
                    <a:srgbClr val="262626"/>
                  </a:solidFill>
                  <a:latin typeface="微软雅黑" panose="020B0503020204020204" pitchFamily="34" charset="-122"/>
                  <a:ea typeface="微软雅黑" panose="020B0503020204020204" pitchFamily="34" charset="-122"/>
                  <a:cs typeface="Arial" panose="020B0604020202020204" pitchFamily="34" charset="0"/>
                </a:rPr>
                <a:t>避免临床滥用风险</a:t>
              </a:r>
              <a:r>
                <a:rPr lang="zh-CN" altLang="en-US" sz="1600" dirty="0">
                  <a:solidFill>
                    <a:srgbClr val="262626"/>
                  </a:solidFill>
                  <a:latin typeface="微软雅黑" panose="020B0503020204020204" pitchFamily="34" charset="-122"/>
                  <a:ea typeface="微软雅黑" panose="020B0503020204020204" pitchFamily="34" charset="-122"/>
                  <a:cs typeface="Arial" panose="020B0604020202020204" pitchFamily="34" charset="0"/>
                </a:rPr>
                <a:t>或超说明书用药的问题。</a:t>
              </a:r>
              <a:endParaRPr lang="en-US" sz="1600" dirty="0">
                <a:solidFill>
                  <a:srgbClr val="262626"/>
                </a:solidFill>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45" name="Group 44">
              <a:extLst>
                <a:ext uri="{FF2B5EF4-FFF2-40B4-BE49-F238E27FC236}">
                  <a16:creationId xmlns:a16="http://schemas.microsoft.com/office/drawing/2014/main" id="{4B0E7C43-D8D7-4BCA-8F50-B18354EFF8DF}"/>
                </a:ext>
              </a:extLst>
            </p:cNvPr>
            <p:cNvGrpSpPr/>
            <p:nvPr/>
          </p:nvGrpSpPr>
          <p:grpSpPr>
            <a:xfrm>
              <a:off x="340174" y="2745697"/>
              <a:ext cx="11297691" cy="1177712"/>
              <a:chOff x="-963076" y="1472967"/>
              <a:chExt cx="8410667" cy="1165700"/>
            </a:xfrm>
          </p:grpSpPr>
          <p:sp>
            <p:nvSpPr>
              <p:cNvPr id="55" name="Rectangle: Rounded Corners 54">
                <a:extLst>
                  <a:ext uri="{FF2B5EF4-FFF2-40B4-BE49-F238E27FC236}">
                    <a16:creationId xmlns:a16="http://schemas.microsoft.com/office/drawing/2014/main" id="{4707B412-C470-403F-96DF-4DB313417D3C}"/>
                  </a:ext>
                </a:extLst>
              </p:cNvPr>
              <p:cNvSpPr/>
              <p:nvPr/>
            </p:nvSpPr>
            <p:spPr bwMode="auto">
              <a:xfrm>
                <a:off x="237310" y="1472967"/>
                <a:ext cx="7210281" cy="1165700"/>
              </a:xfrm>
              <a:prstGeom prst="round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72000" tIns="72000" rIns="72000" bIns="72000" numCol="1" spcCol="0" rtlCol="0" fromWordArt="0" anchor="t" anchorCtr="0" forceAA="0" compatLnSpc="1">
                <a:noAutofit/>
              </a:bodyPr>
              <a:lstStyle/>
              <a:p>
                <a:pPr marL="0" marR="0" lvl="0" indent="0" defTabSz="914400" eaLnBrk="0" fontAlgn="auto" latinLnBrk="0" hangingPunct="0">
                  <a:lnSpc>
                    <a:spcPct val="100000"/>
                  </a:lnSpc>
                  <a:spcBef>
                    <a:spcPts val="0"/>
                  </a:spcBef>
                  <a:spcAft>
                    <a:spcPts val="0"/>
                  </a:spcAft>
                  <a:buClr>
                    <a:srgbClr val="FFFFFF"/>
                  </a:buClr>
                  <a:buSzTx/>
                  <a:buFontTx/>
                  <a:buNone/>
                  <a:tabLst/>
                  <a:defRPr/>
                </a:pPr>
                <a:endParaRPr kumimoji="0" lang="en-US" sz="1200" b="1" i="0" u="none" strike="noStrike" kern="0" cap="none" spc="0" normalizeH="0" baseline="0" noProof="0" dirty="0">
                  <a:ln>
                    <a:noFill/>
                  </a:ln>
                  <a:solidFill>
                    <a:srgbClr val="FFFFFF"/>
                  </a:solidFill>
                  <a:effectLst/>
                  <a:uLnTx/>
                  <a:uFillTx/>
                  <a:latin typeface="Arial" panose="020B0604020202020204"/>
                  <a:ea typeface="+mn-ea"/>
                  <a:cs typeface="+mn-cs"/>
                </a:endParaRPr>
              </a:p>
            </p:txBody>
          </p:sp>
          <p:sp>
            <p:nvSpPr>
              <p:cNvPr id="56" name="TextBox 55">
                <a:extLst>
                  <a:ext uri="{FF2B5EF4-FFF2-40B4-BE49-F238E27FC236}">
                    <a16:creationId xmlns:a16="http://schemas.microsoft.com/office/drawing/2014/main" id="{A94C7822-63A7-4612-973F-8D6D6816BC1F}"/>
                  </a:ext>
                </a:extLst>
              </p:cNvPr>
              <p:cNvSpPr txBox="1"/>
              <p:nvPr/>
            </p:nvSpPr>
            <p:spPr>
              <a:xfrm>
                <a:off x="-963076" y="1863238"/>
                <a:ext cx="1017391" cy="29743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544F40"/>
                  </a:buClr>
                  <a:buSzTx/>
                  <a:buFontTx/>
                  <a:buNone/>
                  <a:tabLst/>
                  <a:defRPr/>
                </a:pPr>
                <a:endParaRPr kumimoji="0" lang="en-US" altLang="zh-CN" sz="2000" b="1" i="0" u="none" strike="noStrike" kern="0" cap="none" spc="0" normalizeH="0" baseline="30000" noProof="0" dirty="0">
                  <a:ln>
                    <a:noFill/>
                  </a:ln>
                  <a:solidFill>
                    <a:srgbClr val="F36633"/>
                  </a:solidFill>
                  <a:effectLst/>
                  <a:uLnTx/>
                  <a:uFillTx/>
                  <a:latin typeface="Arial"/>
                </a:endParaRPr>
              </a:p>
            </p:txBody>
          </p:sp>
        </p:grpSp>
        <p:sp>
          <p:nvSpPr>
            <p:cNvPr id="53" name="文本框 1">
              <a:extLst>
                <a:ext uri="{FF2B5EF4-FFF2-40B4-BE49-F238E27FC236}">
                  <a16:creationId xmlns:a16="http://schemas.microsoft.com/office/drawing/2014/main" id="{D55FACBC-BC2C-49AD-984A-C7B1B39E296B}"/>
                </a:ext>
              </a:extLst>
            </p:cNvPr>
            <p:cNvSpPr txBox="1"/>
            <p:nvPr/>
          </p:nvSpPr>
          <p:spPr>
            <a:xfrm>
              <a:off x="2167605" y="2968668"/>
              <a:ext cx="9337654" cy="643146"/>
            </a:xfrm>
            <a:prstGeom prst="rect">
              <a:avLst/>
            </a:prstGeom>
            <a:noFill/>
          </p:spPr>
          <p:txBody>
            <a:bodyPr wrap="square" rtlCol="0">
              <a:spAutoFit/>
            </a:bodyPr>
            <a:lstStyle/>
            <a:p>
              <a:pPr marL="0" marR="0" lvl="0" indent="0" defTabSz="914400" eaLnBrk="1" fontAlgn="auto" latinLnBrk="0" hangingPunct="1">
                <a:lnSpc>
                  <a:spcPct val="130000"/>
                </a:lnSpc>
                <a:spcBef>
                  <a:spcPts val="0"/>
                </a:spcBef>
                <a:spcAft>
                  <a:spcPts val="0"/>
                </a:spcAft>
                <a:buClr>
                  <a:srgbClr val="544F40"/>
                </a:buClr>
                <a:buSzTx/>
                <a:buFontTx/>
                <a:buNone/>
                <a:tabLst/>
                <a:defRPr/>
              </a:pPr>
              <a:r>
                <a:rPr lang="zh-CN" altLang="en-US" sz="1600" dirty="0">
                  <a:solidFill>
                    <a:srgbClr val="262626"/>
                  </a:solidFill>
                  <a:latin typeface="微软雅黑" panose="020B0503020204020204" pitchFamily="34" charset="-122"/>
                  <a:ea typeface="微软雅黑" panose="020B0503020204020204" pitchFamily="34" charset="-122"/>
                  <a:cs typeface="Arial" panose="020B0604020202020204" pitchFamily="34" charset="0"/>
                </a:rPr>
                <a:t>本品是唯一获得国内外各大权威指南首选推荐的两药治疗方案</a:t>
              </a:r>
              <a:r>
                <a:rPr lang="en-US" altLang="zh-CN" sz="1600" baseline="30000" dirty="0">
                  <a:solidFill>
                    <a:srgbClr val="262626"/>
                  </a:solidFill>
                  <a:latin typeface="微软雅黑" panose="020B0503020204020204" pitchFamily="34" charset="-122"/>
                  <a:ea typeface="微软雅黑" panose="020B0503020204020204" pitchFamily="34" charset="-122"/>
                  <a:cs typeface="Arial" panose="020B0604020202020204" pitchFamily="34" charset="0"/>
                </a:rPr>
                <a:t>2-5</a:t>
              </a:r>
              <a:r>
                <a:rPr lang="zh-CN" altLang="en-US" sz="1600" dirty="0">
                  <a:solidFill>
                    <a:srgbClr val="262626"/>
                  </a:solidFill>
                  <a:latin typeface="微软雅黑" panose="020B0503020204020204" pitchFamily="34" charset="-122"/>
                  <a:ea typeface="微软雅黑" panose="020B0503020204020204" pitchFamily="34" charset="-122"/>
                  <a:cs typeface="Arial" panose="020B0604020202020204" pitchFamily="34" charset="0"/>
                </a:rPr>
                <a:t>，</a:t>
              </a:r>
              <a:r>
                <a:rPr lang="zh-CN" altLang="en-US" sz="1600" b="1" dirty="0">
                  <a:latin typeface="微软雅黑" panose="020B0503020204020204" pitchFamily="34" charset="-122"/>
                  <a:ea typeface="微软雅黑" panose="020B0503020204020204" pitchFamily="34" charset="-122"/>
                  <a:cs typeface="Arial" panose="020B0604020202020204" pitchFamily="34" charset="0"/>
                </a:rPr>
                <a:t>相比目录内其他药物有更少的药物暴露、更小的药物相互作用风险</a:t>
              </a:r>
              <a:r>
                <a:rPr lang="en-US" altLang="zh-CN" sz="1600" baseline="30000" dirty="0">
                  <a:latin typeface="微软雅黑" panose="020B0503020204020204" pitchFamily="34" charset="-122"/>
                  <a:ea typeface="微软雅黑" panose="020B0503020204020204" pitchFamily="34" charset="-122"/>
                  <a:cs typeface="Arial" panose="020B0604020202020204" pitchFamily="34" charset="0"/>
                </a:rPr>
                <a:t>6</a:t>
              </a:r>
              <a:r>
                <a:rPr lang="zh-CN" altLang="en-US" sz="1600" b="1" dirty="0">
                  <a:latin typeface="微软雅黑" panose="020B0503020204020204" pitchFamily="34" charset="-122"/>
                  <a:ea typeface="微软雅黑" panose="020B0503020204020204" pitchFamily="34" charset="-122"/>
                  <a:cs typeface="Arial" panose="020B0604020202020204" pitchFamily="34" charset="0"/>
                </a:rPr>
                <a:t>、更有利于血脂代谢</a:t>
              </a:r>
              <a:r>
                <a:rPr lang="en-US" altLang="zh-CN" sz="1600" baseline="30000" dirty="0">
                  <a:latin typeface="微软雅黑" panose="020B0503020204020204" pitchFamily="34" charset="-122"/>
                  <a:ea typeface="微软雅黑" panose="020B0503020204020204" pitchFamily="34" charset="-122"/>
                  <a:cs typeface="Arial" panose="020B0604020202020204" pitchFamily="34" charset="0"/>
                </a:rPr>
                <a:t>7</a:t>
              </a:r>
              <a:r>
                <a:rPr lang="zh-CN" altLang="en-US" sz="1600" dirty="0">
                  <a:solidFill>
                    <a:srgbClr val="262626"/>
                  </a:solidFill>
                  <a:latin typeface="微软雅黑" panose="020B0503020204020204" pitchFamily="34" charset="-122"/>
                  <a:ea typeface="微软雅黑" panose="020B0503020204020204" pitchFamily="34" charset="-122"/>
                  <a:cs typeface="Arial" panose="020B0604020202020204" pitchFamily="34" charset="0"/>
                </a:rPr>
                <a:t>，能够为平稳转换感染者提供更合适的治疗选择。</a:t>
              </a:r>
              <a:endParaRPr lang="en-US" altLang="zh-CN" sz="2000" b="1" dirty="0">
                <a:gradFill>
                  <a:gsLst>
                    <a:gs pos="23000">
                      <a:srgbClr val="E43F1C"/>
                    </a:gs>
                    <a:gs pos="88000">
                      <a:srgbClr val="F9C235"/>
                    </a:gs>
                  </a:gsLst>
                  <a:lin ang="4800000" scaled="0"/>
                </a:gradFill>
                <a:latin typeface="微软雅黑" panose="020B0503020204020204" pitchFamily="34" charset="-122"/>
                <a:ea typeface="微软雅黑" panose="020B0503020204020204" pitchFamily="34" charset="-122"/>
                <a:cs typeface="+mn-ea"/>
              </a:endParaRPr>
            </a:p>
          </p:txBody>
        </p:sp>
        <p:sp>
          <p:nvSpPr>
            <p:cNvPr id="48" name="TextBox 47">
              <a:extLst>
                <a:ext uri="{FF2B5EF4-FFF2-40B4-BE49-F238E27FC236}">
                  <a16:creationId xmlns:a16="http://schemas.microsoft.com/office/drawing/2014/main" id="{E3C893BB-BAF9-4DF3-BD25-6FCFD4A22F49}"/>
                </a:ext>
              </a:extLst>
            </p:cNvPr>
            <p:cNvSpPr txBox="1"/>
            <p:nvPr/>
          </p:nvSpPr>
          <p:spPr>
            <a:xfrm>
              <a:off x="2222277" y="1441848"/>
              <a:ext cx="9347311" cy="936671"/>
            </a:xfrm>
            <a:prstGeom prst="rect">
              <a:avLst/>
            </a:prstGeom>
            <a:noFill/>
          </p:spPr>
          <p:txBody>
            <a:bodyPr wrap="square">
              <a:spAutoFit/>
            </a:bodyPr>
            <a:lstStyle/>
            <a:p>
              <a:pPr marL="0" marR="0" lvl="0" indent="0" defTabSz="914400" eaLnBrk="1" fontAlgn="auto" latinLnBrk="0" hangingPunct="1">
                <a:lnSpc>
                  <a:spcPct val="130000"/>
                </a:lnSpc>
                <a:spcBef>
                  <a:spcPts val="0"/>
                </a:spcBef>
                <a:spcAft>
                  <a:spcPts val="0"/>
                </a:spcAft>
                <a:buClrTx/>
                <a:buSzTx/>
                <a:buFontTx/>
                <a:buNone/>
                <a:tabLst/>
                <a:defRPr/>
              </a:pPr>
              <a:r>
                <a:rPr lang="zh-CN" altLang="en-US" sz="1600" dirty="0">
                  <a:solidFill>
                    <a:srgbClr val="262626"/>
                  </a:solidFill>
                  <a:latin typeface="微软雅黑" panose="020B0503020204020204" pitchFamily="34" charset="-122"/>
                  <a:ea typeface="微软雅黑" panose="020B0503020204020204" pitchFamily="34" charset="-122"/>
                  <a:cs typeface="Arial" panose="020B0604020202020204" pitchFamily="34" charset="0"/>
                </a:rPr>
                <a:t>部分患者由于药物相互作用和血脂异常等问题已经无法继续使用原有药物，</a:t>
              </a:r>
              <a:r>
                <a:rPr lang="zh-CN" altLang="en-US" sz="1600" b="1" dirty="0">
                  <a:solidFill>
                    <a:srgbClr val="262626"/>
                  </a:solidFill>
                  <a:latin typeface="微软雅黑" panose="020B0503020204020204" pitchFamily="34" charset="-122"/>
                  <a:ea typeface="微软雅黑" panose="020B0503020204020204" pitchFamily="34" charset="-122"/>
                  <a:cs typeface="Arial" panose="020B0604020202020204" pitchFamily="34" charset="0"/>
                </a:rPr>
                <a:t>如果没有合适的替代治疗不仅会危害患者自身健康，还有可能造成艾滋病的传播</a:t>
              </a:r>
              <a:r>
                <a:rPr lang="zh-CN" altLang="en-US" sz="1600" dirty="0">
                  <a:solidFill>
                    <a:srgbClr val="262626"/>
                  </a:solidFill>
                  <a:latin typeface="微软雅黑" panose="020B0503020204020204" pitchFamily="34" charset="-122"/>
                  <a:ea typeface="微软雅黑" panose="020B0503020204020204" pitchFamily="34" charset="-122"/>
                  <a:cs typeface="Arial" panose="020B0604020202020204" pitchFamily="34" charset="0"/>
                </a:rPr>
                <a:t>。拉米夫定多替拉韦片能够为这部分平稳转换感染者提供更合适的治疗选择，促进艾滋病的防治。</a:t>
              </a:r>
              <a:endParaRPr lang="en-US" altLang="zh-CN" sz="1600" dirty="0">
                <a:solidFill>
                  <a:srgbClr val="262626"/>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49" name="TextBox 48">
              <a:extLst>
                <a:ext uri="{FF2B5EF4-FFF2-40B4-BE49-F238E27FC236}">
                  <a16:creationId xmlns:a16="http://schemas.microsoft.com/office/drawing/2014/main" id="{1B6F067B-D5BC-4A25-AAA2-D8FC2014EEC2}"/>
                </a:ext>
              </a:extLst>
            </p:cNvPr>
            <p:cNvSpPr txBox="1"/>
            <p:nvPr/>
          </p:nvSpPr>
          <p:spPr>
            <a:xfrm>
              <a:off x="317635" y="4858524"/>
              <a:ext cx="1366618" cy="30050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
                  <a:srgbClr val="544F40"/>
                </a:buClr>
                <a:buSzTx/>
                <a:buFontTx/>
                <a:buNone/>
                <a:tabLst/>
                <a:defRPr/>
              </a:pPr>
              <a:endParaRPr kumimoji="0" lang="en-US" altLang="zh-CN" sz="2000" b="1" i="0" u="none" strike="noStrike" kern="0" cap="none" spc="0" normalizeH="0" baseline="30000" noProof="0" dirty="0">
                <a:ln>
                  <a:noFill/>
                </a:ln>
                <a:solidFill>
                  <a:srgbClr val="544F40"/>
                </a:solidFill>
                <a:effectLst/>
                <a:uLnTx/>
                <a:uFillTx/>
                <a:latin typeface="Arial"/>
              </a:endParaRPr>
            </a:p>
          </p:txBody>
        </p:sp>
      </p:grpSp>
      <p:grpSp>
        <p:nvGrpSpPr>
          <p:cNvPr id="99" name="Group 98">
            <a:extLst>
              <a:ext uri="{FF2B5EF4-FFF2-40B4-BE49-F238E27FC236}">
                <a16:creationId xmlns:a16="http://schemas.microsoft.com/office/drawing/2014/main" id="{7066E736-5C36-4688-BC2F-E1B96BCBC196}"/>
              </a:ext>
            </a:extLst>
          </p:cNvPr>
          <p:cNvGrpSpPr/>
          <p:nvPr/>
        </p:nvGrpSpPr>
        <p:grpSpPr>
          <a:xfrm>
            <a:off x="440369" y="1797886"/>
            <a:ext cx="1687267" cy="1243927"/>
            <a:chOff x="542031" y="1921492"/>
            <a:chExt cx="2749981" cy="1270694"/>
          </a:xfrm>
          <a:solidFill>
            <a:schemeClr val="accent1">
              <a:lumMod val="60000"/>
              <a:lumOff val="40000"/>
            </a:schemeClr>
          </a:solidFill>
        </p:grpSpPr>
        <p:sp>
          <p:nvSpPr>
            <p:cNvPr id="94" name="矩形: 圆角 151">
              <a:extLst>
                <a:ext uri="{FF2B5EF4-FFF2-40B4-BE49-F238E27FC236}">
                  <a16:creationId xmlns:a16="http://schemas.microsoft.com/office/drawing/2014/main" id="{80FF2513-5D66-4876-8C13-CC972F80FE26}"/>
                </a:ext>
              </a:extLst>
            </p:cNvPr>
            <p:cNvSpPr/>
            <p:nvPr/>
          </p:nvSpPr>
          <p:spPr>
            <a:xfrm>
              <a:off x="542031" y="1921492"/>
              <a:ext cx="2749981" cy="1270694"/>
            </a:xfrm>
            <a:prstGeom prst="roundRect">
              <a:avLst>
                <a:gd name="adj" fmla="val 1726"/>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mn-cs"/>
              </a:endParaRPr>
            </a:p>
          </p:txBody>
        </p:sp>
        <p:sp>
          <p:nvSpPr>
            <p:cNvPr id="97" name="梯形 154">
              <a:extLst>
                <a:ext uri="{FF2B5EF4-FFF2-40B4-BE49-F238E27FC236}">
                  <a16:creationId xmlns:a16="http://schemas.microsoft.com/office/drawing/2014/main" id="{D81583E7-D900-43CF-B2BD-6C274EC69566}"/>
                </a:ext>
              </a:extLst>
            </p:cNvPr>
            <p:cNvSpPr/>
            <p:nvPr/>
          </p:nvSpPr>
          <p:spPr>
            <a:xfrm>
              <a:off x="617465" y="2853456"/>
              <a:ext cx="2556892" cy="303373"/>
            </a:xfrm>
            <a:prstGeom prst="trapezoid">
              <a:avLst>
                <a:gd name="adj" fmla="val 93771"/>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dirty="0">
                <a:ln>
                  <a:noFill/>
                </a:ln>
                <a:solidFill>
                  <a:srgbClr val="424242"/>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pic>
          <p:nvPicPr>
            <p:cNvPr id="98" name="图形 155">
              <a:extLst>
                <a:ext uri="{FF2B5EF4-FFF2-40B4-BE49-F238E27FC236}">
                  <a16:creationId xmlns:a16="http://schemas.microsoft.com/office/drawing/2014/main" id="{9472678B-2146-4217-81CD-D33B8E17335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789864" y="1924106"/>
              <a:ext cx="511893" cy="327108"/>
            </a:xfrm>
            <a:prstGeom prst="rect">
              <a:avLst/>
            </a:prstGeom>
          </p:spPr>
        </p:pic>
        <p:sp>
          <p:nvSpPr>
            <p:cNvPr id="96" name="文本框 153">
              <a:extLst>
                <a:ext uri="{FF2B5EF4-FFF2-40B4-BE49-F238E27FC236}">
                  <a16:creationId xmlns:a16="http://schemas.microsoft.com/office/drawing/2014/main" id="{855B75CA-3D8D-4852-89F4-F3B34A957378}"/>
                </a:ext>
              </a:extLst>
            </p:cNvPr>
            <p:cNvSpPr txBox="1"/>
            <p:nvPr/>
          </p:nvSpPr>
          <p:spPr>
            <a:xfrm>
              <a:off x="847742" y="2298251"/>
              <a:ext cx="2128952" cy="660239"/>
            </a:xfrm>
            <a:prstGeom prst="rect">
              <a:avLst/>
            </a:prstGeom>
            <a:grpFill/>
            <a:ln>
              <a:solidFill>
                <a:schemeClr val="bg1"/>
              </a:solidFill>
            </a:ln>
          </p:spPr>
          <p:txBody>
            <a:bodyPr wrap="square" lIns="0" tIns="0" rIns="0" bIns="0" anchor="ctr" anchorCtr="0">
              <a:spAutoFit/>
            </a:bodyPr>
            <a:lstStyle/>
            <a:p>
              <a:pPr marL="0" marR="0" lvl="0" indent="0" algn="ctr" defTabSz="914400" rtl="0" eaLnBrk="1" fontAlgn="auto" latinLnBrk="0" hangingPunct="1">
                <a:lnSpc>
                  <a:spcPct val="100000"/>
                </a:lnSpc>
                <a:spcBef>
                  <a:spcPts val="600"/>
                </a:spcBef>
                <a:spcAft>
                  <a:spcPts val="600"/>
                </a:spcAft>
                <a:buClrTx/>
                <a:buSzTx/>
                <a:buFontTx/>
                <a:buNone/>
                <a:defRPr/>
              </a:pPr>
              <a:r>
                <a:rPr kumimoji="0" lang="zh-CN" altLang="en-US" sz="16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促进艾滋病</a:t>
              </a:r>
              <a:endParaRPr kumimoji="0" lang="en-US" altLang="zh-CN" sz="16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a:p>
              <a:pPr marL="0" marR="0" lvl="0" indent="0" algn="ctr" defTabSz="914400" rtl="0" eaLnBrk="1" fontAlgn="auto" latinLnBrk="0" hangingPunct="1">
                <a:lnSpc>
                  <a:spcPct val="100000"/>
                </a:lnSpc>
                <a:spcBef>
                  <a:spcPts val="600"/>
                </a:spcBef>
                <a:spcAft>
                  <a:spcPts val="600"/>
                </a:spcAft>
                <a:buClrTx/>
                <a:buSzTx/>
                <a:buFontTx/>
                <a:buNone/>
                <a:defRPr/>
              </a:pPr>
              <a:r>
                <a:rPr kumimoji="0" lang="zh-CN" altLang="en-US" sz="16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防治</a:t>
              </a:r>
            </a:p>
          </p:txBody>
        </p:sp>
      </p:grpSp>
      <p:grpSp>
        <p:nvGrpSpPr>
          <p:cNvPr id="100" name="Group 99">
            <a:extLst>
              <a:ext uri="{FF2B5EF4-FFF2-40B4-BE49-F238E27FC236}">
                <a16:creationId xmlns:a16="http://schemas.microsoft.com/office/drawing/2014/main" id="{F70F384C-FC7B-4403-B0F6-1081D5FDF2EE}"/>
              </a:ext>
            </a:extLst>
          </p:cNvPr>
          <p:cNvGrpSpPr/>
          <p:nvPr/>
        </p:nvGrpSpPr>
        <p:grpSpPr>
          <a:xfrm>
            <a:off x="412014" y="3258705"/>
            <a:ext cx="1687267" cy="1150389"/>
            <a:chOff x="537073" y="2232326"/>
            <a:chExt cx="2749981" cy="934772"/>
          </a:xfrm>
          <a:solidFill>
            <a:srgbClr val="EF8C77"/>
          </a:solidFill>
        </p:grpSpPr>
        <p:sp>
          <p:nvSpPr>
            <p:cNvPr id="101" name="矩形: 圆角 151">
              <a:extLst>
                <a:ext uri="{FF2B5EF4-FFF2-40B4-BE49-F238E27FC236}">
                  <a16:creationId xmlns:a16="http://schemas.microsoft.com/office/drawing/2014/main" id="{2E978023-716C-4C97-A0B8-400FAA0BEDF6}"/>
                </a:ext>
              </a:extLst>
            </p:cNvPr>
            <p:cNvSpPr/>
            <p:nvPr/>
          </p:nvSpPr>
          <p:spPr>
            <a:xfrm>
              <a:off x="537073" y="2232326"/>
              <a:ext cx="2749981" cy="934772"/>
            </a:xfrm>
            <a:prstGeom prst="roundRect">
              <a:avLst>
                <a:gd name="adj" fmla="val 1726"/>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mn-cs"/>
              </a:endParaRPr>
            </a:p>
          </p:txBody>
        </p:sp>
        <p:sp>
          <p:nvSpPr>
            <p:cNvPr id="103" name="梯形 154">
              <a:extLst>
                <a:ext uri="{FF2B5EF4-FFF2-40B4-BE49-F238E27FC236}">
                  <a16:creationId xmlns:a16="http://schemas.microsoft.com/office/drawing/2014/main" id="{4CD2A530-F6D9-41A1-9799-D193E356B32B}"/>
                </a:ext>
              </a:extLst>
            </p:cNvPr>
            <p:cNvSpPr/>
            <p:nvPr/>
          </p:nvSpPr>
          <p:spPr>
            <a:xfrm>
              <a:off x="633618" y="2860024"/>
              <a:ext cx="2556892" cy="303373"/>
            </a:xfrm>
            <a:prstGeom prst="trapezoid">
              <a:avLst>
                <a:gd name="adj" fmla="val 93771"/>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dirty="0">
                <a:ln>
                  <a:noFill/>
                </a:ln>
                <a:solidFill>
                  <a:srgbClr val="424242"/>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02" name="文本框 153">
              <a:extLst>
                <a:ext uri="{FF2B5EF4-FFF2-40B4-BE49-F238E27FC236}">
                  <a16:creationId xmlns:a16="http://schemas.microsoft.com/office/drawing/2014/main" id="{DAFA6D57-7C3E-4113-B249-8E980808EA0F}"/>
                </a:ext>
              </a:extLst>
            </p:cNvPr>
            <p:cNvSpPr txBox="1"/>
            <p:nvPr/>
          </p:nvSpPr>
          <p:spPr>
            <a:xfrm>
              <a:off x="872692" y="2631545"/>
              <a:ext cx="2128952" cy="400145"/>
            </a:xfrm>
            <a:prstGeom prst="rect">
              <a:avLst/>
            </a:prstGeom>
            <a:grpFill/>
            <a:ln>
              <a:solidFill>
                <a:schemeClr val="bg1"/>
              </a:solidFill>
            </a:ln>
          </p:spPr>
          <p:txBody>
            <a:bodyPr wrap="square" lIns="0" tIns="0" rIns="0" bIns="0" anchor="ctr" anchorCtr="0">
              <a:spAutoFit/>
            </a:bodyPr>
            <a:lstStyle/>
            <a:p>
              <a:pPr marL="0" marR="0" lvl="0" indent="0" algn="ctr" defTabSz="914400" rtl="0" eaLnBrk="1" fontAlgn="auto" latinLnBrk="0" hangingPunct="1">
                <a:lnSpc>
                  <a:spcPct val="100000"/>
                </a:lnSpc>
                <a:spcBef>
                  <a:spcPts val="600"/>
                </a:spcBef>
                <a:spcAft>
                  <a:spcPts val="600"/>
                </a:spcAft>
                <a:buClrTx/>
                <a:buSzTx/>
                <a:buFontTx/>
                <a:buNone/>
                <a:defRPr/>
              </a:pPr>
              <a:r>
                <a:rPr kumimoji="0" lang="zh-CN" altLang="en-US" sz="16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弥补医保目录短板</a:t>
              </a:r>
            </a:p>
          </p:txBody>
        </p:sp>
      </p:grpSp>
      <p:grpSp>
        <p:nvGrpSpPr>
          <p:cNvPr id="105" name="Group 104">
            <a:extLst>
              <a:ext uri="{FF2B5EF4-FFF2-40B4-BE49-F238E27FC236}">
                <a16:creationId xmlns:a16="http://schemas.microsoft.com/office/drawing/2014/main" id="{A02C7892-6575-4C8D-B717-3F55C87E9F3A}"/>
              </a:ext>
            </a:extLst>
          </p:cNvPr>
          <p:cNvGrpSpPr/>
          <p:nvPr/>
        </p:nvGrpSpPr>
        <p:grpSpPr>
          <a:xfrm>
            <a:off x="435885" y="4785426"/>
            <a:ext cx="1687267" cy="1243927"/>
            <a:chOff x="542031" y="1921492"/>
            <a:chExt cx="2749981" cy="1270694"/>
          </a:xfrm>
          <a:solidFill>
            <a:srgbClr val="EF8C77"/>
          </a:solidFill>
        </p:grpSpPr>
        <p:sp>
          <p:nvSpPr>
            <p:cNvPr id="106" name="矩形: 圆角 151">
              <a:extLst>
                <a:ext uri="{FF2B5EF4-FFF2-40B4-BE49-F238E27FC236}">
                  <a16:creationId xmlns:a16="http://schemas.microsoft.com/office/drawing/2014/main" id="{BC164DC6-6A31-4313-8360-104465D2EDF1}"/>
                </a:ext>
              </a:extLst>
            </p:cNvPr>
            <p:cNvSpPr/>
            <p:nvPr/>
          </p:nvSpPr>
          <p:spPr>
            <a:xfrm>
              <a:off x="542031" y="1921492"/>
              <a:ext cx="2749981" cy="1270694"/>
            </a:xfrm>
            <a:prstGeom prst="roundRect">
              <a:avLst>
                <a:gd name="adj" fmla="val 1726"/>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Calibri" panose="020F0502020204030204"/>
                <a:ea typeface="宋体" panose="02010600030101010101" pitchFamily="2" charset="-122"/>
                <a:cs typeface="+mn-cs"/>
              </a:endParaRPr>
            </a:p>
          </p:txBody>
        </p:sp>
        <p:sp>
          <p:nvSpPr>
            <p:cNvPr id="108" name="梯形 154">
              <a:extLst>
                <a:ext uri="{FF2B5EF4-FFF2-40B4-BE49-F238E27FC236}">
                  <a16:creationId xmlns:a16="http://schemas.microsoft.com/office/drawing/2014/main" id="{EAC76E51-8AB5-4006-9F2A-B176D6417FD1}"/>
                </a:ext>
              </a:extLst>
            </p:cNvPr>
            <p:cNvSpPr/>
            <p:nvPr/>
          </p:nvSpPr>
          <p:spPr>
            <a:xfrm>
              <a:off x="638575" y="2747788"/>
              <a:ext cx="2556892" cy="303373"/>
            </a:xfrm>
            <a:prstGeom prst="trapezoid">
              <a:avLst>
                <a:gd name="adj" fmla="val 93771"/>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dirty="0">
                <a:ln>
                  <a:noFill/>
                </a:ln>
                <a:solidFill>
                  <a:srgbClr val="424242"/>
                </a:solidFill>
                <a:effectLst/>
                <a:uLnTx/>
                <a:uFillTx/>
                <a:latin typeface="微软雅黑" panose="020B0503020204020204" pitchFamily="34" charset="-122"/>
                <a:ea typeface="微软雅黑" panose="020B0503020204020204" pitchFamily="34" charset="-122"/>
                <a:cs typeface="+mn-cs"/>
                <a:sym typeface="微软雅黑" panose="020B0503020204020204" pitchFamily="34" charset="-122"/>
              </a:endParaRPr>
            </a:p>
          </p:txBody>
        </p:sp>
        <p:sp>
          <p:nvSpPr>
            <p:cNvPr id="107" name="文本框 153">
              <a:extLst>
                <a:ext uri="{FF2B5EF4-FFF2-40B4-BE49-F238E27FC236}">
                  <a16:creationId xmlns:a16="http://schemas.microsoft.com/office/drawing/2014/main" id="{D346AB74-0116-4B1C-9AAB-F927027C7194}"/>
                </a:ext>
              </a:extLst>
            </p:cNvPr>
            <p:cNvSpPr txBox="1"/>
            <p:nvPr/>
          </p:nvSpPr>
          <p:spPr>
            <a:xfrm>
              <a:off x="872692" y="2332428"/>
              <a:ext cx="2128952" cy="503039"/>
            </a:xfrm>
            <a:prstGeom prst="rect">
              <a:avLst/>
            </a:prstGeom>
            <a:grpFill/>
            <a:ln>
              <a:solidFill>
                <a:schemeClr val="bg1"/>
              </a:solidFill>
            </a:ln>
          </p:spPr>
          <p:txBody>
            <a:bodyPr wrap="square" lIns="0" tIns="0" rIns="0" bIns="0" anchor="ctr" anchorCtr="0">
              <a:spAutoFit/>
            </a:bodyPr>
            <a:lstStyle/>
            <a:p>
              <a:pPr marL="0" marR="0" lvl="0" indent="0" algn="ctr" defTabSz="914400" rtl="0" eaLnBrk="1" fontAlgn="auto" latinLnBrk="0" hangingPunct="1">
                <a:lnSpc>
                  <a:spcPct val="100000"/>
                </a:lnSpc>
                <a:spcBef>
                  <a:spcPts val="600"/>
                </a:spcBef>
                <a:spcAft>
                  <a:spcPts val="600"/>
                </a:spcAft>
                <a:buClrTx/>
                <a:buSzTx/>
                <a:buFontTx/>
                <a:buNone/>
                <a:defRPr/>
              </a:pPr>
              <a:r>
                <a:rPr kumimoji="0" lang="zh-CN" altLang="en-US" sz="1600" b="1" i="0" u="none" strike="noStrike" kern="1200" cap="none" spc="0" normalizeH="0" baseline="0" noProof="0" dirty="0">
                  <a:ln>
                    <a:noFill/>
                  </a:ln>
                  <a:solidFill>
                    <a:srgbClr val="FFFFFF"/>
                  </a:solidFill>
                  <a:effectLst>
                    <a:outerShdw blurRad="38100" dist="38100" dir="2700000" algn="tl">
                      <a:srgbClr val="000000">
                        <a:alpha val="43137"/>
                      </a:srgbClr>
                    </a:outerShdw>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降低临床管理难度</a:t>
              </a:r>
            </a:p>
          </p:txBody>
        </p:sp>
      </p:grpSp>
      <p:pic>
        <p:nvPicPr>
          <p:cNvPr id="114" name="Graphic 113" descr="Artificial Intelligence with solid fill">
            <a:extLst>
              <a:ext uri="{FF2B5EF4-FFF2-40B4-BE49-F238E27FC236}">
                <a16:creationId xmlns:a16="http://schemas.microsoft.com/office/drawing/2014/main" id="{2687E106-3E52-46A3-8232-711EDC77D26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47930" y="4738089"/>
            <a:ext cx="472129" cy="501342"/>
          </a:xfrm>
          <a:prstGeom prst="rect">
            <a:avLst/>
          </a:prstGeom>
        </p:spPr>
      </p:pic>
      <p:pic>
        <p:nvPicPr>
          <p:cNvPr id="117" name="Graphic 116" descr="Scales of justice with solid fill">
            <a:extLst>
              <a:ext uri="{FF2B5EF4-FFF2-40B4-BE49-F238E27FC236}">
                <a16:creationId xmlns:a16="http://schemas.microsoft.com/office/drawing/2014/main" id="{A9AA8A02-7A8D-4A3C-9FD3-75F41DF20F2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7930" y="3249631"/>
            <a:ext cx="392545" cy="392545"/>
          </a:xfrm>
          <a:prstGeom prst="rect">
            <a:avLst/>
          </a:prstGeom>
        </p:spPr>
      </p:pic>
      <p:pic>
        <p:nvPicPr>
          <p:cNvPr id="47" name="图片 46">
            <a:extLst>
              <a:ext uri="{FF2B5EF4-FFF2-40B4-BE49-F238E27FC236}">
                <a16:creationId xmlns:a16="http://schemas.microsoft.com/office/drawing/2014/main" id="{BB927728-95B7-4DD5-AEE2-B0CE6A0F417B}"/>
              </a:ext>
            </a:extLst>
          </p:cNvPr>
          <p:cNvPicPr>
            <a:picLocks noChangeAspect="1"/>
          </p:cNvPicPr>
          <p:nvPr/>
        </p:nvPicPr>
        <p:blipFill>
          <a:blip r:embed="rId8"/>
          <a:stretch>
            <a:fillRect/>
          </a:stretch>
        </p:blipFill>
        <p:spPr>
          <a:xfrm>
            <a:off x="123725" y="531166"/>
            <a:ext cx="657784" cy="671488"/>
          </a:xfrm>
          <a:prstGeom prst="rect">
            <a:avLst/>
          </a:prstGeom>
        </p:spPr>
      </p:pic>
      <p:sp>
        <p:nvSpPr>
          <p:cNvPr id="50" name="文本框 49">
            <a:extLst>
              <a:ext uri="{FF2B5EF4-FFF2-40B4-BE49-F238E27FC236}">
                <a16:creationId xmlns:a16="http://schemas.microsoft.com/office/drawing/2014/main" id="{EEB13151-F81F-47ED-8967-6699C0C4C692}"/>
              </a:ext>
            </a:extLst>
          </p:cNvPr>
          <p:cNvSpPr txBox="1"/>
          <p:nvPr/>
        </p:nvSpPr>
        <p:spPr>
          <a:xfrm>
            <a:off x="751995" y="1132300"/>
            <a:ext cx="9982515" cy="40011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rPr>
              <a:t>2021</a:t>
            </a: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rPr>
              <a:t>年</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rPr>
              <a:t>1-10</a:t>
            </a: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rPr>
              <a:t>月，全国新发</a:t>
            </a:r>
            <a:r>
              <a:rPr lang="en-US" altLang="zh-CN" sz="1600" dirty="0">
                <a:latin typeface="Times New Roman" panose="02020603050405020304" pitchFamily="18" charset="0"/>
                <a:ea typeface="微软雅黑" panose="020B0503020204020204" pitchFamily="34" charset="-122"/>
                <a:cs typeface="Times New Roman" panose="02020603050405020304" pitchFamily="18" charset="0"/>
              </a:rPr>
              <a:t>HIV</a:t>
            </a:r>
            <a:r>
              <a:rPr lang="zh-CN" altLang="en-US" sz="1600" dirty="0">
                <a:latin typeface="Times New Roman" panose="02020603050405020304" pitchFamily="18" charset="0"/>
                <a:ea typeface="微软雅黑" panose="020B0503020204020204" pitchFamily="34" charset="-122"/>
                <a:cs typeface="Times New Roman" panose="02020603050405020304" pitchFamily="18" charset="0"/>
              </a:rPr>
              <a:t>感染者</a:t>
            </a:r>
            <a:r>
              <a:rPr lang="en-US" altLang="zh-CN" sz="2000" b="1" dirty="0">
                <a:solidFill>
                  <a:srgbClr val="D25E97"/>
                </a:solidFill>
                <a:latin typeface="Times New Roman" panose="02020603050405020304" pitchFamily="18" charset="0"/>
                <a:ea typeface="微软雅黑" panose="020B0503020204020204" pitchFamily="34" charset="-122"/>
                <a:cs typeface="Times New Roman" panose="02020603050405020304" pitchFamily="18" charset="0"/>
              </a:rPr>
              <a:t>11.1</a:t>
            </a:r>
            <a:r>
              <a:rPr lang="zh-CN" altLang="en-US" sz="2000" b="1" dirty="0">
                <a:solidFill>
                  <a:srgbClr val="D25E97"/>
                </a:solidFill>
                <a:latin typeface="Times New Roman" panose="02020603050405020304" pitchFamily="18" charset="0"/>
                <a:ea typeface="微软雅黑" panose="020B0503020204020204" pitchFamily="34" charset="-122"/>
                <a:cs typeface="Times New Roman" panose="02020603050405020304" pitchFamily="18" charset="0"/>
              </a:rPr>
              <a:t>万</a:t>
            </a:r>
            <a:r>
              <a:rPr lang="zh-CN" altLang="en-US" sz="1600" b="1" dirty="0">
                <a:latin typeface="Times New Roman" panose="02020603050405020304" pitchFamily="18" charset="0"/>
                <a:ea typeface="微软雅黑" panose="020B0503020204020204" pitchFamily="34" charset="-122"/>
                <a:cs typeface="Times New Roman" panose="02020603050405020304" pitchFamily="18" charset="0"/>
              </a:rPr>
              <a:t>例</a:t>
            </a:r>
            <a:r>
              <a:rPr lang="en-US" altLang="zh-CN" sz="1600" b="1" baseline="30000" dirty="0">
                <a:latin typeface="Times New Roman" panose="02020603050405020304" pitchFamily="18" charset="0"/>
                <a:ea typeface="微软雅黑" panose="020B0503020204020204" pitchFamily="34" charset="-122"/>
                <a:cs typeface="Times New Roman" panose="02020603050405020304" pitchFamily="18" charset="0"/>
              </a:rPr>
              <a:t>1</a:t>
            </a:r>
            <a:endParaRPr lang="en-US" altLang="zh-CN" sz="1600" b="1" baseline="30000" dirty="0">
              <a:solidFill>
                <a:srgbClr val="262626"/>
              </a:solidFill>
              <a:highlight>
                <a:srgbClr val="FFFF00"/>
              </a:highlight>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38" name="Group 2">
            <a:extLst>
              <a:ext uri="{FF2B5EF4-FFF2-40B4-BE49-F238E27FC236}">
                <a16:creationId xmlns:a16="http://schemas.microsoft.com/office/drawing/2014/main" id="{635476C9-DF1F-427A-B49C-4793481D2EFC}"/>
              </a:ext>
            </a:extLst>
          </p:cNvPr>
          <p:cNvGrpSpPr/>
          <p:nvPr/>
        </p:nvGrpSpPr>
        <p:grpSpPr>
          <a:xfrm>
            <a:off x="1224950" y="-30133"/>
            <a:ext cx="9609827" cy="574381"/>
            <a:chOff x="1224950" y="264034"/>
            <a:chExt cx="9609827" cy="574381"/>
          </a:xfrm>
        </p:grpSpPr>
        <p:sp>
          <p:nvSpPr>
            <p:cNvPr id="39" name="文本框 17">
              <a:extLst>
                <a:ext uri="{FF2B5EF4-FFF2-40B4-BE49-F238E27FC236}">
                  <a16:creationId xmlns:a16="http://schemas.microsoft.com/office/drawing/2014/main" id="{8821F3B5-90D4-4BC1-B8C6-10ACC91452FA}"/>
                </a:ext>
              </a:extLst>
            </p:cNvPr>
            <p:cNvSpPr txBox="1"/>
            <p:nvPr/>
          </p:nvSpPr>
          <p:spPr>
            <a:xfrm>
              <a:off x="3305714" y="264034"/>
              <a:ext cx="544830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gradFill>
                      <a:gsLst>
                        <a:gs pos="0">
                          <a:srgbClr val="E4401D"/>
                        </a:gs>
                        <a:gs pos="88000">
                          <a:srgbClr val="F9C235">
                            <a:alpha val="0"/>
                          </a:srgbClr>
                        </a:gs>
                      </a:gsLst>
                      <a:lin ang="5400000" scaled="1"/>
                    </a:gradFill>
                  </a:ln>
                  <a:solidFill>
                    <a:srgbClr val="B8075F"/>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rPr>
                <a:t>05</a:t>
              </a:r>
              <a:endParaRPr kumimoji="0" lang="zh-CN" altLang="en-US" sz="2000" b="1" i="0" u="none" strike="noStrike" kern="1200" cap="none" spc="0" normalizeH="0" baseline="0" noProof="0" dirty="0">
                <a:ln>
                  <a:gradFill>
                    <a:gsLst>
                      <a:gs pos="0">
                        <a:srgbClr val="E4401D"/>
                      </a:gs>
                      <a:gs pos="88000">
                        <a:srgbClr val="F9C235">
                          <a:alpha val="0"/>
                        </a:srgbClr>
                      </a:gs>
                    </a:gsLst>
                    <a:lin ang="5400000" scaled="1"/>
                  </a:gradFill>
                </a:ln>
                <a:solidFill>
                  <a:srgbClr val="B8075F"/>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endParaRPr>
            </a:p>
          </p:txBody>
        </p:sp>
        <p:grpSp>
          <p:nvGrpSpPr>
            <p:cNvPr id="40" name="组合 39">
              <a:extLst>
                <a:ext uri="{FF2B5EF4-FFF2-40B4-BE49-F238E27FC236}">
                  <a16:creationId xmlns:a16="http://schemas.microsoft.com/office/drawing/2014/main" id="{3BFADF51-7C53-4DA6-848A-01CD6AEF97B3}"/>
                </a:ext>
              </a:extLst>
            </p:cNvPr>
            <p:cNvGrpSpPr/>
            <p:nvPr/>
          </p:nvGrpSpPr>
          <p:grpSpPr>
            <a:xfrm>
              <a:off x="1224950" y="592194"/>
              <a:ext cx="9609827" cy="246221"/>
              <a:chOff x="607784" y="3395779"/>
              <a:chExt cx="10976432" cy="246221"/>
            </a:xfrm>
          </p:grpSpPr>
          <p:sp>
            <p:nvSpPr>
              <p:cNvPr id="43" name="文本框 14">
                <a:extLst>
                  <a:ext uri="{FF2B5EF4-FFF2-40B4-BE49-F238E27FC236}">
                    <a16:creationId xmlns:a16="http://schemas.microsoft.com/office/drawing/2014/main" id="{2C401EB3-4C3C-4374-AB0A-2BDBB5885D90}"/>
                  </a:ext>
                </a:extLst>
              </p:cNvPr>
              <p:cNvSpPr txBox="1"/>
              <p:nvPr/>
            </p:nvSpPr>
            <p:spPr>
              <a:xfrm>
                <a:off x="5699708" y="3395779"/>
                <a:ext cx="834921" cy="246221"/>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600" b="1" spc="300" dirty="0">
                    <a:solidFill>
                      <a:srgbClr val="B8075F"/>
                    </a:solidFill>
                    <a:latin typeface="微软雅黑" panose="020B0503020204020204" pitchFamily="34" charset="-122"/>
                    <a:ea typeface="微软雅黑" panose="020B0503020204020204" pitchFamily="34" charset="-122"/>
                    <a:cs typeface="Helvetica"/>
                    <a:sym typeface="微软雅黑" panose="020B0503020204020204" pitchFamily="34" charset="-122"/>
                  </a:rPr>
                  <a:t>公平</a:t>
                </a:r>
                <a:r>
                  <a:rPr kumimoji="0" lang="zh-CN" altLang="en-US" sz="1600" b="1" i="0" u="none" strike="noStrike" kern="1200" cap="none" spc="300" normalizeH="0" baseline="0" noProof="0" dirty="0">
                    <a:ln>
                      <a:noFill/>
                    </a:ln>
                    <a:solidFill>
                      <a:srgbClr val="B8075F"/>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rPr>
                  <a:t>性</a:t>
                </a:r>
              </a:p>
            </p:txBody>
          </p:sp>
          <p:cxnSp>
            <p:nvCxnSpPr>
              <p:cNvPr id="44" name="直接连接符 18">
                <a:extLst>
                  <a:ext uri="{FF2B5EF4-FFF2-40B4-BE49-F238E27FC236}">
                    <a16:creationId xmlns:a16="http://schemas.microsoft.com/office/drawing/2014/main" id="{1517ADA7-2327-495C-A2E3-7BAC0AA2D254}"/>
                  </a:ext>
                </a:extLst>
              </p:cNvPr>
              <p:cNvCxnSpPr>
                <a:cxnSpLocks/>
              </p:cNvCxnSpPr>
              <p:nvPr/>
            </p:nvCxnSpPr>
            <p:spPr>
              <a:xfrm>
                <a:off x="8506916" y="3452239"/>
                <a:ext cx="3077300" cy="0"/>
              </a:xfrm>
              <a:prstGeom prst="line">
                <a:avLst/>
              </a:prstGeom>
              <a:ln w="15875">
                <a:solidFill>
                  <a:srgbClr val="E4401D"/>
                </a:solidFill>
              </a:ln>
            </p:spPr>
            <p:style>
              <a:lnRef idx="1">
                <a:schemeClr val="accent1"/>
              </a:lnRef>
              <a:fillRef idx="0">
                <a:schemeClr val="accent1"/>
              </a:fillRef>
              <a:effectRef idx="0">
                <a:schemeClr val="accent1"/>
              </a:effectRef>
              <a:fontRef idx="minor">
                <a:schemeClr val="tx1"/>
              </a:fontRef>
            </p:style>
          </p:cxnSp>
          <p:cxnSp>
            <p:nvCxnSpPr>
              <p:cNvPr id="46" name="直接连接符 19">
                <a:extLst>
                  <a:ext uri="{FF2B5EF4-FFF2-40B4-BE49-F238E27FC236}">
                    <a16:creationId xmlns:a16="http://schemas.microsoft.com/office/drawing/2014/main" id="{B7618056-5F61-4903-9612-F26E7097ECF5}"/>
                  </a:ext>
                </a:extLst>
              </p:cNvPr>
              <p:cNvCxnSpPr>
                <a:cxnSpLocks/>
              </p:cNvCxnSpPr>
              <p:nvPr/>
            </p:nvCxnSpPr>
            <p:spPr>
              <a:xfrm>
                <a:off x="607784" y="3452239"/>
                <a:ext cx="2929046" cy="0"/>
              </a:xfrm>
              <a:prstGeom prst="line">
                <a:avLst/>
              </a:prstGeom>
              <a:ln w="15875">
                <a:solidFill>
                  <a:srgbClr val="E4401D"/>
                </a:solidFill>
              </a:ln>
            </p:spPr>
            <p:style>
              <a:lnRef idx="1">
                <a:schemeClr val="accent1"/>
              </a:lnRef>
              <a:fillRef idx="0">
                <a:schemeClr val="accent1"/>
              </a:fillRef>
              <a:effectRef idx="0">
                <a:schemeClr val="accent1"/>
              </a:effectRef>
              <a:fontRef idx="minor">
                <a:schemeClr val="tx1"/>
              </a:fontRef>
            </p:style>
          </p:cxnSp>
        </p:grpSp>
      </p:grpSp>
      <p:sp>
        <p:nvSpPr>
          <p:cNvPr id="51" name="文本框 50">
            <a:extLst>
              <a:ext uri="{FF2B5EF4-FFF2-40B4-BE49-F238E27FC236}">
                <a16:creationId xmlns:a16="http://schemas.microsoft.com/office/drawing/2014/main" id="{29A22ACB-C9CB-49EB-9643-098A0E94A3C3}"/>
              </a:ext>
            </a:extLst>
          </p:cNvPr>
          <p:cNvSpPr txBox="1"/>
          <p:nvPr/>
        </p:nvSpPr>
        <p:spPr>
          <a:xfrm>
            <a:off x="91752" y="6292393"/>
            <a:ext cx="6096000" cy="535531"/>
          </a:xfrm>
          <a:prstGeom prst="rect">
            <a:avLst/>
          </a:prstGeom>
          <a:noFill/>
        </p:spPr>
        <p:txBody>
          <a:bodyPr wrap="square">
            <a:spAutoFit/>
          </a:bodyPr>
          <a:lstStyle/>
          <a:p>
            <a:pPr>
              <a:lnSpc>
                <a:spcPct val="90000"/>
              </a:lnSpc>
              <a:defRPr/>
            </a:pPr>
            <a:r>
              <a:rPr kumimoji="0" lang="en-US" altLang="zh-CN" sz="8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1. </a:t>
            </a:r>
            <a:r>
              <a:rPr lang="en-US" altLang="zh-CN" sz="8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https://www.takefoto.cn/news/2021/12/01/10011639.shtml</a:t>
            </a:r>
          </a:p>
          <a:p>
            <a:pPr marL="0" marR="0" lvl="0" indent="0" algn="l" defTabSz="914400" rtl="0" eaLnBrk="1" fontAlgn="auto" latinLnBrk="0" hangingPunct="1">
              <a:lnSpc>
                <a:spcPct val="90000"/>
              </a:lnSpc>
              <a:spcBef>
                <a:spcPts val="0"/>
              </a:spcBef>
              <a:spcAft>
                <a:spcPts val="0"/>
              </a:spcAft>
              <a:buClrTx/>
              <a:buSzTx/>
              <a:buFont typeface="+mj-lt"/>
              <a:buNone/>
              <a:tabLst/>
              <a:defRPr/>
            </a:pPr>
            <a:r>
              <a:rPr kumimoji="0" lang="en-US" altLang="zh-CN" sz="8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2. </a:t>
            </a:r>
            <a:r>
              <a:rPr kumimoji="0" lang="zh-CN" altLang="zh-CN" sz="8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中华医学会感染病学分会艾滋病丙型肝炎学组</a:t>
            </a:r>
            <a:r>
              <a:rPr kumimoji="0" lang="en-US" altLang="zh-CN" sz="8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a:t>
            </a:r>
            <a:r>
              <a:rPr kumimoji="0" lang="zh-CN" altLang="zh-CN" sz="8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 </a:t>
            </a:r>
            <a:r>
              <a:rPr kumimoji="0" lang="zh-CN" altLang="en-US" sz="8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等</a:t>
            </a:r>
            <a:r>
              <a:rPr kumimoji="0" lang="en-US" altLang="zh-CN" sz="8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 </a:t>
            </a:r>
            <a:r>
              <a:rPr kumimoji="0" lang="zh-CN" altLang="zh-CN" sz="8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中</a:t>
            </a:r>
            <a:r>
              <a:rPr kumimoji="0" lang="zh-CN" altLang="en-US" sz="8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国艾滋病性病</a:t>
            </a:r>
            <a:r>
              <a:rPr kumimoji="0" lang="en-US" altLang="zh-CN" sz="8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 2021,27(11):1182- 1201.</a:t>
            </a:r>
            <a:endParaRPr kumimoji="0" lang="zh-CN" altLang="zh-CN" sz="8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marL="0" marR="0" lvl="0" indent="0" algn="l" defTabSz="914400" rtl="0" eaLnBrk="1" fontAlgn="auto" latinLnBrk="0" hangingPunct="1">
              <a:lnSpc>
                <a:spcPct val="90000"/>
              </a:lnSpc>
              <a:spcBef>
                <a:spcPts val="0"/>
              </a:spcBef>
              <a:spcAft>
                <a:spcPts val="0"/>
              </a:spcAft>
              <a:buClrTx/>
              <a:buSzTx/>
              <a:buFont typeface="+mj-lt"/>
              <a:buNone/>
              <a:tabLst/>
              <a:defRPr/>
            </a:pPr>
            <a:r>
              <a:rPr lang="en-US" altLang="zh-CN" sz="800" dirty="0">
                <a:solidFill>
                  <a:prstClr val="white"/>
                </a:solidFill>
                <a:latin typeface="Times New Roman" panose="02020603050405020304" pitchFamily="18" charset="0"/>
                <a:ea typeface="微软雅黑" panose="020B0503020204020204" pitchFamily="34" charset="-122"/>
                <a:cs typeface="Times New Roman" panose="02020603050405020304" pitchFamily="18" charset="0"/>
              </a:rPr>
              <a:t>3</a:t>
            </a:r>
            <a:r>
              <a:rPr kumimoji="0" lang="en-US" altLang="zh-CN" sz="8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  EACS Guidelines. https://www.eacsociety.org/media/final2021eacsguidelinesv11.0_oct2021.pdf</a:t>
            </a:r>
          </a:p>
          <a:p>
            <a:pPr marL="0" marR="0" lvl="0" indent="0" algn="l" defTabSz="914400" rtl="0" eaLnBrk="1" fontAlgn="auto" latinLnBrk="0" hangingPunct="1">
              <a:lnSpc>
                <a:spcPct val="90000"/>
              </a:lnSpc>
              <a:spcBef>
                <a:spcPts val="0"/>
              </a:spcBef>
              <a:spcAft>
                <a:spcPts val="0"/>
              </a:spcAft>
              <a:buClrTx/>
              <a:buSzTx/>
              <a:buFont typeface="+mj-lt"/>
              <a:buNone/>
              <a:tabLst/>
              <a:defRPr/>
            </a:pPr>
            <a:r>
              <a:rPr lang="en-US" altLang="zh-CN" sz="800" dirty="0">
                <a:solidFill>
                  <a:prstClr val="white"/>
                </a:solidFill>
                <a:latin typeface="Times New Roman" panose="02020603050405020304" pitchFamily="18" charset="0"/>
                <a:ea typeface="微软雅黑" panose="020B0503020204020204" pitchFamily="34" charset="-122"/>
                <a:cs typeface="Times New Roman" panose="02020603050405020304" pitchFamily="18" charset="0"/>
              </a:rPr>
              <a:t>4</a:t>
            </a:r>
            <a:r>
              <a:rPr kumimoji="0" lang="en-US" altLang="zh-CN" sz="8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  DHHS Guidelines. https://clinicalinfo.hiv.gov/sites/default/files/guidelines/documents/AdultandAdolescentGL.pdf</a:t>
            </a:r>
            <a:endParaRPr kumimoji="0" lang="zh-CN" altLang="zh-CN" sz="8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52" name="文本框 51">
            <a:extLst>
              <a:ext uri="{FF2B5EF4-FFF2-40B4-BE49-F238E27FC236}">
                <a16:creationId xmlns:a16="http://schemas.microsoft.com/office/drawing/2014/main" id="{CE28D0B4-DC50-469F-8239-28D108DBFB61}"/>
              </a:ext>
            </a:extLst>
          </p:cNvPr>
          <p:cNvSpPr txBox="1"/>
          <p:nvPr/>
        </p:nvSpPr>
        <p:spPr>
          <a:xfrm>
            <a:off x="6556868" y="6286620"/>
            <a:ext cx="5543380" cy="584775"/>
          </a:xfrm>
          <a:prstGeom prst="rect">
            <a:avLst/>
          </a:prstGeom>
          <a:noFill/>
        </p:spPr>
        <p:txBody>
          <a:bodyPr wrap="square">
            <a:spAutoFit/>
          </a:bodyPr>
          <a:lstStyle/>
          <a:p>
            <a:r>
              <a:rPr lang="nl-NL" altLang="zh-CN" sz="8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5. </a:t>
            </a:r>
            <a:r>
              <a:rPr lang="en-US" altLang="zh-CN" sz="800" dirty="0">
                <a:solidFill>
                  <a:prstClr val="white"/>
                </a:solidFill>
                <a:latin typeface="Times New Roman" panose="02020603050405020304" pitchFamily="18" charset="0"/>
                <a:ea typeface="微软雅黑" panose="020B0503020204020204" pitchFamily="34" charset="-122"/>
                <a:cs typeface="Times New Roman" panose="02020603050405020304" pitchFamily="18" charset="0"/>
              </a:rPr>
              <a:t> </a:t>
            </a:r>
            <a:r>
              <a:rPr kumimoji="0" lang="da-DK" altLang="zh-CN" sz="800" b="0" i="0" u="none" strike="noStrike" kern="1200" cap="none" spc="0" normalizeH="0" baseline="0" noProof="0" dirty="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Saag MS, et al. JAMA 2020, 324 (16): 1651-1669.</a:t>
            </a:r>
            <a:r>
              <a:rPr lang="nl-NL" altLang="zh-CN" sz="8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 </a:t>
            </a:r>
          </a:p>
          <a:p>
            <a:r>
              <a:rPr lang="nl-NL" altLang="zh-CN" sz="8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6.  Lopes S, et al. Pharmacoepidemiol Drug Saf 2020, 29 (3), 270-278.</a:t>
            </a:r>
          </a:p>
          <a:p>
            <a:r>
              <a:rPr lang="fr-FR" altLang="zh-CN" sz="8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7.  </a:t>
            </a:r>
            <a:r>
              <a:rPr lang="fr-FR" altLang="zh-CN" sz="800" b="0" dirty="0" err="1">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Osiyemi</a:t>
            </a:r>
            <a:r>
              <a:rPr lang="fr-FR" altLang="zh-CN" sz="8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 O, et al.. Clin Infect Dis  2022 Jan 25;ciac036. </a:t>
            </a:r>
          </a:p>
          <a:p>
            <a:r>
              <a:rPr lang="en-US" altLang="zh-CN" sz="8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8.  </a:t>
            </a:r>
            <a:r>
              <a:rPr lang="zh-CN" altLang="en-US" sz="8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拉米夫定多替拉韦片说明书</a:t>
            </a:r>
          </a:p>
        </p:txBody>
      </p:sp>
      <p:sp>
        <p:nvSpPr>
          <p:cNvPr id="54" name="灯片编号占位符 3">
            <a:extLst>
              <a:ext uri="{FF2B5EF4-FFF2-40B4-BE49-F238E27FC236}">
                <a16:creationId xmlns:a16="http://schemas.microsoft.com/office/drawing/2014/main" id="{15687116-E559-4B4D-9548-67121CE90F38}"/>
              </a:ext>
            </a:extLst>
          </p:cNvPr>
          <p:cNvSpPr txBox="1">
            <a:spLocks/>
          </p:cNvSpPr>
          <p:nvPr/>
        </p:nvSpPr>
        <p:spPr>
          <a:xfrm>
            <a:off x="11673792" y="6356961"/>
            <a:ext cx="518208"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fld id="{D6F24B0C-7668-4973-8E6C-4D4CB7EF0CEB}" type="slidenum">
              <a:rPr lang="en-US" sz="1600" b="1" smtClean="0">
                <a:solidFill>
                  <a:schemeClr val="bg1"/>
                </a:solidFill>
                <a:latin typeface="Arial" panose="020B0604020202020204" pitchFamily="34" charset="0"/>
                <a:cs typeface="Arial" panose="020B0604020202020204" pitchFamily="34" charset="0"/>
              </a:rPr>
              <a:pPr algn="ctr" defTabSz="457200">
                <a:defRPr/>
              </a:pPr>
              <a:t>10</a:t>
            </a:fld>
            <a:endParaRPr lang="en-US"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196442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solidFill>
                  <a:srgbClr val="262626"/>
                </a:solidFill>
                <a:latin typeface="微软雅黑" panose="020B0503020204020204" pitchFamily="34" charset="-122"/>
                <a:sym typeface="微软雅黑" panose="020B0503020204020204" pitchFamily="34" charset="-122"/>
              </a:rPr>
              <a:t>目录</a:t>
            </a:r>
          </a:p>
        </p:txBody>
      </p:sp>
      <p:sp>
        <p:nvSpPr>
          <p:cNvPr id="5" name="标题 2"/>
          <p:cNvSpPr txBox="1"/>
          <p:nvPr/>
        </p:nvSpPr>
        <p:spPr>
          <a:xfrm>
            <a:off x="1068595" y="398085"/>
            <a:ext cx="10440000" cy="446400"/>
          </a:xfrm>
          <a:prstGeom prst="rect">
            <a:avLst/>
          </a:prstGeom>
        </p:spPr>
        <p:txBody>
          <a:bodyPr anchor="b"/>
          <a:lstStyle>
            <a:lvl1pPr>
              <a:defRPr>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0" cap="none" spc="0" normalizeH="0" baseline="0" noProof="0" dirty="0">
              <a:ln>
                <a:noFill/>
              </a:ln>
              <a:solidFill>
                <a:prstClr val="black">
                  <a:lumMod val="85000"/>
                  <a:lumOff val="15000"/>
                </a:prstClr>
              </a:solidFill>
              <a:effectLst/>
              <a:uLnTx/>
              <a:uFillTx/>
              <a:latin typeface="微软雅黑" panose="020B0503020204020204" pitchFamily="34" charset="-122"/>
              <a:ea typeface="微软雅黑" panose="020B0503020204020204" pitchFamily="34" charset="-122"/>
              <a:cs typeface="+mj-cs"/>
              <a:sym typeface="微软雅黑" panose="020B0503020204020204" pitchFamily="34" charset="-122"/>
            </a:endParaRPr>
          </a:p>
        </p:txBody>
      </p:sp>
      <p:grpSp>
        <p:nvGrpSpPr>
          <p:cNvPr id="19" name="组合 8">
            <a:extLst>
              <a:ext uri="{FF2B5EF4-FFF2-40B4-BE49-F238E27FC236}">
                <a16:creationId xmlns:a16="http://schemas.microsoft.com/office/drawing/2014/main" id="{4C5C7398-1E47-480C-AFA9-00365A2FC48C}"/>
              </a:ext>
            </a:extLst>
          </p:cNvPr>
          <p:cNvGrpSpPr/>
          <p:nvPr/>
        </p:nvGrpSpPr>
        <p:grpSpPr>
          <a:xfrm>
            <a:off x="1075473" y="1435442"/>
            <a:ext cx="3808205" cy="767224"/>
            <a:chOff x="2277162" y="1957773"/>
            <a:chExt cx="3808205" cy="767224"/>
          </a:xfrm>
        </p:grpSpPr>
        <p:sp>
          <p:nvSpPr>
            <p:cNvPr id="20" name="矩形: 圆角 32">
              <a:extLst>
                <a:ext uri="{FF2B5EF4-FFF2-40B4-BE49-F238E27FC236}">
                  <a16:creationId xmlns:a16="http://schemas.microsoft.com/office/drawing/2014/main" id="{5644057C-173F-405C-8B13-37E4926472ED}"/>
                </a:ext>
              </a:extLst>
            </p:cNvPr>
            <p:cNvSpPr/>
            <p:nvPr/>
          </p:nvSpPr>
          <p:spPr>
            <a:xfrm>
              <a:off x="2364386" y="2044995"/>
              <a:ext cx="3720981" cy="614445"/>
            </a:xfrm>
            <a:prstGeom prst="roundRect">
              <a:avLst>
                <a:gd name="adj" fmla="val 50000"/>
              </a:avLst>
            </a:prstGeom>
            <a:solidFill>
              <a:srgbClr val="B8075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4" name="文本框 33">
              <a:extLst>
                <a:ext uri="{FF2B5EF4-FFF2-40B4-BE49-F238E27FC236}">
                  <a16:creationId xmlns:a16="http://schemas.microsoft.com/office/drawing/2014/main" id="{C1A9A750-8885-47B2-8567-708DDB85075D}"/>
                </a:ext>
              </a:extLst>
            </p:cNvPr>
            <p:cNvSpPr txBox="1"/>
            <p:nvPr/>
          </p:nvSpPr>
          <p:spPr>
            <a:xfrm>
              <a:off x="3198974" y="2110553"/>
              <a:ext cx="2727115" cy="46166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schemeClr val="bg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药品基本信息</a:t>
              </a:r>
            </a:p>
          </p:txBody>
        </p:sp>
        <p:sp>
          <p:nvSpPr>
            <p:cNvPr id="25" name="矩形: 圆角 34">
              <a:extLst>
                <a:ext uri="{FF2B5EF4-FFF2-40B4-BE49-F238E27FC236}">
                  <a16:creationId xmlns:a16="http://schemas.microsoft.com/office/drawing/2014/main" id="{F91E01CE-77D7-469F-9FAB-0B5A7DD80331}"/>
                </a:ext>
              </a:extLst>
            </p:cNvPr>
            <p:cNvSpPr/>
            <p:nvPr/>
          </p:nvSpPr>
          <p:spPr>
            <a:xfrm>
              <a:off x="2277162" y="1957773"/>
              <a:ext cx="767224" cy="767224"/>
            </a:xfrm>
            <a:prstGeom prst="roundRect">
              <a:avLst>
                <a:gd name="adj" fmla="val 50000"/>
              </a:avLst>
            </a:prstGeom>
            <a:solidFill>
              <a:schemeClr val="bg1"/>
            </a:solidFill>
            <a:ln w="12700" cap="flat" cmpd="sng" algn="ctr">
              <a:noFill/>
              <a:prstDash val="solid"/>
              <a:miter lim="800000"/>
            </a:ln>
            <a:effectLst>
              <a:outerShdw blurRad="63500" sx="102000" sy="102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01</a:t>
              </a:r>
              <a:endParaRPr kumimoji="0" lang="zh-CN" altLang="en-US" sz="1800" b="1"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27" name="Group 26">
            <a:extLst>
              <a:ext uri="{FF2B5EF4-FFF2-40B4-BE49-F238E27FC236}">
                <a16:creationId xmlns:a16="http://schemas.microsoft.com/office/drawing/2014/main" id="{A3DBAF63-CB17-4D2F-B448-A994EEB00547}"/>
              </a:ext>
            </a:extLst>
          </p:cNvPr>
          <p:cNvGrpSpPr/>
          <p:nvPr/>
        </p:nvGrpSpPr>
        <p:grpSpPr>
          <a:xfrm>
            <a:off x="6288595" y="1435442"/>
            <a:ext cx="7129676" cy="767224"/>
            <a:chOff x="2290098" y="2394242"/>
            <a:chExt cx="7129676" cy="767224"/>
          </a:xfrm>
        </p:grpSpPr>
        <p:sp>
          <p:nvSpPr>
            <p:cNvPr id="28" name="矩形: 圆角 74">
              <a:extLst>
                <a:ext uri="{FF2B5EF4-FFF2-40B4-BE49-F238E27FC236}">
                  <a16:creationId xmlns:a16="http://schemas.microsoft.com/office/drawing/2014/main" id="{ED68F112-5568-4C21-92AB-194F4B7D0A06}"/>
                </a:ext>
              </a:extLst>
            </p:cNvPr>
            <p:cNvSpPr/>
            <p:nvPr/>
          </p:nvSpPr>
          <p:spPr>
            <a:xfrm>
              <a:off x="2377322" y="2481465"/>
              <a:ext cx="3695027" cy="592778"/>
            </a:xfrm>
            <a:prstGeom prst="roundRect">
              <a:avLst>
                <a:gd name="adj" fmla="val 50000"/>
              </a:avLst>
            </a:prstGeom>
            <a:solidFill>
              <a:srgbClr val="B8075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29" name="文本框 75">
              <a:extLst>
                <a:ext uri="{FF2B5EF4-FFF2-40B4-BE49-F238E27FC236}">
                  <a16:creationId xmlns:a16="http://schemas.microsoft.com/office/drawing/2014/main" id="{F80A0353-2C14-4736-8F33-577FEF4330AA}"/>
                </a:ext>
              </a:extLst>
            </p:cNvPr>
            <p:cNvSpPr txBox="1"/>
            <p:nvPr/>
          </p:nvSpPr>
          <p:spPr>
            <a:xfrm>
              <a:off x="3211910" y="2547022"/>
              <a:ext cx="6207864" cy="461665"/>
            </a:xfrm>
            <a:prstGeom prst="rect">
              <a:avLst/>
            </a:prstGeom>
            <a:noFill/>
          </p:spPr>
          <p:txBody>
            <a:bodyPr wrap="square">
              <a:spAutoFit/>
            </a:bodyPr>
            <a:lstStyle>
              <a:defPPr>
                <a:defRPr lang="zh-CN"/>
              </a:defPPr>
              <a:lvl1pPr marR="0" lvl="0" indent="0" defTabSz="457200" fontAlgn="auto">
                <a:lnSpc>
                  <a:spcPct val="100000"/>
                </a:lnSpc>
                <a:spcBef>
                  <a:spcPts val="0"/>
                </a:spcBef>
                <a:spcAft>
                  <a:spcPts val="0"/>
                </a:spcAft>
                <a:buClrTx/>
                <a:buSzTx/>
                <a:buFontTx/>
                <a:buNone/>
                <a:defRPr kumimoji="0" sz="2400" b="1" i="0" u="none" strike="noStrike" cap="none" spc="0" normalizeH="0" baseline="0">
                  <a:ln>
                    <a:noFill/>
                  </a:ln>
                  <a:gradFill>
                    <a:gsLst>
                      <a:gs pos="100000">
                        <a:srgbClr val="F9C235"/>
                      </a:gs>
                      <a:gs pos="50000">
                        <a:srgbClr val="E43F1C"/>
                      </a:gs>
                    </a:gsLst>
                    <a:lin ang="5400000" scaled="0"/>
                  </a:gradFill>
                  <a:effectLst/>
                  <a:uLnTx/>
                  <a:uFillTx/>
                  <a:latin typeface="微软雅黑" panose="020B0503020204020204" pitchFamily="34" charset="-122"/>
                  <a:ea typeface="微软雅黑" panose="020B0503020204020204" pitchFamily="34" charset="-122"/>
                </a:defRPr>
              </a:lvl1p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schemeClr val="bg1"/>
                  </a:solidFill>
                  <a:effectLst/>
                  <a:uLnTx/>
                  <a:uFillTx/>
                  <a:sym typeface="微软雅黑" panose="020B0503020204020204" pitchFamily="34" charset="-122"/>
                </a:rPr>
                <a:t>安全性</a:t>
              </a:r>
            </a:p>
          </p:txBody>
        </p:sp>
        <p:sp>
          <p:nvSpPr>
            <p:cNvPr id="30" name="矩形: 圆角 77">
              <a:extLst>
                <a:ext uri="{FF2B5EF4-FFF2-40B4-BE49-F238E27FC236}">
                  <a16:creationId xmlns:a16="http://schemas.microsoft.com/office/drawing/2014/main" id="{5403534A-6307-4334-9151-72335DF3C541}"/>
                </a:ext>
              </a:extLst>
            </p:cNvPr>
            <p:cNvSpPr/>
            <p:nvPr/>
          </p:nvSpPr>
          <p:spPr>
            <a:xfrm>
              <a:off x="2290098" y="2394242"/>
              <a:ext cx="767224" cy="767224"/>
            </a:xfrm>
            <a:prstGeom prst="roundRect">
              <a:avLst>
                <a:gd name="adj" fmla="val 50000"/>
              </a:avLst>
            </a:prstGeom>
            <a:solidFill>
              <a:schemeClr val="bg1"/>
            </a:solidFill>
            <a:ln w="12700" cap="flat" cmpd="sng" algn="ctr">
              <a:noFill/>
              <a:prstDash val="solid"/>
              <a:miter lim="800000"/>
            </a:ln>
            <a:effectLst>
              <a:outerShdw blurRad="63500" sx="102000" sy="102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02</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40" name="Group 39">
            <a:extLst>
              <a:ext uri="{FF2B5EF4-FFF2-40B4-BE49-F238E27FC236}">
                <a16:creationId xmlns:a16="http://schemas.microsoft.com/office/drawing/2014/main" id="{4E8D0A1E-6B4B-4D9B-87B9-2AF40704599E}"/>
              </a:ext>
            </a:extLst>
          </p:cNvPr>
          <p:cNvGrpSpPr/>
          <p:nvPr/>
        </p:nvGrpSpPr>
        <p:grpSpPr>
          <a:xfrm>
            <a:off x="1075473" y="3118846"/>
            <a:ext cx="7129676" cy="767224"/>
            <a:chOff x="2290098" y="3596865"/>
            <a:chExt cx="7129676" cy="767224"/>
          </a:xfrm>
        </p:grpSpPr>
        <p:sp>
          <p:nvSpPr>
            <p:cNvPr id="41" name="矩形: 圆角 80">
              <a:extLst>
                <a:ext uri="{FF2B5EF4-FFF2-40B4-BE49-F238E27FC236}">
                  <a16:creationId xmlns:a16="http://schemas.microsoft.com/office/drawing/2014/main" id="{0355A739-2C51-443F-83B2-07ED5741282B}"/>
                </a:ext>
              </a:extLst>
            </p:cNvPr>
            <p:cNvSpPr/>
            <p:nvPr/>
          </p:nvSpPr>
          <p:spPr>
            <a:xfrm>
              <a:off x="2377322" y="3684088"/>
              <a:ext cx="3695027" cy="592778"/>
            </a:xfrm>
            <a:prstGeom prst="roundRect">
              <a:avLst>
                <a:gd name="adj" fmla="val 50000"/>
              </a:avLst>
            </a:prstGeom>
            <a:solidFill>
              <a:srgbClr val="B8075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2" name="文本框 81">
              <a:extLst>
                <a:ext uri="{FF2B5EF4-FFF2-40B4-BE49-F238E27FC236}">
                  <a16:creationId xmlns:a16="http://schemas.microsoft.com/office/drawing/2014/main" id="{89BBBA6C-6E11-44F8-95A4-8883E7C438D2}"/>
                </a:ext>
              </a:extLst>
            </p:cNvPr>
            <p:cNvSpPr txBox="1"/>
            <p:nvPr/>
          </p:nvSpPr>
          <p:spPr>
            <a:xfrm>
              <a:off x="3211910" y="3749645"/>
              <a:ext cx="6207864" cy="461665"/>
            </a:xfrm>
            <a:prstGeom prst="rect">
              <a:avLst/>
            </a:prstGeom>
            <a:noFill/>
          </p:spPr>
          <p:txBody>
            <a:bodyPr wrap="square">
              <a:spAutoFit/>
            </a:bodyPr>
            <a:lstStyle>
              <a:defPPr>
                <a:defRPr lang="zh-CN"/>
              </a:defPPr>
              <a:lvl1pPr marR="0" lvl="0" indent="0" defTabSz="457200" fontAlgn="auto">
                <a:lnSpc>
                  <a:spcPct val="100000"/>
                </a:lnSpc>
                <a:spcBef>
                  <a:spcPts val="0"/>
                </a:spcBef>
                <a:spcAft>
                  <a:spcPts val="0"/>
                </a:spcAft>
                <a:buClrTx/>
                <a:buSzTx/>
                <a:buFontTx/>
                <a:buNone/>
                <a:defRPr kumimoji="0" sz="2400" b="1" i="0" u="none" strike="noStrike" cap="none" spc="0" normalizeH="0" baseline="0">
                  <a:ln>
                    <a:noFill/>
                  </a:ln>
                  <a:gradFill>
                    <a:gsLst>
                      <a:gs pos="100000">
                        <a:srgbClr val="F9C235"/>
                      </a:gs>
                      <a:gs pos="50000">
                        <a:srgbClr val="E43F1C"/>
                      </a:gs>
                    </a:gsLst>
                    <a:lin ang="5400000" scaled="0"/>
                  </a:gradFill>
                  <a:effectLst/>
                  <a:uLnTx/>
                  <a:uFillTx/>
                  <a:latin typeface="微软雅黑" panose="020B0503020204020204" pitchFamily="34" charset="-122"/>
                  <a:ea typeface="微软雅黑" panose="020B0503020204020204" pitchFamily="34" charset="-122"/>
                </a:defRPr>
              </a:lvl1pPr>
            </a:lstStyle>
            <a:p>
              <a:pPr marL="0" marR="0" lvl="0" indent="0" algn="l" defTabSz="457200" rtl="0" eaLnBrk="1" fontAlgn="auto" latinLnBrk="0" hangingPunct="1">
                <a:lnSpc>
                  <a:spcPct val="100000"/>
                </a:lnSpc>
                <a:spcBef>
                  <a:spcPts val="0"/>
                </a:spcBef>
                <a:spcAft>
                  <a:spcPts val="0"/>
                </a:spcAft>
                <a:buClrTx/>
                <a:buSzTx/>
                <a:buFontTx/>
                <a:buNone/>
                <a:defRPr/>
              </a:pPr>
              <a:r>
                <a:rPr kumimoji="0" lang="zh-CN" altLang="en-US" sz="2400" b="1" i="0" u="none" strike="noStrike" kern="1200" cap="none" spc="0" normalizeH="0" baseline="0" noProof="0" dirty="0">
                  <a:ln>
                    <a:noFill/>
                  </a:ln>
                  <a:solidFill>
                    <a:schemeClr val="bg1"/>
                  </a:solidFill>
                  <a:effectLst/>
                  <a:uLnTx/>
                  <a:uFillTx/>
                  <a:sym typeface="微软雅黑" panose="020B0503020204020204" pitchFamily="34" charset="-122"/>
                </a:rPr>
                <a:t>有效性</a:t>
              </a:r>
            </a:p>
          </p:txBody>
        </p:sp>
        <p:sp>
          <p:nvSpPr>
            <p:cNvPr id="43" name="矩形: 圆角 83">
              <a:extLst>
                <a:ext uri="{FF2B5EF4-FFF2-40B4-BE49-F238E27FC236}">
                  <a16:creationId xmlns:a16="http://schemas.microsoft.com/office/drawing/2014/main" id="{C50AFC57-321A-4D47-945F-E9DDB9A996E6}"/>
                </a:ext>
              </a:extLst>
            </p:cNvPr>
            <p:cNvSpPr/>
            <p:nvPr/>
          </p:nvSpPr>
          <p:spPr>
            <a:xfrm>
              <a:off x="2290098" y="3596865"/>
              <a:ext cx="767224" cy="767224"/>
            </a:xfrm>
            <a:prstGeom prst="roundRect">
              <a:avLst>
                <a:gd name="adj" fmla="val 50000"/>
              </a:avLst>
            </a:prstGeom>
            <a:solidFill>
              <a:schemeClr val="bg1"/>
            </a:solidFill>
            <a:ln w="12700" cap="flat" cmpd="sng" algn="ctr">
              <a:noFill/>
              <a:prstDash val="solid"/>
              <a:miter lim="800000"/>
            </a:ln>
            <a:effectLst>
              <a:outerShdw blurRad="63500" sx="102000" sy="102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03</a:t>
              </a:r>
              <a:endParaRPr kumimoji="0" lang="zh-CN" altLang="en-US" sz="18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34" name="组合 2">
            <a:extLst>
              <a:ext uri="{FF2B5EF4-FFF2-40B4-BE49-F238E27FC236}">
                <a16:creationId xmlns:a16="http://schemas.microsoft.com/office/drawing/2014/main" id="{43C172C3-F837-4E46-B5A1-B52302B257DA}"/>
              </a:ext>
            </a:extLst>
          </p:cNvPr>
          <p:cNvGrpSpPr/>
          <p:nvPr/>
        </p:nvGrpSpPr>
        <p:grpSpPr>
          <a:xfrm>
            <a:off x="6288595" y="3118846"/>
            <a:ext cx="7129676" cy="767224"/>
            <a:chOff x="2277162" y="4307172"/>
            <a:chExt cx="7129676" cy="767224"/>
          </a:xfrm>
        </p:grpSpPr>
        <p:sp>
          <p:nvSpPr>
            <p:cNvPr id="35" name="矩形: 圆角 80">
              <a:extLst>
                <a:ext uri="{FF2B5EF4-FFF2-40B4-BE49-F238E27FC236}">
                  <a16:creationId xmlns:a16="http://schemas.microsoft.com/office/drawing/2014/main" id="{CE729A92-17FD-4422-8B07-E78871EDCF54}"/>
                </a:ext>
              </a:extLst>
            </p:cNvPr>
            <p:cNvSpPr/>
            <p:nvPr/>
          </p:nvSpPr>
          <p:spPr>
            <a:xfrm>
              <a:off x="2364386" y="4394395"/>
              <a:ext cx="3720981" cy="592778"/>
            </a:xfrm>
            <a:prstGeom prst="roundRect">
              <a:avLst>
                <a:gd name="adj" fmla="val 50000"/>
              </a:avLst>
            </a:prstGeom>
            <a:solidFill>
              <a:srgbClr val="B8075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5" name="文本框 81">
              <a:extLst>
                <a:ext uri="{FF2B5EF4-FFF2-40B4-BE49-F238E27FC236}">
                  <a16:creationId xmlns:a16="http://schemas.microsoft.com/office/drawing/2014/main" id="{BE2A14D8-B0CF-40F4-8DAE-14EFAC6E0CE6}"/>
                </a:ext>
              </a:extLst>
            </p:cNvPr>
            <p:cNvSpPr txBox="1"/>
            <p:nvPr/>
          </p:nvSpPr>
          <p:spPr>
            <a:xfrm>
              <a:off x="3198974" y="4459952"/>
              <a:ext cx="6207864" cy="461665"/>
            </a:xfrm>
            <a:prstGeom prst="rect">
              <a:avLst/>
            </a:prstGeom>
            <a:noFill/>
          </p:spPr>
          <p:txBody>
            <a:bodyPr wrap="square">
              <a:spAutoFit/>
            </a:bodyPr>
            <a:lstStyle>
              <a:defPPr>
                <a:defRPr lang="zh-CN"/>
              </a:defPPr>
              <a:lvl1pPr marR="0" lvl="0" indent="0" defTabSz="457200" fontAlgn="auto">
                <a:lnSpc>
                  <a:spcPct val="100000"/>
                </a:lnSpc>
                <a:spcBef>
                  <a:spcPts val="0"/>
                </a:spcBef>
                <a:spcAft>
                  <a:spcPts val="0"/>
                </a:spcAft>
                <a:buClrTx/>
                <a:buSzTx/>
                <a:buFontTx/>
                <a:buNone/>
                <a:defRPr kumimoji="0" sz="2400" b="1" i="0" u="none" strike="noStrike" cap="none" spc="0" normalizeH="0" baseline="0">
                  <a:ln>
                    <a:noFill/>
                  </a:ln>
                  <a:gradFill>
                    <a:gsLst>
                      <a:gs pos="100000">
                        <a:srgbClr val="F9C235"/>
                      </a:gs>
                      <a:gs pos="50000">
                        <a:srgbClr val="E43F1C"/>
                      </a:gs>
                    </a:gsLst>
                    <a:lin ang="5400000" scaled="0"/>
                  </a:gradFill>
                  <a:effectLst/>
                  <a:uLnTx/>
                  <a:uFillTx/>
                  <a:latin typeface="微软雅黑" panose="020B0503020204020204" pitchFamily="34" charset="-122"/>
                  <a:ea typeface="微软雅黑" panose="020B0503020204020204" pitchFamily="34" charset="-122"/>
                </a:defRPr>
              </a:lvl1pPr>
            </a:lstStyle>
            <a:p>
              <a:pPr marL="0" marR="0" lvl="0" indent="0" algn="l" defTabSz="457200" rtl="0" eaLnBrk="1" fontAlgn="auto" latinLnBrk="0" hangingPunct="1">
                <a:lnSpc>
                  <a:spcPct val="100000"/>
                </a:lnSpc>
                <a:spcBef>
                  <a:spcPts val="0"/>
                </a:spcBef>
                <a:spcAft>
                  <a:spcPts val="0"/>
                </a:spcAft>
                <a:buClrTx/>
                <a:buSzTx/>
                <a:buFontTx/>
                <a:buNone/>
                <a:defRPr/>
              </a:pPr>
              <a:r>
                <a:rPr lang="zh-CN" altLang="en-US" dirty="0">
                  <a:solidFill>
                    <a:schemeClr val="bg1"/>
                  </a:solidFill>
                  <a:sym typeface="微软雅黑" panose="020B0503020204020204" pitchFamily="34" charset="-122"/>
                </a:rPr>
                <a:t>创新性</a:t>
              </a:r>
              <a:endParaRPr kumimoji="0" lang="zh-CN" altLang="en-US" sz="3200" b="1" i="0" u="none" strike="noStrike" kern="1200" cap="none" spc="0" normalizeH="0" baseline="0" noProof="0" dirty="0">
                <a:ln>
                  <a:noFill/>
                </a:ln>
                <a:solidFill>
                  <a:schemeClr val="bg1"/>
                </a:solidFill>
                <a:effectLst/>
                <a:uLnTx/>
                <a:uFillTx/>
                <a:sym typeface="微软雅黑" panose="020B0503020204020204" pitchFamily="34" charset="-122"/>
              </a:endParaRPr>
            </a:p>
          </p:txBody>
        </p:sp>
        <p:sp>
          <p:nvSpPr>
            <p:cNvPr id="46" name="矩形: 圆角 83">
              <a:extLst>
                <a:ext uri="{FF2B5EF4-FFF2-40B4-BE49-F238E27FC236}">
                  <a16:creationId xmlns:a16="http://schemas.microsoft.com/office/drawing/2014/main" id="{E9F01C2B-7925-4AF7-B103-CB98FCFE18A7}"/>
                </a:ext>
              </a:extLst>
            </p:cNvPr>
            <p:cNvSpPr/>
            <p:nvPr/>
          </p:nvSpPr>
          <p:spPr>
            <a:xfrm>
              <a:off x="2277162" y="4307172"/>
              <a:ext cx="767224" cy="767224"/>
            </a:xfrm>
            <a:prstGeom prst="roundRect">
              <a:avLst>
                <a:gd name="adj" fmla="val 50000"/>
              </a:avLst>
            </a:prstGeom>
            <a:solidFill>
              <a:schemeClr val="bg1"/>
            </a:solidFill>
            <a:ln w="12700" cap="flat" cmpd="sng" algn="ctr">
              <a:noFill/>
              <a:prstDash val="solid"/>
              <a:miter lim="800000"/>
            </a:ln>
            <a:effectLst>
              <a:outerShdw blurRad="63500" sx="102000" sy="102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04</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grpSp>
        <p:nvGrpSpPr>
          <p:cNvPr id="47" name="组合 2">
            <a:extLst>
              <a:ext uri="{FF2B5EF4-FFF2-40B4-BE49-F238E27FC236}">
                <a16:creationId xmlns:a16="http://schemas.microsoft.com/office/drawing/2014/main" id="{ED655882-656B-425D-81D7-A4224483AA37}"/>
              </a:ext>
            </a:extLst>
          </p:cNvPr>
          <p:cNvGrpSpPr/>
          <p:nvPr/>
        </p:nvGrpSpPr>
        <p:grpSpPr>
          <a:xfrm>
            <a:off x="1075473" y="4802250"/>
            <a:ext cx="3962793" cy="767224"/>
            <a:chOff x="2277162" y="4307172"/>
            <a:chExt cx="3962793" cy="767224"/>
          </a:xfrm>
        </p:grpSpPr>
        <p:sp>
          <p:nvSpPr>
            <p:cNvPr id="48" name="矩形: 圆角 80">
              <a:extLst>
                <a:ext uri="{FF2B5EF4-FFF2-40B4-BE49-F238E27FC236}">
                  <a16:creationId xmlns:a16="http://schemas.microsoft.com/office/drawing/2014/main" id="{E774103E-EB9B-4CF7-B804-EF2CBCE68BF2}"/>
                </a:ext>
              </a:extLst>
            </p:cNvPr>
            <p:cNvSpPr/>
            <p:nvPr/>
          </p:nvSpPr>
          <p:spPr>
            <a:xfrm>
              <a:off x="2364386" y="4394395"/>
              <a:ext cx="3720981" cy="592778"/>
            </a:xfrm>
            <a:prstGeom prst="roundRect">
              <a:avLst>
                <a:gd name="adj" fmla="val 50000"/>
              </a:avLst>
            </a:prstGeom>
            <a:solidFill>
              <a:srgbClr val="B8075F"/>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prstClr val="white"/>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sp>
          <p:nvSpPr>
            <p:cNvPr id="49" name="文本框 81">
              <a:extLst>
                <a:ext uri="{FF2B5EF4-FFF2-40B4-BE49-F238E27FC236}">
                  <a16:creationId xmlns:a16="http://schemas.microsoft.com/office/drawing/2014/main" id="{BA2AA2ED-1FD1-403A-A32F-29E6748EAA54}"/>
                </a:ext>
              </a:extLst>
            </p:cNvPr>
            <p:cNvSpPr txBox="1"/>
            <p:nvPr/>
          </p:nvSpPr>
          <p:spPr>
            <a:xfrm>
              <a:off x="3198974" y="4459952"/>
              <a:ext cx="3040981" cy="461665"/>
            </a:xfrm>
            <a:prstGeom prst="rect">
              <a:avLst/>
            </a:prstGeom>
            <a:noFill/>
          </p:spPr>
          <p:txBody>
            <a:bodyPr wrap="square">
              <a:spAutoFit/>
            </a:bodyPr>
            <a:lstStyle>
              <a:defPPr>
                <a:defRPr lang="zh-CN"/>
              </a:defPPr>
              <a:lvl1pPr marR="0" lvl="0" indent="0" defTabSz="457200" fontAlgn="auto">
                <a:lnSpc>
                  <a:spcPct val="100000"/>
                </a:lnSpc>
                <a:spcBef>
                  <a:spcPts val="0"/>
                </a:spcBef>
                <a:spcAft>
                  <a:spcPts val="0"/>
                </a:spcAft>
                <a:buClrTx/>
                <a:buSzTx/>
                <a:buFontTx/>
                <a:buNone/>
                <a:defRPr kumimoji="0" sz="2400" b="1" i="0" u="none" strike="noStrike" cap="none" spc="0" normalizeH="0" baseline="0">
                  <a:ln>
                    <a:noFill/>
                  </a:ln>
                  <a:gradFill>
                    <a:gsLst>
                      <a:gs pos="100000">
                        <a:srgbClr val="F9C235"/>
                      </a:gs>
                      <a:gs pos="50000">
                        <a:srgbClr val="E43F1C"/>
                      </a:gs>
                    </a:gsLst>
                    <a:lin ang="5400000" scaled="0"/>
                  </a:gradFill>
                  <a:effectLst/>
                  <a:uLnTx/>
                  <a:uFillTx/>
                  <a:latin typeface="微软雅黑" panose="020B0503020204020204" pitchFamily="34" charset="-122"/>
                  <a:ea typeface="微软雅黑" panose="020B0503020204020204" pitchFamily="34" charset="-122"/>
                </a:defRPr>
              </a:lvl1pPr>
            </a:lstStyle>
            <a:p>
              <a:pPr marL="0" marR="0" lvl="0" indent="0" algn="l" defTabSz="457200" rtl="0" eaLnBrk="1" fontAlgn="auto" latinLnBrk="0" hangingPunct="1">
                <a:lnSpc>
                  <a:spcPct val="100000"/>
                </a:lnSpc>
                <a:spcBef>
                  <a:spcPts val="0"/>
                </a:spcBef>
                <a:spcAft>
                  <a:spcPts val="0"/>
                </a:spcAft>
                <a:buClrTx/>
                <a:buSzTx/>
                <a:buFontTx/>
                <a:buNone/>
                <a:defRPr/>
              </a:pPr>
              <a:r>
                <a:rPr lang="zh-CN" altLang="en-US" dirty="0">
                  <a:solidFill>
                    <a:schemeClr val="bg1"/>
                  </a:solidFill>
                  <a:sym typeface="微软雅黑" panose="020B0503020204020204" pitchFamily="34" charset="-122"/>
                </a:rPr>
                <a:t>公平性</a:t>
              </a:r>
              <a:endParaRPr kumimoji="0" lang="zh-CN" altLang="en-US" sz="3200" b="1" i="0" u="none" strike="noStrike" kern="1200" cap="none" spc="0" normalizeH="0" baseline="0" noProof="0" dirty="0">
                <a:ln>
                  <a:noFill/>
                </a:ln>
                <a:solidFill>
                  <a:schemeClr val="bg1"/>
                </a:solidFill>
                <a:effectLst/>
                <a:uLnTx/>
                <a:uFillTx/>
                <a:sym typeface="微软雅黑" panose="020B0503020204020204" pitchFamily="34" charset="-122"/>
              </a:endParaRPr>
            </a:p>
          </p:txBody>
        </p:sp>
        <p:sp>
          <p:nvSpPr>
            <p:cNvPr id="50" name="矩形: 圆角 83">
              <a:extLst>
                <a:ext uri="{FF2B5EF4-FFF2-40B4-BE49-F238E27FC236}">
                  <a16:creationId xmlns:a16="http://schemas.microsoft.com/office/drawing/2014/main" id="{825283A8-7E1A-4BE9-B293-C766FF2DBF60}"/>
                </a:ext>
              </a:extLst>
            </p:cNvPr>
            <p:cNvSpPr/>
            <p:nvPr/>
          </p:nvSpPr>
          <p:spPr>
            <a:xfrm>
              <a:off x="2277162" y="4307172"/>
              <a:ext cx="767224" cy="767224"/>
            </a:xfrm>
            <a:prstGeom prst="roundRect">
              <a:avLst>
                <a:gd name="adj" fmla="val 50000"/>
              </a:avLst>
            </a:prstGeom>
            <a:solidFill>
              <a:schemeClr val="bg1"/>
            </a:solidFill>
            <a:ln w="12700" cap="flat" cmpd="sng" algn="ctr">
              <a:noFill/>
              <a:prstDash val="solid"/>
              <a:miter lim="800000"/>
            </a:ln>
            <a:effectLst>
              <a:outerShdw blurRad="63500" sx="102000" sy="102000" algn="ctr" rotWithShape="0">
                <a:schemeClr val="accent1">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rPr>
                <a:t>05</a:t>
              </a:r>
              <a:endParaRPr kumimoji="0" lang="zh-CN" altLang="en-US" sz="2000" b="1" i="0" u="none" strike="noStrike" kern="1200" cap="none" spc="0" normalizeH="0" baseline="0" noProof="0" dirty="0">
                <a:ln>
                  <a:noFill/>
                </a:ln>
                <a:solidFill>
                  <a:schemeClr val="tx1"/>
                </a:solidFill>
                <a:effectLst/>
                <a:uLnTx/>
                <a:uFillTx/>
                <a:latin typeface="微软雅黑" panose="020B0503020204020204" pitchFamily="34" charset="-122"/>
                <a:ea typeface="微软雅黑" panose="020B0503020204020204" pitchFamily="34" charset="-122"/>
                <a:sym typeface="微软雅黑" panose="020B0503020204020204" pitchFamily="34" charset="-122"/>
              </a:endParaRPr>
            </a:p>
          </p:txBody>
        </p:sp>
      </p:grpSp>
      <p:sp>
        <p:nvSpPr>
          <p:cNvPr id="33" name="灯片编号占位符 3">
            <a:extLst>
              <a:ext uri="{FF2B5EF4-FFF2-40B4-BE49-F238E27FC236}">
                <a16:creationId xmlns:a16="http://schemas.microsoft.com/office/drawing/2014/main" id="{35315D2E-79CE-4BB5-BC1F-444CBCBBD670}"/>
              </a:ext>
            </a:extLst>
          </p:cNvPr>
          <p:cNvSpPr txBox="1">
            <a:spLocks/>
          </p:cNvSpPr>
          <p:nvPr/>
        </p:nvSpPr>
        <p:spPr>
          <a:xfrm>
            <a:off x="11673792" y="6356961"/>
            <a:ext cx="518208"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fld id="{D6F24B0C-7668-4973-8E6C-4D4CB7EF0CEB}" type="slidenum">
              <a:rPr lang="en-US" sz="1600" b="1" smtClean="0">
                <a:solidFill>
                  <a:schemeClr val="bg1"/>
                </a:solidFill>
                <a:latin typeface="Arial" panose="020B0604020202020204" pitchFamily="34" charset="0"/>
                <a:cs typeface="Arial" panose="020B0604020202020204" pitchFamily="34" charset="0"/>
              </a:rPr>
              <a:pPr algn="ctr" defTabSz="457200">
                <a:defRPr/>
              </a:pPr>
              <a:t>2</a:t>
            </a:fld>
            <a:endParaRPr lang="en-US" sz="1600" b="1" dirty="0">
              <a:solidFill>
                <a:schemeClr val="bg1"/>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6616432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BF6C2FCA-0FE2-4A12-A494-932593D03A31}"/>
              </a:ext>
            </a:extLst>
          </p:cNvPr>
          <p:cNvGrpSpPr/>
          <p:nvPr/>
        </p:nvGrpSpPr>
        <p:grpSpPr>
          <a:xfrm>
            <a:off x="1224950" y="-30133"/>
            <a:ext cx="9609827" cy="594701"/>
            <a:chOff x="1224950" y="264034"/>
            <a:chExt cx="9609827" cy="594701"/>
          </a:xfrm>
        </p:grpSpPr>
        <p:sp>
          <p:nvSpPr>
            <p:cNvPr id="4" name="文本框 17">
              <a:extLst>
                <a:ext uri="{FF2B5EF4-FFF2-40B4-BE49-F238E27FC236}">
                  <a16:creationId xmlns:a16="http://schemas.microsoft.com/office/drawing/2014/main" id="{70AF8CA1-3920-4E90-B488-563A3CF1755A}"/>
                </a:ext>
              </a:extLst>
            </p:cNvPr>
            <p:cNvSpPr txBox="1"/>
            <p:nvPr/>
          </p:nvSpPr>
          <p:spPr>
            <a:xfrm>
              <a:off x="3305714" y="264034"/>
              <a:ext cx="544830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gradFill>
                      <a:gsLst>
                        <a:gs pos="0">
                          <a:srgbClr val="E4401D"/>
                        </a:gs>
                        <a:gs pos="88000">
                          <a:srgbClr val="F9C235">
                            <a:alpha val="0"/>
                          </a:srgbClr>
                        </a:gs>
                      </a:gsLst>
                      <a:lin ang="5400000" scaled="1"/>
                    </a:gradFill>
                  </a:ln>
                  <a:solidFill>
                    <a:srgbClr val="B8075F"/>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rPr>
                <a:t>01</a:t>
              </a:r>
              <a:endParaRPr kumimoji="0" lang="zh-CN" altLang="en-US" sz="2000" b="1" i="0" u="none" strike="noStrike" kern="1200" cap="none" spc="0" normalizeH="0" baseline="0" noProof="0" dirty="0">
                <a:ln>
                  <a:gradFill>
                    <a:gsLst>
                      <a:gs pos="0">
                        <a:srgbClr val="E4401D"/>
                      </a:gs>
                      <a:gs pos="88000">
                        <a:srgbClr val="F9C235">
                          <a:alpha val="0"/>
                        </a:srgbClr>
                      </a:gs>
                    </a:gsLst>
                    <a:lin ang="5400000" scaled="1"/>
                  </a:gradFill>
                </a:ln>
                <a:solidFill>
                  <a:srgbClr val="B8075F"/>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endParaRPr>
            </a:p>
          </p:txBody>
        </p:sp>
        <p:grpSp>
          <p:nvGrpSpPr>
            <p:cNvPr id="5" name="组合 4">
              <a:extLst>
                <a:ext uri="{FF2B5EF4-FFF2-40B4-BE49-F238E27FC236}">
                  <a16:creationId xmlns:a16="http://schemas.microsoft.com/office/drawing/2014/main" id="{E97882E2-1056-478B-A6C8-0FC9CF87DDAB}"/>
                </a:ext>
              </a:extLst>
            </p:cNvPr>
            <p:cNvGrpSpPr/>
            <p:nvPr/>
          </p:nvGrpSpPr>
          <p:grpSpPr>
            <a:xfrm>
              <a:off x="1224950" y="612514"/>
              <a:ext cx="9609827" cy="246221"/>
              <a:chOff x="607784" y="3416099"/>
              <a:chExt cx="10976432" cy="246221"/>
            </a:xfrm>
          </p:grpSpPr>
          <p:sp>
            <p:nvSpPr>
              <p:cNvPr id="10" name="文本框 14">
                <a:extLst>
                  <a:ext uri="{FF2B5EF4-FFF2-40B4-BE49-F238E27FC236}">
                    <a16:creationId xmlns:a16="http://schemas.microsoft.com/office/drawing/2014/main" id="{B48B34F4-2CDC-4BD5-9FBE-E6DD4E500C95}"/>
                  </a:ext>
                </a:extLst>
              </p:cNvPr>
              <p:cNvSpPr txBox="1"/>
              <p:nvPr/>
            </p:nvSpPr>
            <p:spPr>
              <a:xfrm>
                <a:off x="5282246" y="3416099"/>
                <a:ext cx="1669840" cy="246221"/>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300" normalizeH="0" baseline="0" noProof="0" dirty="0">
                    <a:ln>
                      <a:noFill/>
                    </a:ln>
                    <a:solidFill>
                      <a:srgbClr val="B8075F"/>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rPr>
                  <a:t>药品基本信息</a:t>
                </a:r>
              </a:p>
            </p:txBody>
          </p:sp>
          <p:cxnSp>
            <p:nvCxnSpPr>
              <p:cNvPr id="7" name="直接连接符 18">
                <a:extLst>
                  <a:ext uri="{FF2B5EF4-FFF2-40B4-BE49-F238E27FC236}">
                    <a16:creationId xmlns:a16="http://schemas.microsoft.com/office/drawing/2014/main" id="{319E4C12-2D6A-4396-B209-AD7042258E75}"/>
                  </a:ext>
                </a:extLst>
              </p:cNvPr>
              <p:cNvCxnSpPr>
                <a:cxnSpLocks/>
              </p:cNvCxnSpPr>
              <p:nvPr/>
            </p:nvCxnSpPr>
            <p:spPr>
              <a:xfrm>
                <a:off x="8506916" y="3571981"/>
                <a:ext cx="3077300" cy="0"/>
              </a:xfrm>
              <a:prstGeom prst="line">
                <a:avLst/>
              </a:prstGeom>
              <a:ln w="15875">
                <a:solidFill>
                  <a:srgbClr val="E4401D"/>
                </a:solidFill>
              </a:ln>
            </p:spPr>
            <p:style>
              <a:lnRef idx="1">
                <a:schemeClr val="accent1"/>
              </a:lnRef>
              <a:fillRef idx="0">
                <a:schemeClr val="accent1"/>
              </a:fillRef>
              <a:effectRef idx="0">
                <a:schemeClr val="accent1"/>
              </a:effectRef>
              <a:fontRef idx="minor">
                <a:schemeClr val="tx1"/>
              </a:fontRef>
            </p:style>
          </p:cxnSp>
          <p:cxnSp>
            <p:nvCxnSpPr>
              <p:cNvPr id="8" name="直接连接符 19">
                <a:extLst>
                  <a:ext uri="{FF2B5EF4-FFF2-40B4-BE49-F238E27FC236}">
                    <a16:creationId xmlns:a16="http://schemas.microsoft.com/office/drawing/2014/main" id="{DB6F2750-24F1-442D-8097-4BF745283B0D}"/>
                  </a:ext>
                </a:extLst>
              </p:cNvPr>
              <p:cNvCxnSpPr>
                <a:cxnSpLocks/>
              </p:cNvCxnSpPr>
              <p:nvPr/>
            </p:nvCxnSpPr>
            <p:spPr>
              <a:xfrm>
                <a:off x="607784" y="3571981"/>
                <a:ext cx="2929046" cy="0"/>
              </a:xfrm>
              <a:prstGeom prst="line">
                <a:avLst/>
              </a:prstGeom>
              <a:ln w="15875">
                <a:solidFill>
                  <a:srgbClr val="E4401D"/>
                </a:solidFill>
              </a:ln>
            </p:spPr>
            <p:style>
              <a:lnRef idx="1">
                <a:schemeClr val="accent1"/>
              </a:lnRef>
              <a:fillRef idx="0">
                <a:schemeClr val="accent1"/>
              </a:fillRef>
              <a:effectRef idx="0">
                <a:schemeClr val="accent1"/>
              </a:effectRef>
              <a:fontRef idx="minor">
                <a:schemeClr val="tx1"/>
              </a:fontRef>
            </p:style>
          </p:cxnSp>
        </p:grpSp>
      </p:grpSp>
      <p:sp>
        <p:nvSpPr>
          <p:cNvPr id="131" name="文本框 130">
            <a:extLst>
              <a:ext uri="{FF2B5EF4-FFF2-40B4-BE49-F238E27FC236}">
                <a16:creationId xmlns:a16="http://schemas.microsoft.com/office/drawing/2014/main" id="{736159D8-B604-43D7-8112-0E13816102D6}"/>
              </a:ext>
            </a:extLst>
          </p:cNvPr>
          <p:cNvSpPr txBox="1"/>
          <p:nvPr/>
        </p:nvSpPr>
        <p:spPr>
          <a:xfrm>
            <a:off x="4469598" y="5777383"/>
            <a:ext cx="6097603" cy="525465"/>
          </a:xfrm>
          <a:prstGeom prst="rect">
            <a:avLst/>
          </a:prstGeom>
          <a:noFill/>
        </p:spPr>
        <p:txBody>
          <a:bodyPr wrap="square">
            <a:spAutoFit/>
          </a:bodyPr>
          <a:lstStyle/>
          <a:p>
            <a:pPr>
              <a:lnSpc>
                <a:spcPct val="130000"/>
              </a:lnSpc>
            </a:pPr>
            <a:r>
              <a:rPr lang="zh-CN" altLang="en-US" sz="2400" b="1" dirty="0">
                <a:latin typeface="Times New Roman" panose="02020603050405020304" pitchFamily="18" charset="0"/>
                <a:ea typeface="微软雅黑" panose="020B0503020204020204" pitchFamily="34" charset="-122"/>
                <a:cs typeface="Times New Roman" panose="02020603050405020304" pitchFamily="18" charset="0"/>
              </a:rPr>
              <a:t>本次申请新增适应症，即平稳转换适应症</a:t>
            </a:r>
            <a:endParaRPr lang="en-US" sz="2400" b="1"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32" name="文本框 131">
            <a:extLst>
              <a:ext uri="{FF2B5EF4-FFF2-40B4-BE49-F238E27FC236}">
                <a16:creationId xmlns:a16="http://schemas.microsoft.com/office/drawing/2014/main" id="{73E28417-E957-42D1-8961-3BC8826A1E7D}"/>
              </a:ext>
            </a:extLst>
          </p:cNvPr>
          <p:cNvSpPr txBox="1"/>
          <p:nvPr/>
        </p:nvSpPr>
        <p:spPr>
          <a:xfrm>
            <a:off x="405878" y="6451083"/>
            <a:ext cx="6097604" cy="215444"/>
          </a:xfrm>
          <a:prstGeom prst="rect">
            <a:avLst/>
          </a:prstGeom>
          <a:noFill/>
        </p:spPr>
        <p:txBody>
          <a:bodyPr wrap="square">
            <a:spAutoFit/>
          </a:bodyPr>
          <a:lstStyle/>
          <a:p>
            <a:r>
              <a:rPr lang="en-US" altLang="zh-CN" sz="8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1. </a:t>
            </a:r>
            <a:r>
              <a:rPr lang="zh-CN" altLang="en-US" sz="8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拉米夫定多替拉韦片说明书</a:t>
            </a:r>
            <a:endParaRPr lang="en-US" sz="8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6" name="矩形: 圆角 5">
            <a:extLst>
              <a:ext uri="{FF2B5EF4-FFF2-40B4-BE49-F238E27FC236}">
                <a16:creationId xmlns:a16="http://schemas.microsoft.com/office/drawing/2014/main" id="{06C667C5-0688-49BB-9C17-01D06037AB51}"/>
              </a:ext>
            </a:extLst>
          </p:cNvPr>
          <p:cNvSpPr/>
          <p:nvPr/>
        </p:nvSpPr>
        <p:spPr>
          <a:xfrm>
            <a:off x="3586480" y="4836159"/>
            <a:ext cx="8422640" cy="746629"/>
          </a:xfrm>
          <a:prstGeom prst="roundRect">
            <a:avLst/>
          </a:prstGeom>
          <a:ln w="31750"/>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2" name="箭头: 下 11">
            <a:extLst>
              <a:ext uri="{FF2B5EF4-FFF2-40B4-BE49-F238E27FC236}">
                <a16:creationId xmlns:a16="http://schemas.microsoft.com/office/drawing/2014/main" id="{47C339F5-B6C9-4800-8E1E-94EF1F0FA6AD}"/>
              </a:ext>
            </a:extLst>
          </p:cNvPr>
          <p:cNvSpPr/>
          <p:nvPr/>
        </p:nvSpPr>
        <p:spPr>
          <a:xfrm>
            <a:off x="7020560" y="5594116"/>
            <a:ext cx="650240" cy="287520"/>
          </a:xfrm>
          <a:prstGeom prst="downArrow">
            <a:avLst/>
          </a:prstGeom>
          <a:noFill/>
          <a:ln w="6350">
            <a:solidFill>
              <a:srgbClr val="D25E9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0" name="Table 12">
            <a:extLst>
              <a:ext uri="{FF2B5EF4-FFF2-40B4-BE49-F238E27FC236}">
                <a16:creationId xmlns:a16="http://schemas.microsoft.com/office/drawing/2014/main" id="{CE4C1641-554E-4439-9985-19DDEB1D8A38}"/>
              </a:ext>
            </a:extLst>
          </p:cNvPr>
          <p:cNvGraphicFramePr>
            <a:graphicFrameLocks noGrp="1"/>
          </p:cNvGraphicFramePr>
          <p:nvPr>
            <p:extLst>
              <p:ext uri="{D42A27DB-BD31-4B8C-83A1-F6EECF244321}">
                <p14:modId xmlns:p14="http://schemas.microsoft.com/office/powerpoint/2010/main" val="685872456"/>
              </p:ext>
            </p:extLst>
          </p:nvPr>
        </p:nvGraphicFramePr>
        <p:xfrm>
          <a:off x="250952" y="578482"/>
          <a:ext cx="11768328" cy="5015623"/>
        </p:xfrm>
        <a:graphic>
          <a:graphicData uri="http://schemas.openxmlformats.org/drawingml/2006/table">
            <a:tbl>
              <a:tblPr firstRow="1" firstCol="1" lastRow="1" lastCol="1" bandRow="1" bandCol="1"/>
              <a:tblGrid>
                <a:gridCol w="3324142">
                  <a:extLst>
                    <a:ext uri="{9D8B030D-6E8A-4147-A177-3AD203B41FA5}">
                      <a16:colId xmlns:a16="http://schemas.microsoft.com/office/drawing/2014/main" val="2917810121"/>
                    </a:ext>
                  </a:extLst>
                </a:gridCol>
                <a:gridCol w="8444186">
                  <a:extLst>
                    <a:ext uri="{9D8B030D-6E8A-4147-A177-3AD203B41FA5}">
                      <a16:colId xmlns:a16="http://schemas.microsoft.com/office/drawing/2014/main" val="2926647669"/>
                    </a:ext>
                  </a:extLst>
                </a:gridCol>
              </a:tblGrid>
              <a:tr h="34444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defTabSz="914400" rtl="0" eaLnBrk="1" latinLnBrk="0" hangingPunct="1">
                        <a:spcBef>
                          <a:spcPts val="300"/>
                        </a:spcBef>
                        <a:spcAft>
                          <a:spcPts val="0"/>
                        </a:spcAft>
                      </a:pPr>
                      <a:r>
                        <a:rPr lang="zh-CN" altLang="en-US" sz="1200" b="1" kern="1200" dirty="0">
                          <a:solidFill>
                            <a:srgbClr val="B8075F"/>
                          </a:solidFill>
                          <a:effectLst/>
                          <a:latin typeface="Times New Roman" panose="02020603050405020304" pitchFamily="18" charset="0"/>
                          <a:ea typeface="微软雅黑" panose="020B0503020204020204" pitchFamily="34" charset="-122"/>
                          <a:cs typeface="Times New Roman" panose="02020603050405020304" pitchFamily="18" charset="0"/>
                        </a:rPr>
                        <a:t>通用名</a:t>
                      </a:r>
                      <a:endParaRPr lang="en-US" sz="1200" b="1" kern="1200" dirty="0">
                        <a:solidFill>
                          <a:srgbClr val="B8075F"/>
                        </a:solidFill>
                        <a:effectLst/>
                        <a:latin typeface="Times New Roman" panose="02020603050405020304" pitchFamily="18" charset="0"/>
                        <a:ea typeface="微软雅黑" panose="020B0503020204020204" pitchFamily="34" charset="-122"/>
                        <a:cs typeface="Times New Roman" panose="02020603050405020304" pitchFamily="18" charset="0"/>
                      </a:endParaRPr>
                    </a:p>
                  </a:txBody>
                  <a:tcPr anchor="ctr">
                    <a:lnL w="6350" cap="flat" cmpd="sng" algn="ctr">
                      <a:solidFill>
                        <a:srgbClr val="544F40">
                          <a:lumMod val="50000"/>
                        </a:srgbClr>
                      </a:solidFill>
                      <a:prstDash val="solid"/>
                      <a:round/>
                      <a:headEnd type="none" w="med" len="med"/>
                      <a:tailEnd type="none" w="med" len="med"/>
                    </a:lnL>
                    <a:lnR w="6350" cap="flat" cmpd="sng" algn="ctr">
                      <a:solidFill>
                        <a:srgbClr val="544F40">
                          <a:lumMod val="50000"/>
                        </a:srgbClr>
                      </a:solidFill>
                      <a:prstDash val="solid"/>
                      <a:round/>
                      <a:headEnd type="none" w="med" len="med"/>
                      <a:tailEnd type="none" w="med" len="med"/>
                    </a:lnR>
                    <a:lnT w="6350" cap="flat" cmpd="sng" algn="ctr">
                      <a:solidFill>
                        <a:srgbClr val="544F40">
                          <a:lumMod val="50000"/>
                        </a:srgbClr>
                      </a:solidFill>
                      <a:prstDash val="solid"/>
                      <a:round/>
                      <a:headEnd type="none" w="med" len="med"/>
                      <a:tailEnd type="none" w="med" len="med"/>
                    </a:lnT>
                    <a:lnB w="6350" cap="flat" cmpd="sng" algn="ctr">
                      <a:solidFill>
                        <a:srgbClr val="544F4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just">
                        <a:spcBef>
                          <a:spcPts val="300"/>
                        </a:spcBef>
                        <a:spcAft>
                          <a:spcPts val="0"/>
                        </a:spcAft>
                      </a:pPr>
                      <a:r>
                        <a:rPr lang="zh-CN" altLang="en-US" sz="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拉米夫定多替拉韦片</a:t>
                      </a:r>
                      <a:endParaRPr lang="en-US" sz="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endParaRPr>
                    </a:p>
                  </a:txBody>
                  <a:tcPr anchor="ctr">
                    <a:lnL w="6350" cap="flat" cmpd="sng" algn="ctr">
                      <a:solidFill>
                        <a:srgbClr val="544F40">
                          <a:lumMod val="50000"/>
                        </a:srgbClr>
                      </a:solidFill>
                      <a:prstDash val="solid"/>
                      <a:round/>
                      <a:headEnd type="none" w="med" len="med"/>
                      <a:tailEnd type="none" w="med" len="med"/>
                    </a:lnL>
                    <a:lnR w="6350" cap="flat" cmpd="sng" algn="ctr">
                      <a:solidFill>
                        <a:srgbClr val="544F40">
                          <a:lumMod val="50000"/>
                        </a:srgbClr>
                      </a:solidFill>
                      <a:prstDash val="solid"/>
                      <a:round/>
                      <a:headEnd type="none" w="med" len="med"/>
                      <a:tailEnd type="none" w="med" len="med"/>
                    </a:lnR>
                    <a:lnT w="6350" cap="flat" cmpd="sng" algn="ctr">
                      <a:solidFill>
                        <a:srgbClr val="544F40">
                          <a:lumMod val="50000"/>
                        </a:srgbClr>
                      </a:solidFill>
                      <a:prstDash val="solid"/>
                      <a:round/>
                      <a:headEnd type="none" w="med" len="med"/>
                      <a:tailEnd type="none" w="med" len="med"/>
                    </a:lnT>
                    <a:lnB w="6350" cap="flat" cmpd="sng" algn="ctr">
                      <a:solidFill>
                        <a:srgbClr val="544F40">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9654802"/>
                  </a:ext>
                </a:extLst>
              </a:tr>
              <a:tr h="34444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defTabSz="914400" rtl="0" eaLnBrk="1" latinLnBrk="0" hangingPunct="1">
                        <a:spcBef>
                          <a:spcPts val="300"/>
                        </a:spcBef>
                        <a:spcAft>
                          <a:spcPts val="0"/>
                        </a:spcAft>
                      </a:pPr>
                      <a:r>
                        <a:rPr lang="zh-CN" altLang="en-US" sz="1200" b="1" kern="1200" dirty="0">
                          <a:solidFill>
                            <a:srgbClr val="B8075F"/>
                          </a:solidFill>
                          <a:effectLst/>
                          <a:latin typeface="Times New Roman" panose="02020603050405020304" pitchFamily="18" charset="0"/>
                          <a:ea typeface="微软雅黑" panose="020B0503020204020204" pitchFamily="34" charset="-122"/>
                          <a:cs typeface="Times New Roman" panose="02020603050405020304" pitchFamily="18" charset="0"/>
                        </a:rPr>
                        <a:t>注册规格</a:t>
                      </a:r>
                      <a:r>
                        <a:rPr lang="en-US" sz="1200" b="1" kern="1200" dirty="0">
                          <a:solidFill>
                            <a:srgbClr val="B8075F"/>
                          </a:solidFill>
                          <a:effectLst/>
                          <a:latin typeface="Times New Roman" panose="02020603050405020304" pitchFamily="18" charset="0"/>
                          <a:ea typeface="微软雅黑" panose="020B0503020204020204" pitchFamily="34" charset="-122"/>
                          <a:cs typeface="Times New Roman" panose="02020603050405020304" pitchFamily="18" charset="0"/>
                        </a:rPr>
                        <a:t>  </a:t>
                      </a:r>
                    </a:p>
                  </a:txBody>
                  <a:tcPr anchor="ctr">
                    <a:lnL w="6350" cap="flat" cmpd="sng" algn="ctr">
                      <a:solidFill>
                        <a:srgbClr val="544F40">
                          <a:lumMod val="50000"/>
                        </a:srgbClr>
                      </a:solidFill>
                      <a:prstDash val="solid"/>
                      <a:round/>
                      <a:headEnd type="none" w="med" len="med"/>
                      <a:tailEnd type="none" w="med" len="med"/>
                    </a:lnL>
                    <a:lnR w="6350" cap="flat" cmpd="sng" algn="ctr">
                      <a:solidFill>
                        <a:srgbClr val="544F40">
                          <a:lumMod val="50000"/>
                        </a:srgbClr>
                      </a:solidFill>
                      <a:prstDash val="solid"/>
                      <a:round/>
                      <a:headEnd type="none" w="med" len="med"/>
                      <a:tailEnd type="none" w="med" len="med"/>
                    </a:lnR>
                    <a:lnT w="6350" cap="flat" cmpd="sng" algn="ctr">
                      <a:solidFill>
                        <a:srgbClr val="544F40">
                          <a:lumMod val="50000"/>
                        </a:srgbClr>
                      </a:solidFill>
                      <a:prstDash val="solid"/>
                      <a:round/>
                      <a:headEnd type="none" w="med" len="med"/>
                      <a:tailEnd type="none" w="med" len="med"/>
                    </a:lnT>
                    <a:lnB w="6350" cap="flat" cmpd="sng" algn="ctr">
                      <a:solidFill>
                        <a:srgbClr val="544F4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just">
                        <a:spcBef>
                          <a:spcPts val="300"/>
                        </a:spcBef>
                        <a:spcAft>
                          <a:spcPts val="0"/>
                        </a:spcAft>
                      </a:pPr>
                      <a:r>
                        <a:rPr lang="zh-CN" altLang="en-US" sz="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每片含拉米夫定</a:t>
                      </a:r>
                      <a:r>
                        <a:rPr lang="en-US" altLang="zh-CN" sz="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300mg</a:t>
                      </a:r>
                      <a:r>
                        <a:rPr lang="zh-CN" altLang="en-US" sz="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和多替拉韦钠（以多替拉韦计）</a:t>
                      </a:r>
                      <a:r>
                        <a:rPr lang="en-US" altLang="zh-CN" sz="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50mg</a:t>
                      </a:r>
                      <a:r>
                        <a:rPr lang="zh-CN" altLang="en-US" sz="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30</a:t>
                      </a:r>
                      <a:r>
                        <a:rPr lang="zh-CN" altLang="en-US" sz="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片</a:t>
                      </a:r>
                      <a:r>
                        <a:rPr lang="en-US" altLang="zh-CN" sz="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瓶。</a:t>
                      </a:r>
                      <a:endParaRPr lang="en-US" sz="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endParaRPr>
                    </a:p>
                  </a:txBody>
                  <a:tcPr anchor="ctr">
                    <a:lnL w="6350" cap="flat" cmpd="sng" algn="ctr">
                      <a:solidFill>
                        <a:srgbClr val="544F40">
                          <a:lumMod val="50000"/>
                        </a:srgbClr>
                      </a:solidFill>
                      <a:prstDash val="solid"/>
                      <a:round/>
                      <a:headEnd type="none" w="med" len="med"/>
                      <a:tailEnd type="none" w="med" len="med"/>
                    </a:lnL>
                    <a:lnR w="6350" cap="flat" cmpd="sng" algn="ctr">
                      <a:solidFill>
                        <a:srgbClr val="544F40">
                          <a:lumMod val="50000"/>
                        </a:srgbClr>
                      </a:solidFill>
                      <a:prstDash val="solid"/>
                      <a:round/>
                      <a:headEnd type="none" w="med" len="med"/>
                      <a:tailEnd type="none" w="med" len="med"/>
                    </a:lnR>
                    <a:lnT w="6350" cap="flat" cmpd="sng" algn="ctr">
                      <a:solidFill>
                        <a:srgbClr val="544F40">
                          <a:lumMod val="50000"/>
                        </a:srgbClr>
                      </a:solidFill>
                      <a:prstDash val="solid"/>
                      <a:round/>
                      <a:headEnd type="none" w="med" len="med"/>
                      <a:tailEnd type="none" w="med" len="med"/>
                    </a:lnT>
                    <a:lnB w="6350" cap="flat" cmpd="sng" algn="ctr">
                      <a:solidFill>
                        <a:srgbClr val="544F40">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4848300"/>
                  </a:ext>
                </a:extLst>
              </a:tr>
              <a:tr h="344444">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ctr" defTabSz="914400" rtl="0" eaLnBrk="1" latinLnBrk="0" hangingPunct="1">
                        <a:spcBef>
                          <a:spcPts val="300"/>
                        </a:spcBef>
                        <a:spcAft>
                          <a:spcPts val="0"/>
                        </a:spcAft>
                      </a:pPr>
                      <a:r>
                        <a:rPr lang="zh-CN" altLang="en-US" sz="1200" b="1" kern="1200" dirty="0">
                          <a:solidFill>
                            <a:srgbClr val="B8075F"/>
                          </a:solidFill>
                          <a:effectLst/>
                          <a:latin typeface="Times New Roman" panose="02020603050405020304" pitchFamily="18" charset="0"/>
                          <a:ea typeface="微软雅黑" panose="020B0503020204020204" pitchFamily="34" charset="-122"/>
                          <a:cs typeface="Times New Roman" panose="02020603050405020304" pitchFamily="18" charset="0"/>
                        </a:rPr>
                        <a:t>中国大陆首次上市时间</a:t>
                      </a:r>
                      <a:r>
                        <a:rPr lang="en-US" sz="1200" b="1" kern="1200" dirty="0">
                          <a:solidFill>
                            <a:srgbClr val="B8075F"/>
                          </a:solidFill>
                          <a:effectLst/>
                          <a:latin typeface="Times New Roman" panose="02020603050405020304" pitchFamily="18" charset="0"/>
                          <a:ea typeface="微软雅黑" panose="020B0503020204020204" pitchFamily="34" charset="-122"/>
                          <a:cs typeface="Times New Roman" panose="02020603050405020304" pitchFamily="18" charset="0"/>
                        </a:rPr>
                        <a:t>  </a:t>
                      </a:r>
                    </a:p>
                  </a:txBody>
                  <a:tcPr anchor="ctr">
                    <a:lnL w="6350" cap="flat" cmpd="sng" algn="ctr">
                      <a:solidFill>
                        <a:srgbClr val="544F40">
                          <a:lumMod val="50000"/>
                        </a:srgbClr>
                      </a:solidFill>
                      <a:prstDash val="solid"/>
                      <a:round/>
                      <a:headEnd type="none" w="med" len="med"/>
                      <a:tailEnd type="none" w="med" len="med"/>
                    </a:lnL>
                    <a:lnR w="6350" cap="flat" cmpd="sng" algn="ctr">
                      <a:solidFill>
                        <a:srgbClr val="544F40">
                          <a:lumMod val="50000"/>
                        </a:srgbClr>
                      </a:solidFill>
                      <a:prstDash val="solid"/>
                      <a:round/>
                      <a:headEnd type="none" w="med" len="med"/>
                      <a:tailEnd type="none" w="med" len="med"/>
                    </a:lnR>
                    <a:lnT w="6350" cap="flat" cmpd="sng" algn="ctr">
                      <a:solidFill>
                        <a:srgbClr val="544F40">
                          <a:lumMod val="50000"/>
                        </a:srgbClr>
                      </a:solidFill>
                      <a:prstDash val="solid"/>
                      <a:round/>
                      <a:headEnd type="none" w="med" len="med"/>
                      <a:tailEnd type="none" w="med" len="med"/>
                    </a:lnT>
                    <a:lnB w="6350" cap="flat" cmpd="sng" algn="ctr">
                      <a:solidFill>
                        <a:srgbClr val="544F4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just">
                        <a:spcBef>
                          <a:spcPts val="300"/>
                        </a:spcBef>
                        <a:spcAft>
                          <a:spcPts val="0"/>
                        </a:spcAft>
                      </a:pPr>
                      <a:r>
                        <a:rPr lang="en-US" sz="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20</a:t>
                      </a:r>
                      <a:r>
                        <a:rPr lang="en-US" altLang="zh-CN" sz="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21</a:t>
                      </a:r>
                      <a:r>
                        <a:rPr lang="zh-CN" sz="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年</a:t>
                      </a:r>
                      <a:r>
                        <a:rPr lang="en-US" altLang="zh-CN" sz="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3</a:t>
                      </a:r>
                      <a:r>
                        <a:rPr lang="zh-CN" sz="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月</a:t>
                      </a:r>
                      <a:endParaRPr lang="en-US" sz="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endParaRPr>
                    </a:p>
                  </a:txBody>
                  <a:tcPr anchor="ctr">
                    <a:lnL w="6350" cap="flat" cmpd="sng" algn="ctr">
                      <a:solidFill>
                        <a:srgbClr val="544F40">
                          <a:lumMod val="50000"/>
                        </a:srgbClr>
                      </a:solidFill>
                      <a:prstDash val="solid"/>
                      <a:round/>
                      <a:headEnd type="none" w="med" len="med"/>
                      <a:tailEnd type="none" w="med" len="med"/>
                    </a:lnL>
                    <a:lnR w="6350" cap="flat" cmpd="sng" algn="ctr">
                      <a:solidFill>
                        <a:srgbClr val="544F40">
                          <a:lumMod val="50000"/>
                        </a:srgbClr>
                      </a:solidFill>
                      <a:prstDash val="solid"/>
                      <a:round/>
                      <a:headEnd type="none" w="med" len="med"/>
                      <a:tailEnd type="none" w="med" len="med"/>
                    </a:lnR>
                    <a:lnT w="6350" cap="flat" cmpd="sng" algn="ctr">
                      <a:solidFill>
                        <a:srgbClr val="544F40">
                          <a:lumMod val="50000"/>
                        </a:srgbClr>
                      </a:solidFill>
                      <a:prstDash val="solid"/>
                      <a:round/>
                      <a:headEnd type="none" w="med" len="med"/>
                      <a:tailEnd type="none" w="med" len="med"/>
                    </a:lnT>
                    <a:lnB w="6350" cap="flat" cmpd="sng" algn="ctr">
                      <a:solidFill>
                        <a:srgbClr val="544F40">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74294881"/>
                  </a:ext>
                </a:extLst>
              </a:tr>
              <a:tr h="45014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300"/>
                        </a:spcBef>
                        <a:spcAft>
                          <a:spcPts val="0"/>
                        </a:spcAft>
                        <a:buClrTx/>
                        <a:buSzTx/>
                        <a:buFontTx/>
                        <a:buNone/>
                        <a:tabLst/>
                        <a:defRPr/>
                      </a:pPr>
                      <a:r>
                        <a:rPr lang="zh-CN" altLang="en-US" sz="1200" b="1" kern="1200" dirty="0">
                          <a:solidFill>
                            <a:srgbClr val="B8075F"/>
                          </a:solidFill>
                          <a:effectLst/>
                          <a:latin typeface="Times New Roman" panose="02020603050405020304" pitchFamily="18" charset="0"/>
                          <a:ea typeface="微软雅黑" panose="020B0503020204020204" pitchFamily="34" charset="-122"/>
                          <a:cs typeface="Times New Roman" panose="02020603050405020304" pitchFamily="18" charset="0"/>
                        </a:rPr>
                        <a:t>目前大陆地区同通用名药品的上市情况</a:t>
                      </a:r>
                    </a:p>
                  </a:txBody>
                  <a:tcPr anchor="ctr">
                    <a:lnL w="6350" cap="flat" cmpd="sng" algn="ctr">
                      <a:solidFill>
                        <a:srgbClr val="544F40">
                          <a:lumMod val="50000"/>
                        </a:srgbClr>
                      </a:solidFill>
                      <a:prstDash val="solid"/>
                      <a:round/>
                      <a:headEnd type="none" w="med" len="med"/>
                      <a:tailEnd type="none" w="med" len="med"/>
                    </a:lnL>
                    <a:lnR w="6350" cap="flat" cmpd="sng" algn="ctr">
                      <a:solidFill>
                        <a:srgbClr val="544F40">
                          <a:lumMod val="50000"/>
                        </a:srgbClr>
                      </a:solidFill>
                      <a:prstDash val="solid"/>
                      <a:round/>
                      <a:headEnd type="none" w="med" len="med"/>
                      <a:tailEnd type="none" w="med" len="med"/>
                    </a:lnR>
                    <a:lnT w="6350" cap="flat" cmpd="sng" algn="ctr">
                      <a:solidFill>
                        <a:srgbClr val="544F40">
                          <a:lumMod val="50000"/>
                        </a:srgbClr>
                      </a:solidFill>
                      <a:prstDash val="solid"/>
                      <a:round/>
                      <a:headEnd type="none" w="med" len="med"/>
                      <a:tailEnd type="none" w="med" len="med"/>
                    </a:lnT>
                    <a:lnB w="6350" cap="flat" cmpd="sng" algn="ctr">
                      <a:solidFill>
                        <a:srgbClr val="544F4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无其他同通用名药品</a:t>
                      </a:r>
                      <a:endParaRPr lang="en-US" sz="120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lnL w="6350" cap="flat" cmpd="sng" algn="ctr">
                      <a:solidFill>
                        <a:srgbClr val="544F40">
                          <a:lumMod val="50000"/>
                        </a:srgbClr>
                      </a:solidFill>
                      <a:prstDash val="solid"/>
                      <a:round/>
                      <a:headEnd type="none" w="med" len="med"/>
                      <a:tailEnd type="none" w="med" len="med"/>
                    </a:lnL>
                    <a:lnR w="6350" cap="flat" cmpd="sng" algn="ctr">
                      <a:solidFill>
                        <a:srgbClr val="544F40">
                          <a:lumMod val="50000"/>
                        </a:srgbClr>
                      </a:solidFill>
                      <a:prstDash val="solid"/>
                      <a:round/>
                      <a:headEnd type="none" w="med" len="med"/>
                      <a:tailEnd type="none" w="med" len="med"/>
                    </a:lnR>
                    <a:lnT w="6350" cap="flat" cmpd="sng" algn="ctr">
                      <a:solidFill>
                        <a:srgbClr val="544F40">
                          <a:lumMod val="50000"/>
                        </a:srgbClr>
                      </a:solidFill>
                      <a:prstDash val="solid"/>
                      <a:round/>
                      <a:headEnd type="none" w="med" len="med"/>
                      <a:tailEnd type="none" w="med" len="med"/>
                    </a:lnT>
                    <a:lnB w="6350" cap="flat" cmpd="sng" algn="ctr">
                      <a:solidFill>
                        <a:srgbClr val="544F40">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7872539"/>
                  </a:ext>
                </a:extLst>
              </a:tr>
              <a:tr h="382716">
                <a:tc>
                  <a:txBody>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lang="zh-CN" altLang="en-US" sz="1200" b="1" kern="1200" dirty="0">
                          <a:solidFill>
                            <a:srgbClr val="B8075F"/>
                          </a:solidFill>
                          <a:effectLst/>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全球首个上市国家</a:t>
                      </a:r>
                      <a:r>
                        <a:rPr lang="en-US" altLang="zh-CN" sz="1200" b="1" kern="1200" dirty="0">
                          <a:solidFill>
                            <a:srgbClr val="B8075F"/>
                          </a:solidFill>
                          <a:effectLst/>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a:t>
                      </a:r>
                      <a:r>
                        <a:rPr lang="zh-CN" altLang="en-US" sz="1200" b="1" kern="1200" dirty="0">
                          <a:solidFill>
                            <a:srgbClr val="B8075F"/>
                          </a:solidFill>
                          <a:effectLst/>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地区及上市时间</a:t>
                      </a:r>
                      <a:endParaRPr lang="en-US" altLang="zh-CN" sz="1200" b="1" kern="1200" dirty="0">
                        <a:solidFill>
                          <a:srgbClr val="B8075F"/>
                        </a:solidFill>
                        <a:effectLst/>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a:txBody>
                  <a:tcPr anchor="ctr">
                    <a:lnL w="6350" cap="flat" cmpd="sng" algn="ctr">
                      <a:solidFill>
                        <a:srgbClr val="544F40">
                          <a:lumMod val="50000"/>
                        </a:srgbClr>
                      </a:solidFill>
                      <a:prstDash val="solid"/>
                      <a:round/>
                      <a:headEnd type="none" w="med" len="med"/>
                      <a:tailEnd type="none" w="med" len="med"/>
                    </a:lnL>
                    <a:lnR w="6350" cap="flat" cmpd="sng" algn="ctr">
                      <a:solidFill>
                        <a:srgbClr val="544F40">
                          <a:lumMod val="50000"/>
                        </a:srgbClr>
                      </a:solidFill>
                      <a:prstDash val="solid"/>
                      <a:round/>
                      <a:headEnd type="none" w="med" len="med"/>
                      <a:tailEnd type="none" w="med" len="med"/>
                    </a:lnR>
                    <a:lnT w="6350" cap="flat" cmpd="sng" algn="ctr">
                      <a:solidFill>
                        <a:srgbClr val="544F40">
                          <a:lumMod val="50000"/>
                        </a:srgbClr>
                      </a:solidFill>
                      <a:prstDash val="solid"/>
                      <a:round/>
                      <a:headEnd type="none" w="med" len="med"/>
                      <a:tailEnd type="none" w="med" len="med"/>
                    </a:lnT>
                    <a:lnB w="6350" cap="flat" cmpd="sng" algn="ctr">
                      <a:solidFill>
                        <a:srgbClr val="544F4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美国，</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2019</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年</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4</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月</a:t>
                      </a:r>
                      <a:endParaRPr lang="en-US" sz="120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lnL w="6350" cap="flat" cmpd="sng" algn="ctr">
                      <a:solidFill>
                        <a:srgbClr val="544F40">
                          <a:lumMod val="50000"/>
                        </a:srgbClr>
                      </a:solidFill>
                      <a:prstDash val="solid"/>
                      <a:round/>
                      <a:headEnd type="none" w="med" len="med"/>
                      <a:tailEnd type="none" w="med" len="med"/>
                    </a:lnL>
                    <a:lnR w="6350" cap="flat" cmpd="sng" algn="ctr">
                      <a:solidFill>
                        <a:srgbClr val="544F40">
                          <a:lumMod val="50000"/>
                        </a:srgbClr>
                      </a:solidFill>
                      <a:prstDash val="solid"/>
                      <a:round/>
                      <a:headEnd type="none" w="med" len="med"/>
                      <a:tailEnd type="none" w="med" len="med"/>
                    </a:lnR>
                    <a:lnT w="6350" cap="flat" cmpd="sng" algn="ctr">
                      <a:solidFill>
                        <a:srgbClr val="544F40">
                          <a:lumMod val="50000"/>
                        </a:srgbClr>
                      </a:solidFill>
                      <a:prstDash val="solid"/>
                      <a:round/>
                      <a:headEnd type="none" w="med" len="med"/>
                      <a:tailEnd type="none" w="med" len="med"/>
                    </a:lnT>
                    <a:lnB w="6350" cap="flat" cmpd="sng" algn="ctr">
                      <a:solidFill>
                        <a:srgbClr val="544F40">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8082035"/>
                  </a:ext>
                </a:extLst>
              </a:tr>
              <a:tr h="382716">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300"/>
                        </a:spcBef>
                        <a:spcAft>
                          <a:spcPts val="0"/>
                        </a:spcAft>
                        <a:buClrTx/>
                        <a:buSzTx/>
                        <a:buFontTx/>
                        <a:buNone/>
                        <a:tabLst/>
                        <a:defRPr/>
                      </a:pPr>
                      <a:r>
                        <a:rPr lang="zh-CN" altLang="en-US" sz="1200" b="1" kern="1200" dirty="0">
                          <a:solidFill>
                            <a:srgbClr val="B8075F"/>
                          </a:solidFill>
                          <a:effectLst/>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是否为</a:t>
                      </a:r>
                      <a:r>
                        <a:rPr lang="en-US" altLang="zh-CN" sz="1200" b="1" kern="1200" dirty="0">
                          <a:solidFill>
                            <a:srgbClr val="B8075F"/>
                          </a:solidFill>
                          <a:effectLst/>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OTC</a:t>
                      </a:r>
                      <a:r>
                        <a:rPr lang="zh-CN" altLang="en-US" sz="1200" b="1" kern="1200" dirty="0">
                          <a:solidFill>
                            <a:srgbClr val="B8075F"/>
                          </a:solidFill>
                          <a:effectLst/>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药品</a:t>
                      </a:r>
                      <a:endParaRPr lang="en-US" altLang="zh-CN" sz="1200" b="1" kern="1200" dirty="0">
                        <a:solidFill>
                          <a:srgbClr val="B8075F"/>
                        </a:solidFill>
                        <a:effectLst/>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a:txBody>
                  <a:tcPr anchor="ctr">
                    <a:lnL w="6350" cap="flat" cmpd="sng" algn="ctr">
                      <a:solidFill>
                        <a:srgbClr val="544F40">
                          <a:lumMod val="50000"/>
                        </a:srgbClr>
                      </a:solidFill>
                      <a:prstDash val="solid"/>
                      <a:round/>
                      <a:headEnd type="none" w="med" len="med"/>
                      <a:tailEnd type="none" w="med" len="med"/>
                    </a:lnL>
                    <a:lnR w="6350" cap="flat" cmpd="sng" algn="ctr">
                      <a:solidFill>
                        <a:srgbClr val="544F40">
                          <a:lumMod val="50000"/>
                        </a:srgbClr>
                      </a:solidFill>
                      <a:prstDash val="solid"/>
                      <a:round/>
                      <a:headEnd type="none" w="med" len="med"/>
                      <a:tailEnd type="none" w="med" len="med"/>
                    </a:lnR>
                    <a:lnT w="6350" cap="flat" cmpd="sng" algn="ctr">
                      <a:solidFill>
                        <a:srgbClr val="544F40">
                          <a:lumMod val="50000"/>
                        </a:srgbClr>
                      </a:solidFill>
                      <a:prstDash val="solid"/>
                      <a:round/>
                      <a:headEnd type="none" w="med" len="med"/>
                      <a:tailEnd type="none" w="med" len="med"/>
                    </a:lnT>
                    <a:lnB w="6350" cap="flat" cmpd="sng" algn="ctr">
                      <a:solidFill>
                        <a:srgbClr val="544F4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否</a:t>
                      </a:r>
                      <a:endParaRPr lang="en-US" sz="120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lnL w="6350" cap="flat" cmpd="sng" algn="ctr">
                      <a:solidFill>
                        <a:srgbClr val="544F40">
                          <a:lumMod val="50000"/>
                        </a:srgbClr>
                      </a:solidFill>
                      <a:prstDash val="solid"/>
                      <a:round/>
                      <a:headEnd type="none" w="med" len="med"/>
                      <a:tailEnd type="none" w="med" len="med"/>
                    </a:lnL>
                    <a:lnR w="6350" cap="flat" cmpd="sng" algn="ctr">
                      <a:solidFill>
                        <a:srgbClr val="544F40">
                          <a:lumMod val="50000"/>
                        </a:srgbClr>
                      </a:solidFill>
                      <a:prstDash val="solid"/>
                      <a:round/>
                      <a:headEnd type="none" w="med" len="med"/>
                      <a:tailEnd type="none" w="med" len="med"/>
                    </a:lnR>
                    <a:lnT w="6350" cap="flat" cmpd="sng" algn="ctr">
                      <a:solidFill>
                        <a:srgbClr val="544F40">
                          <a:lumMod val="50000"/>
                        </a:srgbClr>
                      </a:solidFill>
                      <a:prstDash val="solid"/>
                      <a:round/>
                      <a:headEnd type="none" w="med" len="med"/>
                      <a:tailEnd type="none" w="med" len="med"/>
                    </a:lnT>
                    <a:lnB w="6350" cap="flat" cmpd="sng" algn="ctr">
                      <a:solidFill>
                        <a:srgbClr val="544F40">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29141339"/>
                  </a:ext>
                </a:extLst>
              </a:tr>
              <a:tr h="472016">
                <a:tc>
                  <a:txBody>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lang="zh-CN" altLang="en-US" sz="1200" b="1" kern="1200" dirty="0">
                          <a:solidFill>
                            <a:srgbClr val="B8075F"/>
                          </a:solidFill>
                          <a:effectLst/>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参考药品建议</a:t>
                      </a:r>
                      <a:endParaRPr lang="en-US" altLang="zh-CN" sz="1200" b="1" kern="1200" dirty="0">
                        <a:solidFill>
                          <a:srgbClr val="B8075F"/>
                        </a:solidFill>
                        <a:effectLst/>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a:txBody>
                  <a:tcPr anchor="ctr">
                    <a:lnL w="6350" cap="flat" cmpd="sng" algn="ctr">
                      <a:solidFill>
                        <a:srgbClr val="544F40">
                          <a:lumMod val="50000"/>
                        </a:srgbClr>
                      </a:solidFill>
                      <a:prstDash val="solid"/>
                      <a:round/>
                      <a:headEnd type="none" w="med" len="med"/>
                      <a:tailEnd type="none" w="med" len="med"/>
                    </a:lnL>
                    <a:lnR w="6350" cap="flat" cmpd="sng" algn="ctr">
                      <a:solidFill>
                        <a:srgbClr val="544F40">
                          <a:lumMod val="50000"/>
                        </a:srgbClr>
                      </a:solidFill>
                      <a:prstDash val="solid"/>
                      <a:round/>
                      <a:headEnd type="none" w="med" len="med"/>
                      <a:tailEnd type="none" w="med" len="med"/>
                    </a:lnR>
                    <a:lnT w="6350" cap="flat" cmpd="sng" algn="ctr">
                      <a:solidFill>
                        <a:srgbClr val="544F40">
                          <a:lumMod val="50000"/>
                        </a:srgbClr>
                      </a:solidFill>
                      <a:prstDash val="solid"/>
                      <a:round/>
                      <a:headEnd type="none" w="med" len="med"/>
                      <a:tailEnd type="none" w="med" len="med"/>
                    </a:lnT>
                    <a:lnB w="6350" cap="flat" cmpd="sng" algn="ctr">
                      <a:solidFill>
                        <a:srgbClr val="544F4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just" defTabSz="914400" rtl="0" eaLnBrk="1" fontAlgn="auto" latinLnBrk="0" hangingPunct="1">
                        <a:lnSpc>
                          <a:spcPct val="100000"/>
                        </a:lnSpc>
                        <a:spcBef>
                          <a:spcPts val="300"/>
                        </a:spcBef>
                        <a:spcAft>
                          <a:spcPts val="0"/>
                        </a:spcAft>
                        <a:buClrTx/>
                        <a:buSzTx/>
                        <a:buFontTx/>
                        <a:buNone/>
                        <a:tabLst/>
                        <a:defRPr/>
                      </a:pP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艾考恩丙替片</a:t>
                      </a:r>
                      <a:endParaRPr lang="en-US" sz="120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lnL w="6350" cap="flat" cmpd="sng" algn="ctr">
                      <a:solidFill>
                        <a:srgbClr val="544F40">
                          <a:lumMod val="50000"/>
                        </a:srgbClr>
                      </a:solidFill>
                      <a:prstDash val="solid"/>
                      <a:round/>
                      <a:headEnd type="none" w="med" len="med"/>
                      <a:tailEnd type="none" w="med" len="med"/>
                    </a:lnL>
                    <a:lnR w="6350" cap="flat" cmpd="sng" algn="ctr">
                      <a:solidFill>
                        <a:srgbClr val="544F40">
                          <a:lumMod val="50000"/>
                        </a:srgbClr>
                      </a:solidFill>
                      <a:prstDash val="solid"/>
                      <a:round/>
                      <a:headEnd type="none" w="med" len="med"/>
                      <a:tailEnd type="none" w="med" len="med"/>
                    </a:lnR>
                    <a:lnT w="6350" cap="flat" cmpd="sng" algn="ctr">
                      <a:solidFill>
                        <a:srgbClr val="544F40">
                          <a:lumMod val="50000"/>
                        </a:srgbClr>
                      </a:solidFill>
                      <a:prstDash val="solid"/>
                      <a:round/>
                      <a:headEnd type="none" w="med" len="med"/>
                      <a:tailEnd type="none" w="med" len="med"/>
                    </a:lnT>
                    <a:lnB w="6350" cap="flat" cmpd="sng" algn="ctr">
                      <a:solidFill>
                        <a:srgbClr val="544F40">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7326385"/>
                  </a:ext>
                </a:extLst>
              </a:tr>
              <a:tr h="621912">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auto" latinLnBrk="0" hangingPunct="1">
                        <a:lnSpc>
                          <a:spcPct val="100000"/>
                        </a:lnSpc>
                        <a:spcBef>
                          <a:spcPts val="300"/>
                        </a:spcBef>
                        <a:spcAft>
                          <a:spcPts val="0"/>
                        </a:spcAft>
                        <a:buClrTx/>
                        <a:buSzTx/>
                        <a:buFontTx/>
                        <a:buNone/>
                        <a:tabLst/>
                        <a:defRPr/>
                      </a:pPr>
                      <a:r>
                        <a:rPr lang="zh-CN" altLang="en-US" sz="1200" b="1" kern="1200" dirty="0">
                          <a:solidFill>
                            <a:srgbClr val="B8075F"/>
                          </a:solidFill>
                          <a:effectLst/>
                          <a:latin typeface="Times New Roman" panose="02020603050405020304" pitchFamily="18" charset="0"/>
                          <a:ea typeface="微软雅黑" panose="020B0503020204020204" pitchFamily="34" charset="-122"/>
                          <a:cs typeface="Times New Roman" panose="02020603050405020304" pitchFamily="18" charset="0"/>
                        </a:rPr>
                        <a:t>用法用量</a:t>
                      </a:r>
                      <a:endParaRPr lang="en-US" sz="1200" b="1" kern="1200" dirty="0">
                        <a:solidFill>
                          <a:srgbClr val="B8075F"/>
                        </a:solidFill>
                        <a:effectLst/>
                        <a:latin typeface="Times New Roman" panose="02020603050405020304" pitchFamily="18" charset="0"/>
                        <a:ea typeface="微软雅黑" panose="020B0503020204020204" pitchFamily="34" charset="-122"/>
                        <a:cs typeface="Times New Roman" panose="02020603050405020304" pitchFamily="18" charset="0"/>
                      </a:endParaRPr>
                    </a:p>
                  </a:txBody>
                  <a:tcPr anchor="ctr">
                    <a:lnL w="6350" cap="flat" cmpd="sng" algn="ctr">
                      <a:solidFill>
                        <a:srgbClr val="544F40">
                          <a:lumMod val="50000"/>
                        </a:srgbClr>
                      </a:solidFill>
                      <a:prstDash val="solid"/>
                      <a:round/>
                      <a:headEnd type="none" w="med" len="med"/>
                      <a:tailEnd type="none" w="med" len="med"/>
                    </a:lnL>
                    <a:lnR w="6350" cap="flat" cmpd="sng" algn="ctr">
                      <a:solidFill>
                        <a:srgbClr val="544F40">
                          <a:lumMod val="50000"/>
                        </a:srgbClr>
                      </a:solidFill>
                      <a:prstDash val="solid"/>
                      <a:round/>
                      <a:headEnd type="none" w="med" len="med"/>
                      <a:tailEnd type="none" w="med" len="med"/>
                    </a:lnR>
                    <a:lnT w="6350" cap="flat" cmpd="sng" algn="ctr">
                      <a:solidFill>
                        <a:srgbClr val="544F40">
                          <a:lumMod val="50000"/>
                        </a:srgbClr>
                      </a:solidFill>
                      <a:prstDash val="solid"/>
                      <a:round/>
                      <a:headEnd type="none" w="med" len="med"/>
                      <a:tailEnd type="none" w="med" len="med"/>
                    </a:lnT>
                    <a:lnB w="6350" cap="flat" cmpd="sng" algn="ctr">
                      <a:solidFill>
                        <a:srgbClr val="544F4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algn="just">
                        <a:spcBef>
                          <a:spcPts val="300"/>
                        </a:spcBef>
                        <a:spcAft>
                          <a:spcPts val="0"/>
                        </a:spcAft>
                      </a:pPr>
                      <a:r>
                        <a:rPr lang="zh-CN" altLang="en-US" sz="1200" kern="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用量：对于成人及</a:t>
                      </a:r>
                      <a:r>
                        <a:rPr lang="en-US" altLang="zh-CN" sz="1200" kern="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12</a:t>
                      </a:r>
                      <a:r>
                        <a:rPr lang="zh-CN" altLang="en-US" sz="1200" kern="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岁以上青少年（体重至少</a:t>
                      </a:r>
                      <a:r>
                        <a:rPr lang="en-US" altLang="zh-CN" sz="1200" kern="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40</a:t>
                      </a:r>
                      <a:r>
                        <a:rPr lang="zh-CN" altLang="en-US" sz="1200" kern="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公斤） ，本品的推荐剂量为每日一次，每次一片。</a:t>
                      </a:r>
                    </a:p>
                    <a:p>
                      <a:pPr marL="0" marR="0" algn="just">
                        <a:spcBef>
                          <a:spcPts val="300"/>
                        </a:spcBef>
                        <a:spcAft>
                          <a:spcPts val="0"/>
                        </a:spcAft>
                      </a:pPr>
                      <a:r>
                        <a:rPr lang="zh-CN" altLang="en-US" sz="1200" kern="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给药方法：口服。本品可与或不与食物同服。</a:t>
                      </a:r>
                      <a:endParaRPr lang="en-US" sz="1200" kern="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endParaRPr>
                    </a:p>
                  </a:txBody>
                  <a:tcPr anchor="ctr">
                    <a:lnL w="6350" cap="flat" cmpd="sng" algn="ctr">
                      <a:solidFill>
                        <a:srgbClr val="544F40">
                          <a:lumMod val="50000"/>
                        </a:srgbClr>
                      </a:solidFill>
                      <a:prstDash val="solid"/>
                      <a:round/>
                      <a:headEnd type="none" w="med" len="med"/>
                      <a:tailEnd type="none" w="med" len="med"/>
                    </a:lnL>
                    <a:lnR w="6350" cap="flat" cmpd="sng" algn="ctr">
                      <a:solidFill>
                        <a:srgbClr val="544F40">
                          <a:lumMod val="50000"/>
                        </a:srgbClr>
                      </a:solidFill>
                      <a:prstDash val="solid"/>
                      <a:round/>
                      <a:headEnd type="none" w="med" len="med"/>
                      <a:tailEnd type="none" w="med" len="med"/>
                    </a:lnR>
                    <a:lnT w="6350" cap="flat" cmpd="sng" algn="ctr">
                      <a:solidFill>
                        <a:srgbClr val="544F40">
                          <a:lumMod val="50000"/>
                        </a:srgbClr>
                      </a:solidFill>
                      <a:prstDash val="solid"/>
                      <a:round/>
                      <a:headEnd type="none" w="med" len="med"/>
                      <a:tailEnd type="none" w="med" len="med"/>
                    </a:lnT>
                    <a:lnB w="6350" cap="flat" cmpd="sng" algn="ctr">
                      <a:solidFill>
                        <a:srgbClr val="544F40">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32670372"/>
                  </a:ext>
                </a:extLst>
              </a:tr>
              <a:tr h="1672785">
                <a:tc>
                  <a:txBody>
                    <a:bodyPr/>
                    <a:lstStyle/>
                    <a:p>
                      <a:pPr marL="0" marR="0" lvl="0" indent="0" algn="ctr" defTabSz="914400" rtl="0" eaLnBrk="1" fontAlgn="auto" latinLnBrk="0" hangingPunct="1">
                        <a:lnSpc>
                          <a:spcPct val="100000"/>
                        </a:lnSpc>
                        <a:spcBef>
                          <a:spcPts val="300"/>
                        </a:spcBef>
                        <a:spcAft>
                          <a:spcPts val="0"/>
                        </a:spcAft>
                        <a:buClrTx/>
                        <a:buSzTx/>
                        <a:buFontTx/>
                        <a:buNone/>
                        <a:tabLst/>
                        <a:defRPr/>
                      </a:pPr>
                      <a:r>
                        <a:rPr lang="zh-CN" altLang="en-US" sz="1200" b="1" kern="1200" dirty="0">
                          <a:solidFill>
                            <a:srgbClr val="B8075F"/>
                          </a:solidFill>
                          <a:effectLst/>
                          <a:latin typeface="Times New Roman" panose="02020603050405020304" pitchFamily="18" charset="0"/>
                          <a:ea typeface="微软雅黑" panose="020B0503020204020204" pitchFamily="34" charset="-122"/>
                          <a:cs typeface="Times New Roman" panose="02020603050405020304" pitchFamily="18" charset="0"/>
                        </a:rPr>
                        <a:t>最新说明书适应症</a:t>
                      </a:r>
                      <a:r>
                        <a:rPr lang="en-US" altLang="zh-CN" sz="1200" b="1" kern="1200" baseline="30000" dirty="0">
                          <a:solidFill>
                            <a:srgbClr val="B8075F"/>
                          </a:solidFill>
                          <a:effectLst/>
                          <a:latin typeface="Times New Roman" panose="02020603050405020304" pitchFamily="18" charset="0"/>
                          <a:ea typeface="微软雅黑" panose="020B0503020204020204" pitchFamily="34" charset="-122"/>
                          <a:cs typeface="Times New Roman" panose="02020603050405020304" pitchFamily="18" charset="0"/>
                        </a:rPr>
                        <a:t>1</a:t>
                      </a:r>
                      <a:endParaRPr lang="en-US" sz="1200" b="1" kern="1200" baseline="30000" dirty="0">
                        <a:solidFill>
                          <a:srgbClr val="B8075F"/>
                        </a:solidFill>
                        <a:effectLst/>
                        <a:latin typeface="Times New Roman" panose="02020603050405020304" pitchFamily="18" charset="0"/>
                        <a:ea typeface="微软雅黑" panose="020B0503020204020204" pitchFamily="34" charset="-122"/>
                        <a:cs typeface="Times New Roman" panose="02020603050405020304" pitchFamily="18" charset="0"/>
                      </a:endParaRPr>
                    </a:p>
                  </a:txBody>
                  <a:tcPr anchor="ctr">
                    <a:lnL w="6350" cap="flat" cmpd="sng" algn="ctr">
                      <a:solidFill>
                        <a:srgbClr val="544F40">
                          <a:lumMod val="50000"/>
                        </a:srgbClr>
                      </a:solidFill>
                      <a:prstDash val="solid"/>
                      <a:round/>
                      <a:headEnd type="none" w="med" len="med"/>
                      <a:tailEnd type="none" w="med" len="med"/>
                    </a:lnL>
                    <a:lnR w="6350" cap="flat" cmpd="sng" algn="ctr">
                      <a:solidFill>
                        <a:srgbClr val="544F40">
                          <a:lumMod val="50000"/>
                        </a:srgbClr>
                      </a:solidFill>
                      <a:prstDash val="solid"/>
                      <a:round/>
                      <a:headEnd type="none" w="med" len="med"/>
                      <a:tailEnd type="none" w="med" len="med"/>
                    </a:lnR>
                    <a:lnT w="6350" cap="flat" cmpd="sng" algn="ctr">
                      <a:solidFill>
                        <a:srgbClr val="544F40">
                          <a:lumMod val="50000"/>
                        </a:srgbClr>
                      </a:solidFill>
                      <a:prstDash val="solid"/>
                      <a:round/>
                      <a:headEnd type="none" w="med" len="med"/>
                      <a:tailEnd type="none" w="med" len="med"/>
                    </a:lnT>
                    <a:lnB w="6350" cap="flat" cmpd="sng" algn="ctr">
                      <a:solidFill>
                        <a:srgbClr val="544F40">
                          <a:lumMod val="50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a:lnSpc>
                          <a:spcPct val="130000"/>
                        </a:lnSpc>
                        <a:defRPr/>
                      </a:pPr>
                      <a:r>
                        <a:rPr lang="zh-CN" altLang="en-US" sz="1200" kern="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作为完整治疗方案用于以下两类对本品任一成分无已知耐药相关突变的</a:t>
                      </a:r>
                      <a:r>
                        <a:rPr lang="en-US" altLang="zh-CN" sz="1200" kern="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1</a:t>
                      </a:r>
                      <a:r>
                        <a:rPr lang="zh-CN" altLang="en-US" sz="1200" kern="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型人类免疫缺陷病毒（</a:t>
                      </a:r>
                      <a:r>
                        <a:rPr lang="en-US" altLang="zh-CN" sz="1200" kern="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HIV-1</a:t>
                      </a:r>
                      <a:r>
                        <a:rPr lang="zh-CN" altLang="en-US" sz="1200" kern="1200" dirty="0">
                          <a:solidFill>
                            <a:schemeClr val="tx1">
                              <a:lumMod val="50000"/>
                            </a:schemeClr>
                          </a:solidFill>
                          <a:effectLst/>
                          <a:latin typeface="Times New Roman" panose="02020603050405020304" pitchFamily="18" charset="0"/>
                          <a:ea typeface="微软雅黑" panose="020B0503020204020204" pitchFamily="34" charset="-122"/>
                          <a:cs typeface="Times New Roman" panose="02020603050405020304" pitchFamily="18" charset="0"/>
                        </a:rPr>
                        <a:t>）感染成人及</a:t>
                      </a:r>
                      <a:r>
                        <a:rPr lang="en-US" altLang="zh-CN" sz="1200" kern="1200" dirty="0">
                          <a:effectLst/>
                          <a:latin typeface="Times New Roman" panose="02020603050405020304" pitchFamily="18" charset="0"/>
                          <a:ea typeface="微软雅黑" panose="020B0503020204020204" pitchFamily="34" charset="-122"/>
                          <a:cs typeface="Times New Roman" panose="02020603050405020304" pitchFamily="18" charset="0"/>
                        </a:rPr>
                        <a:t>12</a:t>
                      </a:r>
                      <a:r>
                        <a:rPr lang="zh-CN" altLang="en-US" sz="1200" kern="1200" dirty="0">
                          <a:effectLst/>
                          <a:latin typeface="Times New Roman" panose="02020603050405020304" pitchFamily="18" charset="0"/>
                          <a:ea typeface="微软雅黑" panose="020B0503020204020204" pitchFamily="34" charset="-122"/>
                          <a:cs typeface="Times New Roman" panose="02020603050405020304" pitchFamily="18" charset="0"/>
                        </a:rPr>
                        <a:t>岁以上青少年（体重至少</a:t>
                      </a:r>
                      <a:r>
                        <a:rPr lang="en-US" altLang="zh-CN" sz="1200" kern="1200" dirty="0">
                          <a:effectLst/>
                          <a:latin typeface="Times New Roman" panose="02020603050405020304" pitchFamily="18" charset="0"/>
                          <a:ea typeface="微软雅黑" panose="020B0503020204020204" pitchFamily="34" charset="-122"/>
                          <a:cs typeface="Times New Roman" panose="02020603050405020304" pitchFamily="18" charset="0"/>
                        </a:rPr>
                        <a:t>40</a:t>
                      </a:r>
                      <a:r>
                        <a:rPr lang="zh-CN" altLang="en-US" sz="1200" kern="1200" dirty="0">
                          <a:effectLst/>
                          <a:latin typeface="Times New Roman" panose="02020603050405020304" pitchFamily="18" charset="0"/>
                          <a:ea typeface="微软雅黑" panose="020B0503020204020204" pitchFamily="34" charset="-122"/>
                          <a:cs typeface="Times New Roman" panose="02020603050405020304" pitchFamily="18" charset="0"/>
                        </a:rPr>
                        <a:t>公斤）患者：</a:t>
                      </a:r>
                      <a:endParaRPr lang="en-US" altLang="zh-CN" sz="1200" kern="1200" dirty="0">
                        <a:effectLst/>
                        <a:latin typeface="Times New Roman" panose="02020603050405020304" pitchFamily="18" charset="0"/>
                        <a:ea typeface="微软雅黑" panose="020B0503020204020204" pitchFamily="34" charset="-122"/>
                        <a:cs typeface="Times New Roman" panose="02020603050405020304" pitchFamily="18" charset="0"/>
                      </a:endParaRPr>
                    </a:p>
                    <a:p>
                      <a:pPr>
                        <a:lnSpc>
                          <a:spcPct val="130000"/>
                        </a:lnSpc>
                        <a:defRPr/>
                      </a:pPr>
                      <a:r>
                        <a:rPr lang="zh-CN" altLang="en-US" sz="1200" kern="1200" dirty="0">
                          <a:effectLst/>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200" kern="1200" dirty="0">
                          <a:effectLst/>
                          <a:latin typeface="Times New Roman" panose="02020603050405020304" pitchFamily="18" charset="0"/>
                          <a:ea typeface="微软雅黑" panose="020B0503020204020204" pitchFamily="34" charset="-122"/>
                          <a:cs typeface="Times New Roman" panose="02020603050405020304" pitchFamily="18" charset="0"/>
                        </a:rPr>
                        <a:t>1</a:t>
                      </a:r>
                      <a:r>
                        <a:rPr lang="zh-CN" altLang="en-US" sz="1200" kern="1200" dirty="0">
                          <a:effectLst/>
                          <a:latin typeface="Times New Roman" panose="02020603050405020304" pitchFamily="18" charset="0"/>
                          <a:ea typeface="微软雅黑" panose="020B0503020204020204" pitchFamily="34" charset="-122"/>
                          <a:cs typeface="Times New Roman" panose="02020603050405020304" pitchFamily="18" charset="0"/>
                        </a:rPr>
                        <a:t>）无抗逆转录病毒治疗史的患者；</a:t>
                      </a:r>
                      <a:endParaRPr lang="en-US" altLang="zh-CN" sz="1200" kern="1200" dirty="0">
                        <a:effectLst/>
                        <a:latin typeface="Times New Roman" panose="02020603050405020304" pitchFamily="18" charset="0"/>
                        <a:ea typeface="微软雅黑" panose="020B0503020204020204" pitchFamily="34" charset="-122"/>
                        <a:cs typeface="Times New Roman" panose="02020603050405020304" pitchFamily="18" charset="0"/>
                      </a:endParaRPr>
                    </a:p>
                    <a:p>
                      <a:pPr>
                        <a:lnSpc>
                          <a:spcPct val="130000"/>
                        </a:lnSpc>
                        <a:defRPr/>
                      </a:pPr>
                      <a:r>
                        <a:rPr lang="zh-CN" altLang="en-US" sz="1600" b="1" kern="1200" dirty="0">
                          <a:solidFill>
                            <a:srgbClr val="D25E97"/>
                          </a:solidFill>
                          <a:effectLst/>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b="1" kern="1200" dirty="0">
                          <a:solidFill>
                            <a:srgbClr val="D25E97"/>
                          </a:solidFill>
                          <a:effectLst/>
                          <a:latin typeface="Times New Roman" panose="02020603050405020304" pitchFamily="18" charset="0"/>
                          <a:ea typeface="微软雅黑" panose="020B0503020204020204" pitchFamily="34" charset="-122"/>
                          <a:cs typeface="Times New Roman" panose="02020603050405020304" pitchFamily="18" charset="0"/>
                        </a:rPr>
                        <a:t>2</a:t>
                      </a:r>
                      <a:r>
                        <a:rPr lang="zh-CN" altLang="en-US" sz="1600" b="1" kern="1200" dirty="0">
                          <a:solidFill>
                            <a:srgbClr val="D25E97"/>
                          </a:solidFill>
                          <a:effectLst/>
                          <a:latin typeface="Times New Roman" panose="02020603050405020304" pitchFamily="18" charset="0"/>
                          <a:ea typeface="微软雅黑" panose="020B0503020204020204" pitchFamily="34" charset="-122"/>
                          <a:cs typeface="Times New Roman" panose="02020603050405020304" pitchFamily="18" charset="0"/>
                        </a:rPr>
                        <a:t>）作为替代治疗方案，用于接受稳定抗逆转录治疗达到病毒学抑制（</a:t>
                      </a:r>
                      <a:r>
                        <a:rPr lang="en-US" altLang="zh-CN" sz="1600" b="1" kern="1200" dirty="0">
                          <a:solidFill>
                            <a:srgbClr val="D25E97"/>
                          </a:solidFill>
                          <a:effectLst/>
                          <a:latin typeface="Times New Roman" panose="02020603050405020304" pitchFamily="18" charset="0"/>
                          <a:ea typeface="微软雅黑" panose="020B0503020204020204" pitchFamily="34" charset="-122"/>
                          <a:cs typeface="Times New Roman" panose="02020603050405020304" pitchFamily="18" charset="0"/>
                        </a:rPr>
                        <a:t>HIV-1 RNA</a:t>
                      </a:r>
                      <a:r>
                        <a:rPr lang="zh-CN" altLang="en-US" sz="1600" b="1" kern="1200" dirty="0">
                          <a:solidFill>
                            <a:srgbClr val="D25E97"/>
                          </a:solidFill>
                          <a:effectLst/>
                          <a:latin typeface="Times New Roman" panose="02020603050405020304" pitchFamily="18" charset="0"/>
                          <a:ea typeface="微软雅黑" panose="020B0503020204020204" pitchFamily="34" charset="-122"/>
                          <a:cs typeface="Times New Roman" panose="02020603050405020304" pitchFamily="18" charset="0"/>
                        </a:rPr>
                        <a:t>＜</a:t>
                      </a:r>
                      <a:r>
                        <a:rPr lang="en-US" altLang="zh-CN" sz="1600" b="1" kern="1200" dirty="0">
                          <a:solidFill>
                            <a:srgbClr val="D25E97"/>
                          </a:solidFill>
                          <a:effectLst/>
                          <a:latin typeface="Times New Roman" panose="02020603050405020304" pitchFamily="18" charset="0"/>
                          <a:ea typeface="微软雅黑" panose="020B0503020204020204" pitchFamily="34" charset="-122"/>
                          <a:cs typeface="Times New Roman" panose="02020603050405020304" pitchFamily="18" charset="0"/>
                        </a:rPr>
                        <a:t>50</a:t>
                      </a:r>
                      <a:r>
                        <a:rPr lang="zh-CN" altLang="en-US" sz="1600" b="1" kern="1200" dirty="0">
                          <a:solidFill>
                            <a:srgbClr val="D25E97"/>
                          </a:solidFill>
                          <a:effectLst/>
                          <a:latin typeface="Times New Roman" panose="02020603050405020304" pitchFamily="18" charset="0"/>
                          <a:ea typeface="微软雅黑" panose="020B0503020204020204" pitchFamily="34" charset="-122"/>
                          <a:cs typeface="Times New Roman" panose="02020603050405020304" pitchFamily="18" charset="0"/>
                        </a:rPr>
                        <a:t>拷贝</a:t>
                      </a:r>
                      <a:r>
                        <a:rPr lang="en-US" altLang="zh-CN" sz="1600" b="1" kern="1200" dirty="0">
                          <a:solidFill>
                            <a:srgbClr val="D25E97"/>
                          </a:solidFill>
                          <a:effectLst/>
                          <a:latin typeface="Times New Roman" panose="02020603050405020304" pitchFamily="18" charset="0"/>
                          <a:ea typeface="微软雅黑" panose="020B0503020204020204" pitchFamily="34" charset="-122"/>
                          <a:cs typeface="Times New Roman" panose="02020603050405020304" pitchFamily="18" charset="0"/>
                        </a:rPr>
                        <a:t>/mL</a:t>
                      </a:r>
                      <a:r>
                        <a:rPr lang="zh-CN" altLang="en-US" sz="1600" b="1" kern="1200" dirty="0">
                          <a:solidFill>
                            <a:srgbClr val="D25E97"/>
                          </a:solidFill>
                          <a:effectLst/>
                          <a:latin typeface="Times New Roman" panose="02020603050405020304" pitchFamily="18" charset="0"/>
                          <a:ea typeface="微软雅黑" panose="020B0503020204020204" pitchFamily="34" charset="-122"/>
                          <a:cs typeface="Times New Roman" panose="02020603050405020304" pitchFamily="18" charset="0"/>
                        </a:rPr>
                        <a:t>）且无治疗失败史的患者。</a:t>
                      </a:r>
                    </a:p>
                  </a:txBody>
                  <a:tcPr anchor="ctr">
                    <a:lnL w="6350" cap="flat" cmpd="sng" algn="ctr">
                      <a:solidFill>
                        <a:srgbClr val="544F40">
                          <a:lumMod val="50000"/>
                        </a:srgbClr>
                      </a:solidFill>
                      <a:prstDash val="solid"/>
                      <a:round/>
                      <a:headEnd type="none" w="med" len="med"/>
                      <a:tailEnd type="none" w="med" len="med"/>
                    </a:lnL>
                    <a:lnR w="6350" cap="flat" cmpd="sng" algn="ctr">
                      <a:solidFill>
                        <a:srgbClr val="544F40">
                          <a:lumMod val="50000"/>
                        </a:srgbClr>
                      </a:solidFill>
                      <a:prstDash val="solid"/>
                      <a:round/>
                      <a:headEnd type="none" w="med" len="med"/>
                      <a:tailEnd type="none" w="med" len="med"/>
                    </a:lnR>
                    <a:lnT w="6350" cap="flat" cmpd="sng" algn="ctr">
                      <a:solidFill>
                        <a:srgbClr val="544F40">
                          <a:lumMod val="50000"/>
                        </a:srgbClr>
                      </a:solidFill>
                      <a:prstDash val="solid"/>
                      <a:round/>
                      <a:headEnd type="none" w="med" len="med"/>
                      <a:tailEnd type="none" w="med" len="med"/>
                    </a:lnT>
                    <a:lnB w="6350" cap="flat" cmpd="sng" algn="ctr">
                      <a:solidFill>
                        <a:srgbClr val="544F40">
                          <a:lumMod val="5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2632167"/>
                  </a:ext>
                </a:extLst>
              </a:tr>
            </a:tbl>
          </a:graphicData>
        </a:graphic>
      </p:graphicFrame>
      <p:sp>
        <p:nvSpPr>
          <p:cNvPr id="13" name="灯片编号占位符 3">
            <a:extLst>
              <a:ext uri="{FF2B5EF4-FFF2-40B4-BE49-F238E27FC236}">
                <a16:creationId xmlns:a16="http://schemas.microsoft.com/office/drawing/2014/main" id="{C05E2283-8D81-47F8-817A-1EE8DFF1CBF0}"/>
              </a:ext>
            </a:extLst>
          </p:cNvPr>
          <p:cNvSpPr txBox="1">
            <a:spLocks/>
          </p:cNvSpPr>
          <p:nvPr/>
        </p:nvSpPr>
        <p:spPr>
          <a:xfrm>
            <a:off x="11673792" y="6356961"/>
            <a:ext cx="518208"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fld id="{D6F24B0C-7668-4973-8E6C-4D4CB7EF0CEB}" type="slidenum">
              <a:rPr lang="en-US" sz="1600" b="1" smtClean="0">
                <a:solidFill>
                  <a:schemeClr val="bg1"/>
                </a:solidFill>
                <a:latin typeface="Arial" panose="020B0604020202020204" pitchFamily="34" charset="0"/>
                <a:cs typeface="Arial" panose="020B0604020202020204" pitchFamily="34" charset="0"/>
              </a:rPr>
              <a:pPr algn="ctr" defTabSz="457200">
                <a:defRPr/>
              </a:pPr>
              <a:t>3</a:t>
            </a:fld>
            <a:endParaRPr lang="en-US" sz="16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699508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矩形 74">
            <a:extLst>
              <a:ext uri="{FF2B5EF4-FFF2-40B4-BE49-F238E27FC236}">
                <a16:creationId xmlns:a16="http://schemas.microsoft.com/office/drawing/2014/main" id="{68ECDB2B-9034-4FCF-B4D6-A7126E0F9558}"/>
              </a:ext>
            </a:extLst>
          </p:cNvPr>
          <p:cNvSpPr/>
          <p:nvPr/>
        </p:nvSpPr>
        <p:spPr>
          <a:xfrm>
            <a:off x="249175" y="1607565"/>
            <a:ext cx="11233277" cy="1250115"/>
          </a:xfrm>
          <a:prstGeom prst="rect">
            <a:avLst/>
          </a:prstGeom>
          <a:solidFill>
            <a:srgbClr val="A5A5A5">
              <a:lumMod val="20000"/>
              <a:lumOff val="80000"/>
            </a:srgb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61" name="TextBox 60">
            <a:extLst>
              <a:ext uri="{FF2B5EF4-FFF2-40B4-BE49-F238E27FC236}">
                <a16:creationId xmlns:a16="http://schemas.microsoft.com/office/drawing/2014/main" id="{5FD5F2DC-5621-48EF-9287-F94F0B976095}"/>
              </a:ext>
            </a:extLst>
          </p:cNvPr>
          <p:cNvSpPr txBox="1"/>
          <p:nvPr/>
        </p:nvSpPr>
        <p:spPr>
          <a:xfrm>
            <a:off x="968618" y="658203"/>
            <a:ext cx="11134180" cy="461665"/>
          </a:xfrm>
          <a:prstGeom prst="rect">
            <a:avLst/>
          </a:prstGeom>
          <a:noFill/>
        </p:spPr>
        <p:txBody>
          <a:bodyPr wrap="square">
            <a:spAutoFit/>
          </a:bodyPr>
          <a:lstStyle/>
          <a:p>
            <a:pPr fontAlgn="base">
              <a:buClr>
                <a:srgbClr val="E43F1C"/>
              </a:buClr>
              <a:buSzPct val="100000"/>
              <a:defRPr/>
            </a:pPr>
            <a:r>
              <a:rPr lang="zh-CN" altLang="en-US" sz="2400" b="1" dirty="0">
                <a:solidFill>
                  <a:srgbClr val="612166"/>
                </a:solidFill>
                <a:latin typeface="微软雅黑" panose="020B0503020204020204" pitchFamily="34" charset="-122"/>
                <a:ea typeface="微软雅黑" panose="020B0503020204020204" pitchFamily="34" charset="-122"/>
              </a:rPr>
              <a:t>艾滋病已成为一种可控的慢性传染性疾病</a:t>
            </a:r>
          </a:p>
        </p:txBody>
      </p:sp>
      <p:grpSp>
        <p:nvGrpSpPr>
          <p:cNvPr id="38" name="组合 37">
            <a:extLst>
              <a:ext uri="{FF2B5EF4-FFF2-40B4-BE49-F238E27FC236}">
                <a16:creationId xmlns:a16="http://schemas.microsoft.com/office/drawing/2014/main" id="{DCAFFF94-BEBF-44D3-8C74-5DE95436DF41}"/>
              </a:ext>
            </a:extLst>
          </p:cNvPr>
          <p:cNvGrpSpPr/>
          <p:nvPr/>
        </p:nvGrpSpPr>
        <p:grpSpPr>
          <a:xfrm>
            <a:off x="-239715" y="1540344"/>
            <a:ext cx="8229117" cy="1702164"/>
            <a:chOff x="-3142921" y="1322777"/>
            <a:chExt cx="11044091" cy="1702164"/>
          </a:xfrm>
        </p:grpSpPr>
        <p:grpSp>
          <p:nvGrpSpPr>
            <p:cNvPr id="198" name="Group 2">
              <a:extLst>
                <a:ext uri="{FF2B5EF4-FFF2-40B4-BE49-F238E27FC236}">
                  <a16:creationId xmlns:a16="http://schemas.microsoft.com/office/drawing/2014/main" id="{243D56CB-C520-4C39-B189-48F2A10A3C66}"/>
                </a:ext>
              </a:extLst>
            </p:cNvPr>
            <p:cNvGrpSpPr/>
            <p:nvPr/>
          </p:nvGrpSpPr>
          <p:grpSpPr>
            <a:xfrm>
              <a:off x="-3142921" y="1322777"/>
              <a:ext cx="11044091" cy="1445215"/>
              <a:chOff x="-2503540" y="1182018"/>
              <a:chExt cx="9251394" cy="2947518"/>
            </a:xfrm>
          </p:grpSpPr>
          <p:grpSp>
            <p:nvGrpSpPr>
              <p:cNvPr id="275" name="组合 7">
                <a:extLst>
                  <a:ext uri="{FF2B5EF4-FFF2-40B4-BE49-F238E27FC236}">
                    <a16:creationId xmlns:a16="http://schemas.microsoft.com/office/drawing/2014/main" id="{9BF6A254-271F-4344-9F21-D3E3872FA38D}"/>
                  </a:ext>
                </a:extLst>
              </p:cNvPr>
              <p:cNvGrpSpPr/>
              <p:nvPr/>
            </p:nvGrpSpPr>
            <p:grpSpPr>
              <a:xfrm>
                <a:off x="517847" y="1617390"/>
                <a:ext cx="4505723" cy="287398"/>
                <a:chOff x="670941" y="3389217"/>
                <a:chExt cx="3050314" cy="502524"/>
              </a:xfrm>
            </p:grpSpPr>
            <p:grpSp>
              <p:nvGrpSpPr>
                <p:cNvPr id="276" name="组合 60">
                  <a:extLst>
                    <a:ext uri="{FF2B5EF4-FFF2-40B4-BE49-F238E27FC236}">
                      <a16:creationId xmlns:a16="http://schemas.microsoft.com/office/drawing/2014/main" id="{0B346F11-4549-4EF8-B7D5-7F39D5A23E57}"/>
                    </a:ext>
                  </a:extLst>
                </p:cNvPr>
                <p:cNvGrpSpPr/>
                <p:nvPr/>
              </p:nvGrpSpPr>
              <p:grpSpPr>
                <a:xfrm>
                  <a:off x="670941" y="3389217"/>
                  <a:ext cx="472138" cy="502524"/>
                  <a:chOff x="10576293" y="1270000"/>
                  <a:chExt cx="687514" cy="568272"/>
                </a:xfrm>
              </p:grpSpPr>
              <p:sp>
                <p:nvSpPr>
                  <p:cNvPr id="281" name="平行四边形 68">
                    <a:extLst>
                      <a:ext uri="{FF2B5EF4-FFF2-40B4-BE49-F238E27FC236}">
                        <a16:creationId xmlns:a16="http://schemas.microsoft.com/office/drawing/2014/main" id="{8CD74CC1-5D41-40D2-A409-83C0A328D44E}"/>
                      </a:ext>
                    </a:extLst>
                  </p:cNvPr>
                  <p:cNvSpPr/>
                  <p:nvPr/>
                </p:nvSpPr>
                <p:spPr>
                  <a:xfrm>
                    <a:off x="10576293" y="1270000"/>
                    <a:ext cx="245326" cy="568272"/>
                  </a:xfrm>
                  <a:prstGeom prst="parallelogram">
                    <a:avLst>
                      <a:gd name="adj" fmla="val 39560"/>
                    </a:avLst>
                  </a:prstGeom>
                  <a:solidFill>
                    <a:schemeClr val="bg1">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82" name="平行四边形 69">
                    <a:extLst>
                      <a:ext uri="{FF2B5EF4-FFF2-40B4-BE49-F238E27FC236}">
                        <a16:creationId xmlns:a16="http://schemas.microsoft.com/office/drawing/2014/main" id="{BC1A8E2E-0CE2-49C8-BB7A-0C1BB1D5AFDA}"/>
                      </a:ext>
                    </a:extLst>
                  </p:cNvPr>
                  <p:cNvSpPr/>
                  <p:nvPr/>
                </p:nvSpPr>
                <p:spPr>
                  <a:xfrm>
                    <a:off x="10797387" y="1270000"/>
                    <a:ext cx="245326" cy="568272"/>
                  </a:xfrm>
                  <a:prstGeom prst="parallelogram">
                    <a:avLst>
                      <a:gd name="adj" fmla="val 39560"/>
                    </a:avLst>
                  </a:prstGeom>
                  <a:solidFill>
                    <a:schemeClr val="bg1">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83" name="平行四边形 70">
                    <a:extLst>
                      <a:ext uri="{FF2B5EF4-FFF2-40B4-BE49-F238E27FC236}">
                        <a16:creationId xmlns:a16="http://schemas.microsoft.com/office/drawing/2014/main" id="{580C964F-CEE0-4C9E-AEC7-EDA629493F8E}"/>
                      </a:ext>
                    </a:extLst>
                  </p:cNvPr>
                  <p:cNvSpPr/>
                  <p:nvPr/>
                </p:nvSpPr>
                <p:spPr>
                  <a:xfrm>
                    <a:off x="11018481" y="1270000"/>
                    <a:ext cx="245326" cy="568272"/>
                  </a:xfrm>
                  <a:prstGeom prst="parallelogram">
                    <a:avLst>
                      <a:gd name="adj" fmla="val 39560"/>
                    </a:avLst>
                  </a:prstGeom>
                  <a:solidFill>
                    <a:schemeClr val="bg1">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grpSp>
            <p:grpSp>
              <p:nvGrpSpPr>
                <p:cNvPr id="277" name="组合 74">
                  <a:extLst>
                    <a:ext uri="{FF2B5EF4-FFF2-40B4-BE49-F238E27FC236}">
                      <a16:creationId xmlns:a16="http://schemas.microsoft.com/office/drawing/2014/main" id="{42C4AC4B-7491-4A0B-977B-94F23EE0C460}"/>
                    </a:ext>
                  </a:extLst>
                </p:cNvPr>
                <p:cNvGrpSpPr/>
                <p:nvPr/>
              </p:nvGrpSpPr>
              <p:grpSpPr>
                <a:xfrm>
                  <a:off x="3249117" y="3389217"/>
                  <a:ext cx="472138" cy="502524"/>
                  <a:chOff x="10576293" y="1270000"/>
                  <a:chExt cx="687514" cy="568272"/>
                </a:xfrm>
              </p:grpSpPr>
              <p:sp>
                <p:nvSpPr>
                  <p:cNvPr id="278" name="平行四边形 75">
                    <a:extLst>
                      <a:ext uri="{FF2B5EF4-FFF2-40B4-BE49-F238E27FC236}">
                        <a16:creationId xmlns:a16="http://schemas.microsoft.com/office/drawing/2014/main" id="{B621B04A-8631-4CF0-AFF4-F333A3BEDC46}"/>
                      </a:ext>
                    </a:extLst>
                  </p:cNvPr>
                  <p:cNvSpPr/>
                  <p:nvPr/>
                </p:nvSpPr>
                <p:spPr>
                  <a:xfrm>
                    <a:off x="10576293" y="1270000"/>
                    <a:ext cx="245326" cy="568272"/>
                  </a:xfrm>
                  <a:prstGeom prst="parallelogram">
                    <a:avLst>
                      <a:gd name="adj" fmla="val 39560"/>
                    </a:avLst>
                  </a:prstGeom>
                  <a:solidFill>
                    <a:schemeClr val="bg1">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79" name="平行四边形 76">
                    <a:extLst>
                      <a:ext uri="{FF2B5EF4-FFF2-40B4-BE49-F238E27FC236}">
                        <a16:creationId xmlns:a16="http://schemas.microsoft.com/office/drawing/2014/main" id="{A4A3C3FE-2C28-4C05-B094-F65E845D5BFC}"/>
                      </a:ext>
                    </a:extLst>
                  </p:cNvPr>
                  <p:cNvSpPr/>
                  <p:nvPr/>
                </p:nvSpPr>
                <p:spPr>
                  <a:xfrm>
                    <a:off x="10797387" y="1270000"/>
                    <a:ext cx="245326" cy="568272"/>
                  </a:xfrm>
                  <a:prstGeom prst="parallelogram">
                    <a:avLst>
                      <a:gd name="adj" fmla="val 39560"/>
                    </a:avLst>
                  </a:prstGeom>
                  <a:solidFill>
                    <a:schemeClr val="bg1">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80" name="平行四边形 77">
                    <a:extLst>
                      <a:ext uri="{FF2B5EF4-FFF2-40B4-BE49-F238E27FC236}">
                        <a16:creationId xmlns:a16="http://schemas.microsoft.com/office/drawing/2014/main" id="{E353E3D1-95EB-4048-8AD8-FC1BBEE36D99}"/>
                      </a:ext>
                    </a:extLst>
                  </p:cNvPr>
                  <p:cNvSpPr/>
                  <p:nvPr/>
                </p:nvSpPr>
                <p:spPr>
                  <a:xfrm>
                    <a:off x="11018481" y="1270000"/>
                    <a:ext cx="245326" cy="568272"/>
                  </a:xfrm>
                  <a:prstGeom prst="parallelogram">
                    <a:avLst>
                      <a:gd name="adj" fmla="val 39560"/>
                    </a:avLst>
                  </a:prstGeom>
                  <a:solidFill>
                    <a:schemeClr val="bg1">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grpSp>
          </p:grpSp>
          <p:grpSp>
            <p:nvGrpSpPr>
              <p:cNvPr id="201" name="组合 8">
                <a:extLst>
                  <a:ext uri="{FF2B5EF4-FFF2-40B4-BE49-F238E27FC236}">
                    <a16:creationId xmlns:a16="http://schemas.microsoft.com/office/drawing/2014/main" id="{9BACF27A-87CE-4EC4-9C27-FFA9BF6E78F1}"/>
                  </a:ext>
                </a:extLst>
              </p:cNvPr>
              <p:cNvGrpSpPr/>
              <p:nvPr/>
            </p:nvGrpSpPr>
            <p:grpSpPr>
              <a:xfrm>
                <a:off x="-2503540" y="1182018"/>
                <a:ext cx="9251394" cy="2947518"/>
                <a:chOff x="-5662097" y="1278743"/>
                <a:chExt cx="20477190" cy="4056773"/>
              </a:xfrm>
            </p:grpSpPr>
            <p:grpSp>
              <p:nvGrpSpPr>
                <p:cNvPr id="203" name="组合 152">
                  <a:extLst>
                    <a:ext uri="{FF2B5EF4-FFF2-40B4-BE49-F238E27FC236}">
                      <a16:creationId xmlns:a16="http://schemas.microsoft.com/office/drawing/2014/main" id="{3FDDA387-49E1-44F1-862C-0DEBC6381385}"/>
                    </a:ext>
                  </a:extLst>
                </p:cNvPr>
                <p:cNvGrpSpPr/>
                <p:nvPr/>
              </p:nvGrpSpPr>
              <p:grpSpPr>
                <a:xfrm>
                  <a:off x="758390" y="1293257"/>
                  <a:ext cx="615706" cy="693638"/>
                  <a:chOff x="989582" y="1244600"/>
                  <a:chExt cx="615706" cy="523220"/>
                </a:xfrm>
              </p:grpSpPr>
              <p:sp>
                <p:nvSpPr>
                  <p:cNvPr id="214" name="平行四边形 156">
                    <a:extLst>
                      <a:ext uri="{FF2B5EF4-FFF2-40B4-BE49-F238E27FC236}">
                        <a16:creationId xmlns:a16="http://schemas.microsoft.com/office/drawing/2014/main" id="{2BF7518F-ED0C-4490-8C24-253F85678647}"/>
                      </a:ext>
                    </a:extLst>
                  </p:cNvPr>
                  <p:cNvSpPr/>
                  <p:nvPr/>
                </p:nvSpPr>
                <p:spPr>
                  <a:xfrm>
                    <a:off x="989582" y="1244600"/>
                    <a:ext cx="404878" cy="523220"/>
                  </a:xfrm>
                  <a:prstGeom prst="parallelogram">
                    <a:avLst/>
                  </a:prstGeom>
                  <a:gradFill flip="none" rotWithShape="1">
                    <a:gsLst>
                      <a:gs pos="8000">
                        <a:schemeClr val="bg1">
                          <a:alpha val="36000"/>
                        </a:schemeClr>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15" name="平行四边形 157">
                    <a:extLst>
                      <a:ext uri="{FF2B5EF4-FFF2-40B4-BE49-F238E27FC236}">
                        <a16:creationId xmlns:a16="http://schemas.microsoft.com/office/drawing/2014/main" id="{7C6DC612-C752-4BA7-BDB0-64290CCC6876}"/>
                      </a:ext>
                    </a:extLst>
                  </p:cNvPr>
                  <p:cNvSpPr/>
                  <p:nvPr/>
                </p:nvSpPr>
                <p:spPr>
                  <a:xfrm flipH="1" flipV="1">
                    <a:off x="1200410" y="1244600"/>
                    <a:ext cx="404878" cy="523220"/>
                  </a:xfrm>
                  <a:prstGeom prst="parallelogram">
                    <a:avLst/>
                  </a:prstGeom>
                  <a:gradFill flip="none" rotWithShape="1">
                    <a:gsLst>
                      <a:gs pos="8000">
                        <a:schemeClr val="bg1">
                          <a:alpha val="36000"/>
                        </a:schemeClr>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grpSp>
            <p:sp>
              <p:nvSpPr>
                <p:cNvPr id="212" name="平行四边形 154">
                  <a:extLst>
                    <a:ext uri="{FF2B5EF4-FFF2-40B4-BE49-F238E27FC236}">
                      <a16:creationId xmlns:a16="http://schemas.microsoft.com/office/drawing/2014/main" id="{AA58D67A-7B11-4945-ACD6-7DD6A44FB6C3}"/>
                    </a:ext>
                  </a:extLst>
                </p:cNvPr>
                <p:cNvSpPr/>
                <p:nvPr/>
              </p:nvSpPr>
              <p:spPr>
                <a:xfrm>
                  <a:off x="5155546" y="1293258"/>
                  <a:ext cx="404877" cy="693639"/>
                </a:xfrm>
                <a:prstGeom prst="parallelogram">
                  <a:avLst/>
                </a:prstGeom>
                <a:gradFill flip="none" rotWithShape="1">
                  <a:gsLst>
                    <a:gs pos="8000">
                      <a:schemeClr val="bg1">
                        <a:alpha val="36000"/>
                      </a:schemeClr>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05" name="文本框 151">
                  <a:extLst>
                    <a:ext uri="{FF2B5EF4-FFF2-40B4-BE49-F238E27FC236}">
                      <a16:creationId xmlns:a16="http://schemas.microsoft.com/office/drawing/2014/main" id="{82011BD0-AD59-4B8B-A6A9-0E8E8D2D927E}"/>
                    </a:ext>
                  </a:extLst>
                </p:cNvPr>
                <p:cNvSpPr txBox="1"/>
                <p:nvPr/>
              </p:nvSpPr>
              <p:spPr>
                <a:xfrm>
                  <a:off x="-5662097" y="4298787"/>
                  <a:ext cx="20477190" cy="1036729"/>
                </a:xfrm>
                <a:prstGeom prst="rect">
                  <a:avLst/>
                </a:prstGeom>
                <a:noFill/>
              </p:spPr>
              <p:txBody>
                <a:bodyPr wrap="square">
                  <a:spAutoFit/>
                </a:bodyPr>
                <a:lstStyle/>
                <a:p>
                  <a:pPr marL="0" marR="0" lvl="0" indent="0" algn="ctr" defTabSz="914400" rtl="0" eaLnBrk="1" fontAlgn="auto" latinLnBrk="0" hangingPunct="1">
                    <a:lnSpc>
                      <a:spcPct val="100000"/>
                    </a:lnSpc>
                    <a:spcBef>
                      <a:spcPts val="600"/>
                    </a:spcBef>
                    <a:spcAft>
                      <a:spcPts val="600"/>
                    </a:spcAft>
                    <a:buClrTx/>
                    <a:buSzTx/>
                    <a:buFontTx/>
                    <a:buNone/>
                    <a:defRPr/>
                  </a:pPr>
                  <a:endParaRPr kumimoji="0" lang="zh-CN" altLang="en-US" b="1" i="0" u="none" strike="noStrike" kern="1200" cap="none" spc="0" normalizeH="0" baseline="0" noProof="0" dirty="0">
                    <a:ln>
                      <a:noFill/>
                    </a:ln>
                    <a:solidFill>
                      <a:schemeClr val="bg1"/>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Arial" panose="020B0604020202020204" pitchFamily="34" charset="0"/>
                  </a:endParaRPr>
                </a:p>
              </p:txBody>
            </p:sp>
            <p:grpSp>
              <p:nvGrpSpPr>
                <p:cNvPr id="206" name="组合 58">
                  <a:extLst>
                    <a:ext uri="{FF2B5EF4-FFF2-40B4-BE49-F238E27FC236}">
                      <a16:creationId xmlns:a16="http://schemas.microsoft.com/office/drawing/2014/main" id="{A07F3F68-61C8-4DC8-B77E-7826CA4CFC3E}"/>
                    </a:ext>
                  </a:extLst>
                </p:cNvPr>
                <p:cNvGrpSpPr/>
                <p:nvPr/>
              </p:nvGrpSpPr>
              <p:grpSpPr>
                <a:xfrm>
                  <a:off x="765069" y="1278743"/>
                  <a:ext cx="615706" cy="693638"/>
                  <a:chOff x="989582" y="1244600"/>
                  <a:chExt cx="615706" cy="523220"/>
                </a:xfrm>
              </p:grpSpPr>
              <p:sp>
                <p:nvSpPr>
                  <p:cNvPr id="210" name="平行四边形 62">
                    <a:extLst>
                      <a:ext uri="{FF2B5EF4-FFF2-40B4-BE49-F238E27FC236}">
                        <a16:creationId xmlns:a16="http://schemas.microsoft.com/office/drawing/2014/main" id="{8D3D066A-87F6-4A95-A745-37E2811DD529}"/>
                      </a:ext>
                    </a:extLst>
                  </p:cNvPr>
                  <p:cNvSpPr/>
                  <p:nvPr/>
                </p:nvSpPr>
                <p:spPr>
                  <a:xfrm>
                    <a:off x="989582" y="1244600"/>
                    <a:ext cx="404878" cy="523220"/>
                  </a:xfrm>
                  <a:prstGeom prst="parallelogram">
                    <a:avLst/>
                  </a:prstGeom>
                  <a:gradFill flip="none" rotWithShape="1">
                    <a:gsLst>
                      <a:gs pos="8000">
                        <a:schemeClr val="bg1">
                          <a:alpha val="36000"/>
                        </a:schemeClr>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211" name="平行四边形 63">
                    <a:extLst>
                      <a:ext uri="{FF2B5EF4-FFF2-40B4-BE49-F238E27FC236}">
                        <a16:creationId xmlns:a16="http://schemas.microsoft.com/office/drawing/2014/main" id="{40885CC7-BC89-479B-93B0-8F9AFCA7EEA1}"/>
                      </a:ext>
                    </a:extLst>
                  </p:cNvPr>
                  <p:cNvSpPr/>
                  <p:nvPr/>
                </p:nvSpPr>
                <p:spPr>
                  <a:xfrm flipH="1" flipV="1">
                    <a:off x="1200410" y="1244600"/>
                    <a:ext cx="404878" cy="523220"/>
                  </a:xfrm>
                  <a:prstGeom prst="parallelogram">
                    <a:avLst/>
                  </a:prstGeom>
                  <a:gradFill flip="none" rotWithShape="1">
                    <a:gsLst>
                      <a:gs pos="8000">
                        <a:schemeClr val="bg1">
                          <a:alpha val="36000"/>
                        </a:schemeClr>
                      </a:gs>
                      <a:gs pos="100000">
                        <a:schemeClr val="bg1">
                          <a:alpha val="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800" b="0" i="0" u="none" strike="noStrike" kern="1200" cap="none" spc="0" normalizeH="0" baseline="0" noProof="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grpSp>
          </p:grpSp>
        </p:grpSp>
        <p:grpSp>
          <p:nvGrpSpPr>
            <p:cNvPr id="311" name="组合 310">
              <a:extLst>
                <a:ext uri="{FF2B5EF4-FFF2-40B4-BE49-F238E27FC236}">
                  <a16:creationId xmlns:a16="http://schemas.microsoft.com/office/drawing/2014/main" id="{0B92E8FE-40E2-4E82-9A55-0BEEE994A3F9}"/>
                </a:ext>
              </a:extLst>
            </p:cNvPr>
            <p:cNvGrpSpPr/>
            <p:nvPr/>
          </p:nvGrpSpPr>
          <p:grpSpPr>
            <a:xfrm>
              <a:off x="1734665" y="2971528"/>
              <a:ext cx="3786587" cy="53413"/>
              <a:chOff x="2388819" y="2751884"/>
              <a:chExt cx="5671164" cy="80940"/>
            </a:xfrm>
          </p:grpSpPr>
          <p:sp>
            <p:nvSpPr>
              <p:cNvPr id="314" name="iŝḻîḓe">
                <a:extLst>
                  <a:ext uri="{FF2B5EF4-FFF2-40B4-BE49-F238E27FC236}">
                    <a16:creationId xmlns:a16="http://schemas.microsoft.com/office/drawing/2014/main" id="{3EF8C713-8734-4472-BE92-7A2D21BD50C8}"/>
                  </a:ext>
                </a:extLst>
              </p:cNvPr>
              <p:cNvSpPr/>
              <p:nvPr/>
            </p:nvSpPr>
            <p:spPr>
              <a:xfrm>
                <a:off x="3786375" y="2751884"/>
                <a:ext cx="80940" cy="80940"/>
              </a:xfrm>
              <a:prstGeom prst="ellipse">
                <a:avLst/>
              </a:prstGeom>
              <a:solidFill>
                <a:srgbClr val="FFFFFF">
                  <a:lumMod val="65000"/>
                </a:srgbClr>
              </a:solidFill>
              <a:ln w="28575" cap="flat" cmpd="sng" algn="ctr">
                <a:solidFill>
                  <a:srgbClr val="FFFFFF"/>
                </a:solidFill>
                <a:prstDash val="solid"/>
              </a:ln>
              <a:effectLst/>
            </p:spPr>
            <p:txBody>
              <a:bodyPr wrap="square" lIns="91440" tIns="45720" rIns="91440" bIns="4572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400" b="0" i="0" u="none" strike="noStrike" kern="0" cap="none" spc="0" normalizeH="0" baseline="0" noProof="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16" name="ïşlïḑê">
                <a:extLst>
                  <a:ext uri="{FF2B5EF4-FFF2-40B4-BE49-F238E27FC236}">
                    <a16:creationId xmlns:a16="http://schemas.microsoft.com/office/drawing/2014/main" id="{724BA710-F764-4B2B-BD9D-07C6EE8B102C}"/>
                  </a:ext>
                </a:extLst>
              </p:cNvPr>
              <p:cNvSpPr/>
              <p:nvPr/>
            </p:nvSpPr>
            <p:spPr>
              <a:xfrm>
                <a:off x="2388819" y="2751884"/>
                <a:ext cx="80940" cy="80940"/>
              </a:xfrm>
              <a:prstGeom prst="ellipse">
                <a:avLst/>
              </a:prstGeom>
              <a:solidFill>
                <a:srgbClr val="FFFFFF">
                  <a:lumMod val="65000"/>
                </a:srgbClr>
              </a:solidFill>
              <a:ln w="28575" cap="flat" cmpd="sng" algn="ctr">
                <a:solidFill>
                  <a:srgbClr val="FFFFFF"/>
                </a:solidFill>
                <a:prstDash val="solid"/>
              </a:ln>
              <a:effectLst/>
            </p:spPr>
            <p:txBody>
              <a:bodyPr wrap="square" lIns="91440" tIns="45720" rIns="91440" bIns="4572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400" b="0" i="0" u="none" strike="noStrike" kern="0" cap="none" spc="0" normalizeH="0" baseline="0" noProof="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18" name="îŝ1íḋe">
                <a:extLst>
                  <a:ext uri="{FF2B5EF4-FFF2-40B4-BE49-F238E27FC236}">
                    <a16:creationId xmlns:a16="http://schemas.microsoft.com/office/drawing/2014/main" id="{A08776D4-0F3A-4155-90A0-5FD5A19A1137}"/>
                  </a:ext>
                </a:extLst>
              </p:cNvPr>
              <p:cNvSpPr/>
              <p:nvPr/>
            </p:nvSpPr>
            <p:spPr>
              <a:xfrm>
                <a:off x="5183931" y="2751884"/>
                <a:ext cx="80940" cy="80940"/>
              </a:xfrm>
              <a:prstGeom prst="ellipse">
                <a:avLst/>
              </a:prstGeom>
              <a:solidFill>
                <a:srgbClr val="FFFFFF">
                  <a:lumMod val="65000"/>
                </a:srgbClr>
              </a:solidFill>
              <a:ln w="28575" cap="flat" cmpd="sng" algn="ctr">
                <a:solidFill>
                  <a:srgbClr val="FFFFFF"/>
                </a:solidFill>
                <a:prstDash val="solid"/>
              </a:ln>
              <a:effectLst/>
            </p:spPr>
            <p:txBody>
              <a:bodyPr wrap="square" lIns="91440" tIns="45720" rIns="91440" bIns="4572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400" b="0" i="0" u="none" strike="noStrike" kern="0" cap="none" spc="0" normalizeH="0" baseline="0" noProof="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20" name="íṧľiḑê">
                <a:extLst>
                  <a:ext uri="{FF2B5EF4-FFF2-40B4-BE49-F238E27FC236}">
                    <a16:creationId xmlns:a16="http://schemas.microsoft.com/office/drawing/2014/main" id="{E2EDF73E-CC66-4790-9C4E-1DCA2BB421A9}"/>
                  </a:ext>
                </a:extLst>
              </p:cNvPr>
              <p:cNvSpPr/>
              <p:nvPr/>
            </p:nvSpPr>
            <p:spPr>
              <a:xfrm>
                <a:off x="6581487" y="2751884"/>
                <a:ext cx="80940" cy="80940"/>
              </a:xfrm>
              <a:prstGeom prst="ellipse">
                <a:avLst/>
              </a:prstGeom>
              <a:solidFill>
                <a:srgbClr val="FFFFFF">
                  <a:lumMod val="65000"/>
                </a:srgbClr>
              </a:solidFill>
              <a:ln w="28575" cap="flat" cmpd="sng" algn="ctr">
                <a:solidFill>
                  <a:srgbClr val="FFFFFF"/>
                </a:solidFill>
                <a:prstDash val="solid"/>
              </a:ln>
              <a:effectLst/>
            </p:spPr>
            <p:txBody>
              <a:bodyPr wrap="square" lIns="91440" tIns="45720" rIns="91440" bIns="4572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400" b="0" i="0" u="none" strike="noStrike" kern="0" cap="none" spc="0" normalizeH="0" baseline="0" noProof="0" dirty="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22" name="îşļíḓe">
                <a:extLst>
                  <a:ext uri="{FF2B5EF4-FFF2-40B4-BE49-F238E27FC236}">
                    <a16:creationId xmlns:a16="http://schemas.microsoft.com/office/drawing/2014/main" id="{AAD927E6-498B-4FEB-97D3-9AF252CBA446}"/>
                  </a:ext>
                </a:extLst>
              </p:cNvPr>
              <p:cNvSpPr/>
              <p:nvPr/>
            </p:nvSpPr>
            <p:spPr>
              <a:xfrm>
                <a:off x="7979043" y="2751884"/>
                <a:ext cx="80940" cy="80940"/>
              </a:xfrm>
              <a:prstGeom prst="ellipse">
                <a:avLst/>
              </a:prstGeom>
              <a:solidFill>
                <a:srgbClr val="FFFFFF">
                  <a:lumMod val="65000"/>
                </a:srgbClr>
              </a:solidFill>
              <a:ln w="28575" cap="flat" cmpd="sng" algn="ctr">
                <a:solidFill>
                  <a:srgbClr val="FFFFFF"/>
                </a:solidFill>
                <a:prstDash val="solid"/>
              </a:ln>
              <a:effectLst/>
            </p:spPr>
            <p:txBody>
              <a:bodyPr wrap="square" lIns="91440" tIns="45720" rIns="91440" bIns="4572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400" b="0" i="0" u="none" strike="noStrike" kern="0" cap="none" spc="0" normalizeH="0" baseline="0" noProof="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grpSp>
      </p:grpSp>
      <p:pic>
        <p:nvPicPr>
          <p:cNvPr id="4100" name="Picture 4" descr="查看源图像">
            <a:extLst>
              <a:ext uri="{FF2B5EF4-FFF2-40B4-BE49-F238E27FC236}">
                <a16:creationId xmlns:a16="http://schemas.microsoft.com/office/drawing/2014/main" id="{3A275EDB-9140-4376-A8E8-6A5FD99782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249175" y="598903"/>
            <a:ext cx="729430" cy="553998"/>
          </a:xfrm>
          <a:prstGeom prst="rect">
            <a:avLst/>
          </a:prstGeom>
          <a:noFill/>
          <a:extLst>
            <a:ext uri="{909E8E84-426E-40DD-AFC4-6F175D3DCCD1}">
              <a14:hiddenFill xmlns:a14="http://schemas.microsoft.com/office/drawing/2010/main">
                <a:solidFill>
                  <a:srgbClr val="FFFFFF"/>
                </a:solidFill>
              </a14:hiddenFill>
            </a:ext>
          </a:extLst>
        </p:spPr>
      </p:pic>
      <p:sp>
        <p:nvSpPr>
          <p:cNvPr id="56" name="Rectangle 224">
            <a:extLst>
              <a:ext uri="{FF2B5EF4-FFF2-40B4-BE49-F238E27FC236}">
                <a16:creationId xmlns:a16="http://schemas.microsoft.com/office/drawing/2014/main" id="{B9F181AC-49FD-4AC7-A7D9-8235A3CD39EB}"/>
              </a:ext>
            </a:extLst>
          </p:cNvPr>
          <p:cNvSpPr/>
          <p:nvPr/>
        </p:nvSpPr>
        <p:spPr bwMode="auto">
          <a:xfrm>
            <a:off x="4369652" y="1642378"/>
            <a:ext cx="2454929" cy="786971"/>
          </a:xfrm>
          <a:prstGeom prst="rect">
            <a:avLst/>
          </a:prstGeom>
          <a:noFill/>
          <a:ln w="28575">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800"/>
              </a:spcBef>
              <a:spcAft>
                <a:spcPts val="800"/>
              </a:spcAft>
              <a:buClr>
                <a:srgbClr val="544F40"/>
              </a:buClr>
              <a:buSzTx/>
              <a:buFontTx/>
              <a:buNone/>
              <a:tabLst/>
              <a:defRPr/>
            </a:pPr>
            <a:r>
              <a:rPr kumimoji="0" lang="zh-CN" altLang="en-US" sz="1400" b="1" i="0" u="none" strike="noStrike" kern="1200" cap="none" spc="0" normalizeH="0" baseline="0" noProof="0" dirty="0">
                <a:ln>
                  <a:noFill/>
                </a:ln>
                <a:solidFill>
                  <a:srgbClr val="635A54"/>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患病率</a:t>
            </a:r>
            <a:endParaRPr kumimoji="0" lang="en-GB" sz="1400" b="1" i="0" u="none" strike="noStrike" kern="1200" cap="none" spc="0" normalizeH="0" baseline="0" noProof="0" dirty="0">
              <a:ln>
                <a:noFill/>
              </a:ln>
              <a:solidFill>
                <a:srgbClr val="635A54"/>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57" name="Oval 226">
            <a:extLst>
              <a:ext uri="{FF2B5EF4-FFF2-40B4-BE49-F238E27FC236}">
                <a16:creationId xmlns:a16="http://schemas.microsoft.com/office/drawing/2014/main" id="{560CB759-AE07-4D80-8564-A28006B70DA2}"/>
              </a:ext>
            </a:extLst>
          </p:cNvPr>
          <p:cNvSpPr/>
          <p:nvPr/>
        </p:nvSpPr>
        <p:spPr>
          <a:xfrm>
            <a:off x="4789451" y="1945969"/>
            <a:ext cx="1555107" cy="543830"/>
          </a:xfrm>
          <a:prstGeom prst="ellipse">
            <a:avLst/>
          </a:prstGeom>
          <a:solidFill>
            <a:srgbClr val="B8075F"/>
          </a:solidFill>
          <a:ln w="6350">
            <a:gradFill>
              <a:gsLst>
                <a:gs pos="0">
                  <a:schemeClr val="accent1"/>
                </a:gs>
                <a:gs pos="100000">
                  <a:schemeClr val="accent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58" name="TextBox 227">
            <a:extLst>
              <a:ext uri="{FF2B5EF4-FFF2-40B4-BE49-F238E27FC236}">
                <a16:creationId xmlns:a16="http://schemas.microsoft.com/office/drawing/2014/main" id="{D9D8A892-5707-4B76-A5E0-1D6E81C57C5B}"/>
              </a:ext>
            </a:extLst>
          </p:cNvPr>
          <p:cNvSpPr txBox="1"/>
          <p:nvPr/>
        </p:nvSpPr>
        <p:spPr>
          <a:xfrm>
            <a:off x="4505175" y="2011340"/>
            <a:ext cx="2252817" cy="584775"/>
          </a:xfrm>
          <a:prstGeom prst="rect">
            <a:avLst/>
          </a:prstGeom>
          <a:noFill/>
        </p:spPr>
        <p:txBody>
          <a:bodyPr wrap="square">
            <a:spAutoFit/>
          </a:bodyPr>
          <a:lstStyle/>
          <a:p>
            <a:pPr algn="ctr"/>
            <a:r>
              <a:rPr lang="en-GB" sz="2000" b="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80.9</a:t>
            </a:r>
            <a:r>
              <a:rPr kumimoji="0" lang="en-US" altLang="zh-CN" sz="1200" b="1" i="0" u="none" strike="noStrike" kern="0" cap="none" spc="0" normalizeH="0" baseline="0" noProof="0" dirty="0">
                <a:ln>
                  <a:noFill/>
                </a:ln>
                <a:solidFill>
                  <a:schemeClr val="bg1"/>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10</a:t>
            </a:r>
            <a:r>
              <a:rPr kumimoji="0" lang="zh-CN" altLang="en-US" sz="1200" b="1" i="0" u="none" strike="noStrike" kern="0" cap="none" spc="0" normalizeH="0" baseline="0" noProof="0" dirty="0">
                <a:ln>
                  <a:noFill/>
                </a:ln>
                <a:solidFill>
                  <a:schemeClr val="bg1"/>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万</a:t>
            </a:r>
            <a:endParaRPr kumimoji="0" lang="en-US" altLang="zh-CN" sz="1200" b="1" i="0" u="none" strike="noStrike" kern="0" cap="none" spc="0" normalizeH="0" baseline="0" noProof="0" dirty="0">
              <a:ln>
                <a:noFill/>
              </a:ln>
              <a:solidFill>
                <a:schemeClr val="bg1"/>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algn="ctr"/>
            <a:endParaRPr lang="en-US" altLang="zh-CN" sz="1200" i="1" kern="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59" name="Rectangle 224">
            <a:extLst>
              <a:ext uri="{FF2B5EF4-FFF2-40B4-BE49-F238E27FC236}">
                <a16:creationId xmlns:a16="http://schemas.microsoft.com/office/drawing/2014/main" id="{15E4C97B-FE58-46C9-96B2-18C954C5A6A2}"/>
              </a:ext>
            </a:extLst>
          </p:cNvPr>
          <p:cNvSpPr/>
          <p:nvPr/>
        </p:nvSpPr>
        <p:spPr bwMode="auto">
          <a:xfrm>
            <a:off x="1015819" y="1683049"/>
            <a:ext cx="2454929" cy="786971"/>
          </a:xfrm>
          <a:prstGeom prst="rect">
            <a:avLst/>
          </a:prstGeom>
          <a:noFill/>
          <a:ln w="28575">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800"/>
              </a:spcBef>
              <a:spcAft>
                <a:spcPts val="800"/>
              </a:spcAft>
              <a:buClr>
                <a:srgbClr val="544F40"/>
              </a:buClr>
              <a:buSzTx/>
              <a:buFontTx/>
              <a:buNone/>
              <a:tabLst/>
              <a:defRPr/>
            </a:pPr>
            <a:r>
              <a:rPr lang="zh-CN" altLang="en-US" sz="1400" b="1" dirty="0">
                <a:solidFill>
                  <a:srgbClr val="635A54"/>
                </a:solidFill>
                <a:latin typeface="Times New Roman" panose="02020603050405020304" pitchFamily="18" charset="0"/>
                <a:ea typeface="微软雅黑" panose="020B0503020204020204" pitchFamily="34" charset="-122"/>
                <a:cs typeface="Times New Roman" panose="02020603050405020304" pitchFamily="18" charset="0"/>
              </a:rPr>
              <a:t>发病率</a:t>
            </a:r>
            <a:endParaRPr kumimoji="0" lang="en-GB" sz="1400" b="1" i="0" u="none" strike="noStrike" kern="1200" cap="none" spc="0" normalizeH="0" baseline="0" noProof="0" dirty="0">
              <a:ln>
                <a:noFill/>
              </a:ln>
              <a:solidFill>
                <a:srgbClr val="635A54"/>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60" name="Oval 226">
            <a:extLst>
              <a:ext uri="{FF2B5EF4-FFF2-40B4-BE49-F238E27FC236}">
                <a16:creationId xmlns:a16="http://schemas.microsoft.com/office/drawing/2014/main" id="{097556D8-C073-48EC-9A4B-6A2F47C2B13B}"/>
              </a:ext>
            </a:extLst>
          </p:cNvPr>
          <p:cNvSpPr/>
          <p:nvPr/>
        </p:nvSpPr>
        <p:spPr>
          <a:xfrm>
            <a:off x="1435618" y="1986640"/>
            <a:ext cx="1555107" cy="540065"/>
          </a:xfrm>
          <a:prstGeom prst="ellipse">
            <a:avLst/>
          </a:prstGeom>
          <a:solidFill>
            <a:srgbClr val="B8075F"/>
          </a:solidFill>
          <a:ln w="6350">
            <a:gradFill>
              <a:gsLst>
                <a:gs pos="0">
                  <a:schemeClr val="accent1"/>
                </a:gs>
                <a:gs pos="100000">
                  <a:schemeClr val="accent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62" name="TextBox 227">
            <a:extLst>
              <a:ext uri="{FF2B5EF4-FFF2-40B4-BE49-F238E27FC236}">
                <a16:creationId xmlns:a16="http://schemas.microsoft.com/office/drawing/2014/main" id="{40FEE7D8-5DBD-4308-9BBB-61AC39C22C43}"/>
              </a:ext>
            </a:extLst>
          </p:cNvPr>
          <p:cNvSpPr txBox="1"/>
          <p:nvPr/>
        </p:nvSpPr>
        <p:spPr>
          <a:xfrm>
            <a:off x="1663531" y="2014687"/>
            <a:ext cx="1028227" cy="584775"/>
          </a:xfrm>
          <a:prstGeom prst="rect">
            <a:avLst/>
          </a:prstGeom>
          <a:noFill/>
        </p:spPr>
        <p:txBody>
          <a:bodyPr wrap="square">
            <a:spAutoFit/>
          </a:bodyPr>
          <a:lstStyle/>
          <a:p>
            <a:pPr algn="ctr"/>
            <a:r>
              <a:rPr lang="en-GB" sz="2000" b="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7.9</a:t>
            </a:r>
            <a:r>
              <a:rPr kumimoji="0" lang="en-US" altLang="zh-CN" sz="1200" b="1" i="0" u="none" strike="noStrike" kern="0" cap="none" spc="0" normalizeH="0" baseline="0" noProof="0" dirty="0">
                <a:ln>
                  <a:noFill/>
                </a:ln>
                <a:solidFill>
                  <a:schemeClr val="bg1"/>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10</a:t>
            </a:r>
            <a:r>
              <a:rPr kumimoji="0" lang="zh-CN" altLang="en-US" sz="1200" b="1" i="0" u="none" strike="noStrike" kern="0" cap="none" spc="0" normalizeH="0" baseline="0" noProof="0" dirty="0">
                <a:ln>
                  <a:noFill/>
                </a:ln>
                <a:solidFill>
                  <a:schemeClr val="bg1"/>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万</a:t>
            </a:r>
            <a:endParaRPr kumimoji="0" lang="en-US" altLang="zh-CN" sz="1200" b="1" i="0" u="none" strike="noStrike" kern="0" cap="none" spc="0" normalizeH="0" baseline="0" noProof="0" dirty="0">
              <a:ln>
                <a:noFill/>
              </a:ln>
              <a:solidFill>
                <a:schemeClr val="bg1"/>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algn="ctr"/>
            <a:endParaRPr lang="en-US" altLang="zh-CN" sz="1200" i="1" kern="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63" name="文本框 62">
            <a:extLst>
              <a:ext uri="{FF2B5EF4-FFF2-40B4-BE49-F238E27FC236}">
                <a16:creationId xmlns:a16="http://schemas.microsoft.com/office/drawing/2014/main" id="{271003B7-9E96-4332-A83F-2E2257A45A67}"/>
              </a:ext>
            </a:extLst>
          </p:cNvPr>
          <p:cNvSpPr txBox="1"/>
          <p:nvPr/>
        </p:nvSpPr>
        <p:spPr>
          <a:xfrm>
            <a:off x="3613571" y="2525524"/>
            <a:ext cx="4724460" cy="338554"/>
          </a:xfrm>
          <a:prstGeom prst="rect">
            <a:avLst/>
          </a:prstGeom>
          <a:noFill/>
        </p:spPr>
        <p:txBody>
          <a:bodyPr wrap="square">
            <a:spAutoFit/>
          </a:bodyPr>
          <a:lstStyle/>
          <a:p>
            <a:pPr algn="ct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截至</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2021</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年</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10</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月底，全国现存</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HIV</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感染者</a:t>
            </a:r>
            <a:r>
              <a:rPr lang="en-US" altLang="zh-CN" sz="1600" b="1" dirty="0">
                <a:solidFill>
                  <a:srgbClr val="D25E97"/>
                </a:solidFill>
                <a:latin typeface="Times New Roman" panose="02020603050405020304" pitchFamily="18" charset="0"/>
                <a:ea typeface="微软雅黑" panose="020B0503020204020204" pitchFamily="34" charset="-122"/>
                <a:cs typeface="Times New Roman" panose="02020603050405020304" pitchFamily="18" charset="0"/>
              </a:rPr>
              <a:t>114</a:t>
            </a:r>
            <a:r>
              <a:rPr lang="zh-CN" altLang="en-US" sz="1600" b="1" dirty="0">
                <a:solidFill>
                  <a:srgbClr val="D25E97"/>
                </a:solidFill>
                <a:latin typeface="Times New Roman" panose="02020603050405020304" pitchFamily="18" charset="0"/>
                <a:ea typeface="微软雅黑" panose="020B0503020204020204" pitchFamily="34" charset="-122"/>
                <a:cs typeface="Times New Roman" panose="02020603050405020304" pitchFamily="18" charset="0"/>
              </a:rPr>
              <a:t>万</a:t>
            </a:r>
            <a:r>
              <a:rPr lang="zh-CN" altLang="en-US" sz="1200" b="1" dirty="0">
                <a:latin typeface="Times New Roman" panose="02020603050405020304" pitchFamily="18" charset="0"/>
                <a:ea typeface="微软雅黑" panose="020B0503020204020204" pitchFamily="34" charset="-122"/>
                <a:cs typeface="Times New Roman" panose="02020603050405020304" pitchFamily="18" charset="0"/>
              </a:rPr>
              <a:t>例</a:t>
            </a:r>
            <a:r>
              <a:rPr lang="en-US" altLang="zh-CN" sz="1200" b="1" baseline="30000" dirty="0">
                <a:latin typeface="Times New Roman" panose="02020603050405020304" pitchFamily="18" charset="0"/>
                <a:ea typeface="微软雅黑" panose="020B0503020204020204" pitchFamily="34" charset="-122"/>
                <a:cs typeface="Times New Roman" panose="02020603050405020304" pitchFamily="18" charset="0"/>
              </a:rPr>
              <a:t>1</a:t>
            </a:r>
            <a:endParaRPr lang="en-US" sz="1200" i="1"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65" name="文本框 64">
            <a:extLst>
              <a:ext uri="{FF2B5EF4-FFF2-40B4-BE49-F238E27FC236}">
                <a16:creationId xmlns:a16="http://schemas.microsoft.com/office/drawing/2014/main" id="{254C9586-79D0-4905-B6B9-DECB3B0C3C1A}"/>
              </a:ext>
            </a:extLst>
          </p:cNvPr>
          <p:cNvSpPr txBox="1"/>
          <p:nvPr/>
        </p:nvSpPr>
        <p:spPr>
          <a:xfrm>
            <a:off x="458014" y="2452532"/>
            <a:ext cx="3474475" cy="418063"/>
          </a:xfrm>
          <a:prstGeom prst="rect">
            <a:avLst/>
          </a:prstGeom>
          <a:noFill/>
        </p:spPr>
        <p:txBody>
          <a:bodyPr wrap="square">
            <a:spAutoFit/>
          </a:bodyPr>
          <a:lstStyle/>
          <a:p>
            <a:pPr>
              <a:lnSpc>
                <a:spcPct val="150000"/>
              </a:lnSpc>
            </a:pP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2021</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年</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1-10</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月，全国</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HIV</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感染者</a:t>
            </a:r>
            <a:r>
              <a:rPr lang="en-US" altLang="zh-CN" sz="1600" b="1" dirty="0">
                <a:solidFill>
                  <a:srgbClr val="D25E97"/>
                </a:solidFill>
                <a:latin typeface="Times New Roman" panose="02020603050405020304" pitchFamily="18" charset="0"/>
                <a:ea typeface="微软雅黑" panose="020B0503020204020204" pitchFamily="34" charset="-122"/>
                <a:cs typeface="Times New Roman" panose="02020603050405020304" pitchFamily="18" charset="0"/>
              </a:rPr>
              <a:t>11.1</a:t>
            </a:r>
            <a:r>
              <a:rPr lang="zh-CN" altLang="en-US" sz="1600" b="1" dirty="0">
                <a:solidFill>
                  <a:srgbClr val="D25E97"/>
                </a:solidFill>
                <a:latin typeface="Times New Roman" panose="02020603050405020304" pitchFamily="18" charset="0"/>
                <a:ea typeface="微软雅黑" panose="020B0503020204020204" pitchFamily="34" charset="-122"/>
                <a:cs typeface="Times New Roman" panose="02020603050405020304" pitchFamily="18" charset="0"/>
              </a:rPr>
              <a:t>万</a:t>
            </a:r>
            <a:r>
              <a:rPr lang="zh-CN" altLang="en-US" sz="1200" b="1" dirty="0">
                <a:latin typeface="Times New Roman" panose="02020603050405020304" pitchFamily="18" charset="0"/>
                <a:ea typeface="微软雅黑" panose="020B0503020204020204" pitchFamily="34" charset="-122"/>
                <a:cs typeface="Times New Roman" panose="02020603050405020304" pitchFamily="18" charset="0"/>
              </a:rPr>
              <a:t>例</a:t>
            </a:r>
            <a:r>
              <a:rPr lang="en-US" altLang="zh-CN" sz="1200" b="1" baseline="30000" dirty="0">
                <a:latin typeface="Times New Roman" panose="02020603050405020304" pitchFamily="18" charset="0"/>
                <a:ea typeface="微软雅黑" panose="020B0503020204020204" pitchFamily="34" charset="-122"/>
                <a:cs typeface="Times New Roman" panose="02020603050405020304" pitchFamily="18" charset="0"/>
              </a:rPr>
              <a:t>1</a:t>
            </a:r>
            <a:endParaRPr lang="en-US" altLang="zh-CN" sz="1200" dirty="0">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p:txBody>
      </p:sp>
      <p:sp>
        <p:nvSpPr>
          <p:cNvPr id="64" name="Rectangle 224">
            <a:extLst>
              <a:ext uri="{FF2B5EF4-FFF2-40B4-BE49-F238E27FC236}">
                <a16:creationId xmlns:a16="http://schemas.microsoft.com/office/drawing/2014/main" id="{F7A2C51C-F476-4549-80A4-6F23AADDDDD9}"/>
              </a:ext>
            </a:extLst>
          </p:cNvPr>
          <p:cNvSpPr/>
          <p:nvPr/>
        </p:nvSpPr>
        <p:spPr bwMode="auto">
          <a:xfrm>
            <a:off x="8016369" y="1662097"/>
            <a:ext cx="2454929" cy="786971"/>
          </a:xfrm>
          <a:prstGeom prst="rect">
            <a:avLst/>
          </a:prstGeom>
          <a:noFill/>
          <a:ln w="28575">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800"/>
              </a:spcBef>
              <a:spcAft>
                <a:spcPts val="800"/>
              </a:spcAft>
              <a:buClr>
                <a:srgbClr val="544F40"/>
              </a:buClr>
              <a:buSzTx/>
              <a:buFontTx/>
              <a:buNone/>
              <a:tabLst/>
              <a:defRPr/>
            </a:pPr>
            <a:r>
              <a:rPr lang="zh-CN" altLang="en-US" sz="1400" b="1" dirty="0">
                <a:solidFill>
                  <a:srgbClr val="635A54"/>
                </a:solidFill>
                <a:latin typeface="Times New Roman" panose="02020603050405020304" pitchFamily="18" charset="0"/>
                <a:ea typeface="微软雅黑" panose="020B0503020204020204" pitchFamily="34" charset="-122"/>
                <a:cs typeface="Times New Roman" panose="02020603050405020304" pitchFamily="18" charset="0"/>
              </a:rPr>
              <a:t>死亡</a:t>
            </a:r>
            <a:r>
              <a:rPr kumimoji="0" lang="zh-CN" altLang="en-US" sz="1400" b="1" i="0" u="none" strike="noStrike" kern="1200" cap="none" spc="0" normalizeH="0" baseline="0" noProof="0" dirty="0">
                <a:ln>
                  <a:noFill/>
                </a:ln>
                <a:solidFill>
                  <a:srgbClr val="635A54"/>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率</a:t>
            </a:r>
            <a:endParaRPr kumimoji="0" lang="en-GB" sz="1400" b="1" i="0" u="none" strike="noStrike" kern="1200" cap="none" spc="0" normalizeH="0" baseline="0" noProof="0" dirty="0">
              <a:ln>
                <a:noFill/>
              </a:ln>
              <a:solidFill>
                <a:srgbClr val="635A54"/>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66" name="Oval 226">
            <a:extLst>
              <a:ext uri="{FF2B5EF4-FFF2-40B4-BE49-F238E27FC236}">
                <a16:creationId xmlns:a16="http://schemas.microsoft.com/office/drawing/2014/main" id="{1EDA36DC-31A4-4E3B-B273-2E4004D6AADD}"/>
              </a:ext>
            </a:extLst>
          </p:cNvPr>
          <p:cNvSpPr/>
          <p:nvPr/>
        </p:nvSpPr>
        <p:spPr>
          <a:xfrm>
            <a:off x="8422525" y="2035433"/>
            <a:ext cx="1555107" cy="491271"/>
          </a:xfrm>
          <a:prstGeom prst="ellipse">
            <a:avLst/>
          </a:prstGeom>
          <a:solidFill>
            <a:srgbClr val="B8075F"/>
          </a:solidFill>
          <a:ln w="6350">
            <a:gradFill>
              <a:gsLst>
                <a:gs pos="0">
                  <a:schemeClr val="accent1"/>
                </a:gs>
                <a:gs pos="100000">
                  <a:schemeClr val="accent2"/>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67" name="文本框 66">
            <a:extLst>
              <a:ext uri="{FF2B5EF4-FFF2-40B4-BE49-F238E27FC236}">
                <a16:creationId xmlns:a16="http://schemas.microsoft.com/office/drawing/2014/main" id="{C2A95BA9-D2FB-485F-BBF9-CFC729B86622}"/>
              </a:ext>
            </a:extLst>
          </p:cNvPr>
          <p:cNvSpPr txBox="1"/>
          <p:nvPr/>
        </p:nvSpPr>
        <p:spPr>
          <a:xfrm>
            <a:off x="6907379" y="2489453"/>
            <a:ext cx="4724460" cy="338554"/>
          </a:xfrm>
          <a:prstGeom prst="rect">
            <a:avLst/>
          </a:prstGeom>
          <a:noFill/>
        </p:spPr>
        <p:txBody>
          <a:bodyPr wrap="square">
            <a:spAutoFit/>
          </a:bodyPr>
          <a:lstStyle/>
          <a:p>
            <a:pPr algn="ct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2021</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年全国艾滋病死亡</a:t>
            </a:r>
            <a:r>
              <a:rPr lang="en-US" altLang="zh-CN" sz="1600" b="1" dirty="0">
                <a:solidFill>
                  <a:srgbClr val="D25E97"/>
                </a:solidFill>
                <a:latin typeface="Times New Roman" panose="02020603050405020304" pitchFamily="18" charset="0"/>
                <a:ea typeface="微软雅黑" panose="020B0503020204020204" pitchFamily="34" charset="-122"/>
                <a:cs typeface="Times New Roman" panose="02020603050405020304" pitchFamily="18" charset="0"/>
              </a:rPr>
              <a:t>19623</a:t>
            </a:r>
            <a:r>
              <a:rPr lang="zh-CN" altLang="en-US" sz="1600" b="1" dirty="0">
                <a:solidFill>
                  <a:srgbClr val="D25E97"/>
                </a:solidFill>
                <a:latin typeface="Times New Roman" panose="02020603050405020304" pitchFamily="18" charset="0"/>
                <a:ea typeface="微软雅黑" panose="020B0503020204020204" pitchFamily="34" charset="-122"/>
                <a:cs typeface="Times New Roman" panose="02020603050405020304" pitchFamily="18" charset="0"/>
              </a:rPr>
              <a:t>例</a:t>
            </a:r>
            <a:r>
              <a:rPr lang="en-US" altLang="zh-CN" sz="1600" b="1" baseline="30000" dirty="0">
                <a:latin typeface="Times New Roman" panose="02020603050405020304" pitchFamily="18" charset="0"/>
                <a:ea typeface="微软雅黑" panose="020B0503020204020204" pitchFamily="34" charset="-122"/>
                <a:cs typeface="Times New Roman" panose="02020603050405020304" pitchFamily="18" charset="0"/>
              </a:rPr>
              <a:t>2</a:t>
            </a:r>
            <a:endParaRPr lang="en-US" sz="1200" i="1" baseline="30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68" name="TextBox 227">
            <a:extLst>
              <a:ext uri="{FF2B5EF4-FFF2-40B4-BE49-F238E27FC236}">
                <a16:creationId xmlns:a16="http://schemas.microsoft.com/office/drawing/2014/main" id="{638CBFDF-374E-4108-A762-09463566FE71}"/>
              </a:ext>
            </a:extLst>
          </p:cNvPr>
          <p:cNvSpPr txBox="1"/>
          <p:nvPr/>
        </p:nvSpPr>
        <p:spPr>
          <a:xfrm>
            <a:off x="7986095" y="2021989"/>
            <a:ext cx="2560860" cy="584775"/>
          </a:xfrm>
          <a:prstGeom prst="rect">
            <a:avLst/>
          </a:prstGeom>
          <a:noFill/>
        </p:spPr>
        <p:txBody>
          <a:bodyPr wrap="square">
            <a:spAutoFit/>
          </a:bodyPr>
          <a:lstStyle/>
          <a:p>
            <a:pPr algn="ctr"/>
            <a:r>
              <a:rPr lang="en-GB" sz="2000" b="1"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1.4</a:t>
            </a:r>
            <a:r>
              <a:rPr kumimoji="0" lang="en-US" altLang="zh-CN" sz="1200" b="1" i="0" u="none" strike="noStrike" kern="0" cap="none" spc="0" normalizeH="0" baseline="0" noProof="0" dirty="0">
                <a:ln>
                  <a:noFill/>
                </a:ln>
                <a:solidFill>
                  <a:schemeClr val="bg1"/>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10</a:t>
            </a:r>
            <a:r>
              <a:rPr kumimoji="0" lang="zh-CN" altLang="en-US" sz="1200" b="1" i="0" u="none" strike="noStrike" kern="0" cap="none" spc="0" normalizeH="0" baseline="0" noProof="0" dirty="0">
                <a:ln>
                  <a:noFill/>
                </a:ln>
                <a:solidFill>
                  <a:schemeClr val="bg1"/>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万</a:t>
            </a:r>
            <a:endParaRPr kumimoji="0" lang="en-US" altLang="zh-CN" sz="1200" b="1" i="0" u="none" strike="noStrike" kern="0" cap="none" spc="0" normalizeH="0" baseline="0" noProof="0" dirty="0">
              <a:ln>
                <a:noFill/>
              </a:ln>
              <a:solidFill>
                <a:schemeClr val="bg1"/>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algn="ctr"/>
            <a:endParaRPr lang="en-US" altLang="zh-CN" sz="1200" i="1" kern="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72" name="文本框 71">
            <a:extLst>
              <a:ext uri="{FF2B5EF4-FFF2-40B4-BE49-F238E27FC236}">
                <a16:creationId xmlns:a16="http://schemas.microsoft.com/office/drawing/2014/main" id="{0FF615E7-4704-4FD3-B054-82DF800DBF8E}"/>
              </a:ext>
            </a:extLst>
          </p:cNvPr>
          <p:cNvSpPr txBox="1"/>
          <p:nvPr/>
        </p:nvSpPr>
        <p:spPr>
          <a:xfrm>
            <a:off x="371753" y="1238232"/>
            <a:ext cx="8523379" cy="338554"/>
          </a:xfrm>
          <a:prstGeom prst="rect">
            <a:avLst/>
          </a:prstGeom>
          <a:noFill/>
        </p:spPr>
        <p:txBody>
          <a:bodyPr wrap="square">
            <a:spAutoFit/>
          </a:bodyPr>
          <a:lstStyle/>
          <a:p>
            <a:pPr marL="285750" indent="-285750">
              <a:buFont typeface="Wingdings" panose="05000000000000000000" pitchFamily="2" charset="2"/>
              <a:buChar char="q"/>
            </a:pPr>
            <a:r>
              <a:rPr lang="zh-CN" altLang="en-US" sz="1600" b="1" dirty="0">
                <a:latin typeface="Times New Roman" panose="02020603050405020304" pitchFamily="18" charset="0"/>
                <a:ea typeface="微软雅黑" panose="020B0503020204020204" pitchFamily="34" charset="-122"/>
                <a:cs typeface="Times New Roman" panose="02020603050405020304" pitchFamily="18" charset="0"/>
              </a:rPr>
              <a:t> 艾滋病是我国死亡人数最高的传染病 ，已成为严重的公共卫生问题</a:t>
            </a:r>
            <a:endParaRPr lang="en-US" sz="1600" b="1" dirty="0">
              <a:latin typeface="Times New Roman" panose="02020603050405020304" pitchFamily="18" charset="0"/>
              <a:ea typeface="微软雅黑" panose="020B0503020204020204" pitchFamily="34" charset="-122"/>
              <a:cs typeface="Times New Roman" panose="02020603050405020304" pitchFamily="18" charset="0"/>
            </a:endParaRPr>
          </a:p>
        </p:txBody>
      </p:sp>
      <p:grpSp>
        <p:nvGrpSpPr>
          <p:cNvPr id="12" name="组合 11">
            <a:extLst>
              <a:ext uri="{FF2B5EF4-FFF2-40B4-BE49-F238E27FC236}">
                <a16:creationId xmlns:a16="http://schemas.microsoft.com/office/drawing/2014/main" id="{7FF93091-CCFE-428D-984A-18F9D4BD3908}"/>
              </a:ext>
            </a:extLst>
          </p:cNvPr>
          <p:cNvGrpSpPr/>
          <p:nvPr/>
        </p:nvGrpSpPr>
        <p:grpSpPr>
          <a:xfrm>
            <a:off x="434948" y="3930913"/>
            <a:ext cx="6939769" cy="2290147"/>
            <a:chOff x="387008" y="3890197"/>
            <a:chExt cx="10259972" cy="3216078"/>
          </a:xfrm>
        </p:grpSpPr>
        <p:sp>
          <p:nvSpPr>
            <p:cNvPr id="102" name="Rectangle 56">
              <a:extLst>
                <a:ext uri="{FF2B5EF4-FFF2-40B4-BE49-F238E27FC236}">
                  <a16:creationId xmlns:a16="http://schemas.microsoft.com/office/drawing/2014/main" id="{57F104A6-C1A1-4908-8CF6-AFB9474EC105}"/>
                </a:ext>
              </a:extLst>
            </p:cNvPr>
            <p:cNvSpPr>
              <a:spLocks/>
            </p:cNvSpPr>
            <p:nvPr/>
          </p:nvSpPr>
          <p:spPr>
            <a:xfrm>
              <a:off x="387008" y="3890197"/>
              <a:ext cx="9987802" cy="2990592"/>
            </a:xfrm>
            <a:prstGeom prst="rect">
              <a:avLst/>
            </a:prstGeom>
            <a:noFill/>
            <a:ln w="6350" cap="flat" cmpd="sng" algn="ctr">
              <a:solidFill>
                <a:srgbClr val="071D49"/>
              </a:solidFill>
              <a:prstDash val="solid"/>
              <a:miter lim="800000"/>
            </a:ln>
            <a:effectLst>
              <a:glow>
                <a:scrgbClr r="0" g="0" b="0"/>
              </a:glow>
            </a:effectLst>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graphicFrame>
          <p:nvGraphicFramePr>
            <p:cNvPr id="104" name="Chart Placeholder 18">
              <a:extLst>
                <a:ext uri="{FF2B5EF4-FFF2-40B4-BE49-F238E27FC236}">
                  <a16:creationId xmlns:a16="http://schemas.microsoft.com/office/drawing/2014/main" id="{D0D7EC5A-8BF7-4E0A-82CB-47A4C7AF54A9}"/>
                </a:ext>
              </a:extLst>
            </p:cNvPr>
            <p:cNvGraphicFramePr>
              <a:graphicFrameLocks/>
            </p:cNvGraphicFramePr>
            <p:nvPr>
              <p:extLst>
                <p:ext uri="{D42A27DB-BD31-4B8C-83A1-F6EECF244321}">
                  <p14:modId xmlns:p14="http://schemas.microsoft.com/office/powerpoint/2010/main" val="4134759517"/>
                </p:ext>
              </p:extLst>
            </p:nvPr>
          </p:nvGraphicFramePr>
          <p:xfrm>
            <a:off x="474921" y="4122747"/>
            <a:ext cx="9952837" cy="2758042"/>
          </p:xfrm>
          <a:graphic>
            <a:graphicData uri="http://schemas.openxmlformats.org/drawingml/2006/chart">
              <c:chart xmlns:c="http://schemas.openxmlformats.org/drawingml/2006/chart" xmlns:r="http://schemas.openxmlformats.org/officeDocument/2006/relationships" r:id="rId4"/>
            </a:graphicData>
          </a:graphic>
        </p:graphicFrame>
        <p:grpSp>
          <p:nvGrpSpPr>
            <p:cNvPr id="105" name="Group 1">
              <a:extLst>
                <a:ext uri="{FF2B5EF4-FFF2-40B4-BE49-F238E27FC236}">
                  <a16:creationId xmlns:a16="http://schemas.microsoft.com/office/drawing/2014/main" id="{72A81D96-EE0E-41EA-8510-BD88B9D4FFD5}"/>
                </a:ext>
              </a:extLst>
            </p:cNvPr>
            <p:cNvGrpSpPr/>
            <p:nvPr/>
          </p:nvGrpSpPr>
          <p:grpSpPr>
            <a:xfrm>
              <a:off x="1877723" y="4259632"/>
              <a:ext cx="4815302" cy="1685664"/>
              <a:chOff x="1072385" y="3499858"/>
              <a:chExt cx="2889377" cy="1801989"/>
            </a:xfrm>
          </p:grpSpPr>
          <p:sp>
            <p:nvSpPr>
              <p:cNvPr id="106" name="Down Arrow Callout 19">
                <a:extLst>
                  <a:ext uri="{FF2B5EF4-FFF2-40B4-BE49-F238E27FC236}">
                    <a16:creationId xmlns:a16="http://schemas.microsoft.com/office/drawing/2014/main" id="{4ADFD4A5-D9A1-4FBF-BFFF-8F825DD39138}"/>
                  </a:ext>
                </a:extLst>
              </p:cNvPr>
              <p:cNvSpPr/>
              <p:nvPr/>
            </p:nvSpPr>
            <p:spPr>
              <a:xfrm>
                <a:off x="1072385" y="3499858"/>
                <a:ext cx="2889377" cy="693061"/>
              </a:xfrm>
              <a:prstGeom prst="rect">
                <a:avLst/>
              </a:prstGeom>
              <a:solidFill>
                <a:srgbClr val="071D49"/>
              </a:solidFill>
              <a:ln w="9525" cap="flat" cmpd="sng" algn="ctr">
                <a:noFill/>
                <a:prstDash val="solid"/>
                <a:miter lim="800000"/>
              </a:ln>
              <a:effectLst>
                <a:glow>
                  <a:scrgbClr r="0" g="0" b="0"/>
                </a:glow>
              </a:effectLst>
              <a:sp3d/>
            </p:spPr>
            <p:txBody>
              <a:bodyPr wrap="square" lIns="45720" rIns="45720"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高效抗逆转录病毒治疗（</a:t>
                </a:r>
                <a:r>
                  <a:rPr kumimoji="0" lang="en-US" altLang="zh-CN" sz="1200" b="0" i="0" u="none" strike="noStrike" kern="0" cap="none" spc="0" normalizeH="0" baseline="0" noProof="0" dirty="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HAART</a:t>
                </a:r>
                <a:r>
                  <a:rPr kumimoji="0" lang="zh-CN" altLang="en-US" sz="1200" b="0" i="0" u="none" strike="noStrike" kern="0" cap="none" spc="0" normalizeH="0" baseline="0" noProof="0" dirty="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a:t>
                </a:r>
                <a:endParaRPr kumimoji="0" lang="en-US" altLang="zh-CN" sz="1200" b="0" i="0" u="none" strike="noStrike" kern="0" cap="none" spc="0" normalizeH="0" baseline="0" noProof="0" dirty="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US" sz="1200" b="0" i="0" u="none" strike="noStrike" kern="0" cap="none" spc="0" normalizeH="0" baseline="0" noProof="0" dirty="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即“鸡尾酒疗法”出现</a:t>
                </a:r>
                <a:endParaRPr kumimoji="0" lang="en-US" sz="1200" b="0" i="0" u="none" strike="noStrike" kern="0" cap="none" spc="0" normalizeH="0" baseline="0" noProof="0" dirty="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cxnSp>
            <p:nvCxnSpPr>
              <p:cNvPr id="107" name="Straight Connector 49">
                <a:extLst>
                  <a:ext uri="{FF2B5EF4-FFF2-40B4-BE49-F238E27FC236}">
                    <a16:creationId xmlns:a16="http://schemas.microsoft.com/office/drawing/2014/main" id="{DEDAE52E-CD7A-4359-B942-EE44524FBB13}"/>
                  </a:ext>
                </a:extLst>
              </p:cNvPr>
              <p:cNvCxnSpPr>
                <a:cxnSpLocks/>
              </p:cNvCxnSpPr>
              <p:nvPr/>
            </p:nvCxnSpPr>
            <p:spPr>
              <a:xfrm flipV="1">
                <a:off x="1910267" y="4189178"/>
                <a:ext cx="0" cy="1112669"/>
              </a:xfrm>
              <a:prstGeom prst="line">
                <a:avLst/>
              </a:prstGeom>
              <a:noFill/>
              <a:ln w="6350" cap="flat" cmpd="sng" algn="ctr">
                <a:solidFill>
                  <a:srgbClr val="071D49"/>
                </a:solidFill>
                <a:prstDash val="dash"/>
                <a:miter lim="800000"/>
                <a:tailEnd type="none"/>
              </a:ln>
              <a:effectLst>
                <a:glow>
                  <a:scrgbClr r="0" g="0" b="0"/>
                </a:glow>
              </a:effectLst>
              <a:sp3d/>
              <a:extLst>
                <a:ext uri="{AF507438-7753-43E0-B8FC-AC1667EBCBE1}">
                  <a14:hiddenEffects xmlns:a14="http://schemas.microsoft.com/office/drawing/2010/main">
                    <a:effectLst>
                      <a:glow>
                        <a:scrgbClr r="0" g="0" b="0"/>
                      </a:glow>
                      <a:outerShdw blurRad="40000" dist="20000" dir="5400000" rotWithShape="0">
                        <a:srgbClr val="000000">
                          <a:alpha val="38000"/>
                        </a:srgbClr>
                      </a:outerShdw>
                    </a:effectLst>
                  </a14:hiddenEffects>
                </a:ext>
              </a:extLst>
            </p:spPr>
          </p:cxnSp>
        </p:grpSp>
        <p:sp>
          <p:nvSpPr>
            <p:cNvPr id="108" name="Rectangle 25">
              <a:extLst>
                <a:ext uri="{FF2B5EF4-FFF2-40B4-BE49-F238E27FC236}">
                  <a16:creationId xmlns:a16="http://schemas.microsoft.com/office/drawing/2014/main" id="{E81D7BEC-895C-4049-B1B4-AE5B867DB8E2}"/>
                </a:ext>
              </a:extLst>
            </p:cNvPr>
            <p:cNvSpPr/>
            <p:nvPr/>
          </p:nvSpPr>
          <p:spPr>
            <a:xfrm>
              <a:off x="387008" y="6952035"/>
              <a:ext cx="10259972" cy="154240"/>
            </a:xfrm>
            <a:prstGeom prst="rect">
              <a:avLst/>
            </a:prstGeom>
          </p:spPr>
          <p:txBody>
            <a:bodyPr wrap="square" lIns="0" tIns="0" rIns="0" bIns="0">
              <a:spAutoFit/>
            </a:bodyPr>
            <a:lstStyle/>
            <a:p>
              <a:endParaRPr lang="en-GB" sz="800" dirty="0">
                <a:solidFill>
                  <a:srgbClr val="071D49"/>
                </a:solidFill>
                <a:latin typeface="Times New Roman" panose="02020603050405020304" pitchFamily="18" charset="0"/>
                <a:ea typeface="微软雅黑" panose="020B0503020204020204" pitchFamily="34" charset="-122"/>
                <a:cs typeface="Times New Roman" panose="02020603050405020304" pitchFamily="18" charset="0"/>
              </a:endParaRPr>
            </a:p>
          </p:txBody>
        </p:sp>
      </p:grpSp>
      <p:sp>
        <p:nvSpPr>
          <p:cNvPr id="109" name="文本框 108">
            <a:extLst>
              <a:ext uri="{FF2B5EF4-FFF2-40B4-BE49-F238E27FC236}">
                <a16:creationId xmlns:a16="http://schemas.microsoft.com/office/drawing/2014/main" id="{5D899C71-540F-4769-AB7B-8948E5776DBA}"/>
              </a:ext>
            </a:extLst>
          </p:cNvPr>
          <p:cNvSpPr txBox="1"/>
          <p:nvPr/>
        </p:nvSpPr>
        <p:spPr>
          <a:xfrm>
            <a:off x="391267" y="2968825"/>
            <a:ext cx="11569107" cy="338554"/>
          </a:xfrm>
          <a:prstGeom prst="rect">
            <a:avLst/>
          </a:prstGeom>
          <a:noFill/>
        </p:spPr>
        <p:txBody>
          <a:bodyPr wrap="square">
            <a:spAutoFit/>
          </a:bodyPr>
          <a:lstStyle/>
          <a:p>
            <a:pPr marL="285750" indent="-285750">
              <a:buFont typeface="Wingdings" panose="05000000000000000000" pitchFamily="2" charset="2"/>
              <a:buChar char="q"/>
            </a:pPr>
            <a:r>
              <a:rPr lang="zh-CN" altLang="en-US" sz="1600" b="1" dirty="0">
                <a:latin typeface="Times New Roman" panose="02020603050405020304" pitchFamily="18" charset="0"/>
                <a:ea typeface="微软雅黑" panose="020B0503020204020204" pitchFamily="34" charset="-122"/>
                <a:cs typeface="Times New Roman" panose="02020603050405020304" pitchFamily="18" charset="0"/>
              </a:rPr>
              <a:t>抗病毒药物的使用使艾滋病逐步由致死性疾病转变为慢性疾病，并有效控制</a:t>
            </a:r>
            <a:r>
              <a:rPr lang="en-US" altLang="zh-CN" sz="1600" b="1" dirty="0">
                <a:latin typeface="Times New Roman" panose="02020603050405020304" pitchFamily="18" charset="0"/>
                <a:ea typeface="微软雅黑" panose="020B0503020204020204" pitchFamily="34" charset="-122"/>
                <a:cs typeface="Times New Roman" panose="02020603050405020304" pitchFamily="18" charset="0"/>
              </a:rPr>
              <a:t>HIV</a:t>
            </a:r>
            <a:r>
              <a:rPr lang="zh-CN" altLang="en-US" sz="1600" b="1" dirty="0">
                <a:latin typeface="Times New Roman" panose="02020603050405020304" pitchFamily="18" charset="0"/>
                <a:ea typeface="微软雅黑" panose="020B0503020204020204" pitchFamily="34" charset="-122"/>
                <a:cs typeface="Times New Roman" panose="02020603050405020304" pitchFamily="18" charset="0"/>
              </a:rPr>
              <a:t>传染性</a:t>
            </a:r>
            <a:endParaRPr lang="en-US" sz="1600" b="1"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19" name="Text Placeholder 4">
            <a:extLst>
              <a:ext uri="{FF2B5EF4-FFF2-40B4-BE49-F238E27FC236}">
                <a16:creationId xmlns:a16="http://schemas.microsoft.com/office/drawing/2014/main" id="{98D74BEC-E59D-48DB-8CA5-503B2A5EDD89}"/>
              </a:ext>
            </a:extLst>
          </p:cNvPr>
          <p:cNvSpPr txBox="1">
            <a:spLocks/>
          </p:cNvSpPr>
          <p:nvPr/>
        </p:nvSpPr>
        <p:spPr>
          <a:xfrm>
            <a:off x="8057215" y="5320632"/>
            <a:ext cx="3680004" cy="842948"/>
          </a:xfrm>
          <a:prstGeom prst="rect">
            <a:avLst/>
          </a:prstGeom>
        </p:spPr>
        <p:txBody>
          <a:bodyPr lIns="0" anchor="t" anchorCtr="0">
            <a:noAutofit/>
          </a:bodyPr>
          <a:lstStyle>
            <a:lvl1pPr marL="0" marR="0" indent="0" algn="l" defTabSz="914400" rtl="0" eaLnBrk="1" fontAlgn="auto" latinLnBrk="0" hangingPunct="1">
              <a:lnSpc>
                <a:spcPct val="100000"/>
              </a:lnSpc>
              <a:spcBef>
                <a:spcPts val="0"/>
              </a:spcBef>
              <a:spcAft>
                <a:spcPts val="0"/>
              </a:spcAft>
              <a:buClr>
                <a:schemeClr val="tx1"/>
              </a:buClr>
              <a:buSzTx/>
              <a:buFont typeface="Arial" pitchFamily="34" charset="0"/>
              <a:buNone/>
              <a:tabLst/>
              <a:defRPr sz="1600" i="0" kern="1200">
                <a:solidFill>
                  <a:schemeClr val="tx1"/>
                </a:solidFill>
                <a:latin typeface="+mn-lt"/>
                <a:ea typeface="+mn-ea"/>
                <a:cs typeface="+mn-cs"/>
              </a:defRPr>
            </a:lvl1pPr>
            <a:lvl2pPr marL="271463" indent="0" algn="l" defTabSz="914400" rtl="0" eaLnBrk="1" latinLnBrk="0" hangingPunct="1">
              <a:spcBef>
                <a:spcPts val="0"/>
              </a:spcBef>
              <a:spcAft>
                <a:spcPts val="600"/>
              </a:spcAft>
              <a:buFont typeface="Arial" pitchFamily="34" charset="0"/>
              <a:buNone/>
              <a:defRPr sz="1400" kern="1200">
                <a:solidFill>
                  <a:schemeClr val="tx1"/>
                </a:solidFill>
                <a:latin typeface="+mn-lt"/>
                <a:ea typeface="+mn-ea"/>
                <a:cs typeface="+mn-cs"/>
              </a:defRPr>
            </a:lvl2pPr>
            <a:lvl3pPr marL="533400" indent="0" algn="l" defTabSz="914400" rtl="0" eaLnBrk="1" latinLnBrk="0" hangingPunct="1">
              <a:spcBef>
                <a:spcPts val="0"/>
              </a:spcBef>
              <a:spcAft>
                <a:spcPts val="600"/>
              </a:spcAft>
              <a:buFont typeface="Arial" pitchFamily="34" charset="0"/>
              <a:buNone/>
              <a:defRPr sz="1200" kern="1200">
                <a:solidFill>
                  <a:schemeClr val="tx1"/>
                </a:solidFill>
                <a:latin typeface="+mn-lt"/>
                <a:ea typeface="+mn-ea"/>
                <a:cs typeface="+mn-cs"/>
              </a:defRPr>
            </a:lvl3pPr>
            <a:lvl4pPr marL="815975" indent="0" algn="l" defTabSz="914400" rtl="0" eaLnBrk="1" latinLnBrk="0" hangingPunct="1">
              <a:spcBef>
                <a:spcPts val="0"/>
              </a:spcBef>
              <a:spcAft>
                <a:spcPts val="600"/>
              </a:spcAft>
              <a:buFont typeface="Arial" pitchFamily="34" charset="0"/>
              <a:buNone/>
              <a:defRPr sz="1200" kern="1200">
                <a:solidFill>
                  <a:schemeClr val="tx1"/>
                </a:solidFill>
                <a:latin typeface="+mn-lt"/>
                <a:ea typeface="+mn-ea"/>
                <a:cs typeface="+mn-cs"/>
              </a:defRPr>
            </a:lvl4pPr>
            <a:lvl5pPr marL="1104900" indent="0" algn="l" defTabSz="914400" rtl="0" eaLnBrk="1" latinLnBrk="0" hangingPunct="1">
              <a:spcBef>
                <a:spcPts val="0"/>
              </a:spcBef>
              <a:spcAft>
                <a:spcPts val="600"/>
              </a:spcAft>
              <a:buFont typeface="Arial" pitchFamily="34" charset="0"/>
              <a:buNone/>
              <a:defRPr sz="1200" b="0" kern="1200">
                <a:solidFill>
                  <a:schemeClr val="tx1"/>
                </a:solidFill>
                <a:latin typeface="+mn-lt"/>
                <a:ea typeface="+mn-ea"/>
                <a:cs typeface="+mn-cs"/>
              </a:defRPr>
            </a:lvl5pPr>
            <a:lvl6pPr marL="162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6pPr>
            <a:lvl7pPr marL="180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7pPr>
            <a:lvl8pPr marL="207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8pPr>
            <a:lvl9pPr marL="2340000" indent="-270000" algn="l" defTabSz="914400" rtl="0" eaLnBrk="1" latinLnBrk="0" hangingPunct="1">
              <a:spcBef>
                <a:spcPts val="0"/>
              </a:spcBef>
              <a:spcAft>
                <a:spcPts val="600"/>
              </a:spcAft>
              <a:buFont typeface="Arial"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544F40"/>
              </a:buClr>
              <a:buSzTx/>
              <a:buFont typeface="Arial" pitchFamily="34" charset="0"/>
              <a:buNone/>
              <a:tabLst/>
              <a:defRPr/>
            </a:pPr>
            <a:r>
              <a:rPr lang="zh-CN" altLang="en-US" sz="1200" dirty="0">
                <a:solidFill>
                  <a:srgbClr val="544F40">
                    <a:lumMod val="50000"/>
                  </a:srgbClr>
                </a:solidFill>
                <a:latin typeface="Times New Roman" panose="02020603050405020304" pitchFamily="18" charset="0"/>
                <a:ea typeface="微软雅黑" panose="020B0503020204020204" pitchFamily="34" charset="-122"/>
                <a:cs typeface="Times New Roman" panose="02020603050405020304" pitchFamily="18" charset="0"/>
              </a:rPr>
              <a:t>持续地定期服用</a:t>
            </a:r>
            <a:r>
              <a:rPr lang="en-US" altLang="zh-CN" sz="1200" dirty="0">
                <a:solidFill>
                  <a:srgbClr val="544F40">
                    <a:lumMod val="50000"/>
                  </a:srgbClr>
                </a:solidFill>
                <a:latin typeface="Times New Roman" panose="02020603050405020304" pitchFamily="18" charset="0"/>
                <a:ea typeface="微软雅黑" panose="020B0503020204020204" pitchFamily="34" charset="-122"/>
                <a:cs typeface="Times New Roman" panose="02020603050405020304" pitchFamily="18" charset="0"/>
              </a:rPr>
              <a:t>HIV</a:t>
            </a:r>
            <a:r>
              <a:rPr lang="zh-CN" altLang="en-US" sz="1200" dirty="0">
                <a:solidFill>
                  <a:srgbClr val="544F40">
                    <a:lumMod val="50000"/>
                  </a:srgbClr>
                </a:solidFill>
                <a:latin typeface="Times New Roman" panose="02020603050405020304" pitchFamily="18" charset="0"/>
                <a:ea typeface="微软雅黑" panose="020B0503020204020204" pitchFamily="34" charset="-122"/>
                <a:cs typeface="Times New Roman" panose="02020603050405020304" pitchFamily="18" charset="0"/>
              </a:rPr>
              <a:t>药物，达到并持续</a:t>
            </a:r>
            <a:r>
              <a:rPr lang="en-US" altLang="zh-CN" sz="1200" dirty="0">
                <a:solidFill>
                  <a:srgbClr val="544F40">
                    <a:lumMod val="50000"/>
                  </a:srgbClr>
                </a:solidFill>
                <a:latin typeface="Times New Roman" panose="02020603050405020304" pitchFamily="18" charset="0"/>
                <a:ea typeface="微软雅黑" panose="020B0503020204020204" pitchFamily="34" charset="-122"/>
                <a:cs typeface="Times New Roman" panose="02020603050405020304" pitchFamily="18" charset="0"/>
              </a:rPr>
              <a:t>6</a:t>
            </a:r>
            <a:r>
              <a:rPr lang="zh-CN" altLang="en-US" sz="1200" dirty="0">
                <a:solidFill>
                  <a:srgbClr val="544F40">
                    <a:lumMod val="50000"/>
                  </a:srgbClr>
                </a:solidFill>
                <a:latin typeface="Times New Roman" panose="02020603050405020304" pitchFamily="18" charset="0"/>
                <a:ea typeface="微软雅黑" panose="020B0503020204020204" pitchFamily="34" charset="-122"/>
                <a:cs typeface="Times New Roman" panose="02020603050405020304" pitchFamily="18" charset="0"/>
              </a:rPr>
              <a:t>个月以上检测</a:t>
            </a:r>
            <a:r>
              <a:rPr kumimoji="0" lang="zh-CN" altLang="en-US" sz="1200" b="0" i="0" u="none" strike="noStrike" kern="1200" cap="none" spc="0" normalizeH="0" baseline="0" noProof="0" dirty="0">
                <a:ln>
                  <a:noFill/>
                </a:ln>
                <a:solidFill>
                  <a:srgbClr val="544F40">
                    <a:lumMod val="50000"/>
                  </a:srgbClr>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不出</a:t>
            </a:r>
            <a:r>
              <a:rPr kumimoji="0" lang="en-US" altLang="zh-CN" sz="1200" b="0" i="0" u="none" strike="noStrike" kern="1200" cap="none" spc="0" normalizeH="0" baseline="0" noProof="0" dirty="0">
                <a:ln>
                  <a:noFill/>
                </a:ln>
                <a:solidFill>
                  <a:srgbClr val="544F40">
                    <a:lumMod val="50000"/>
                  </a:srgbClr>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HIV</a:t>
            </a:r>
            <a:r>
              <a:rPr kumimoji="0" lang="zh-CN" altLang="en-US" sz="1200" b="0" i="0" u="none" strike="noStrike" kern="1200" cap="none" spc="0" normalizeH="0" baseline="0" noProof="0" dirty="0">
                <a:ln>
                  <a:noFill/>
                </a:ln>
                <a:solidFill>
                  <a:srgbClr val="544F40">
                    <a:lumMod val="50000"/>
                  </a:srgbClr>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病毒载量的患者，经性行为方式传播给阴性伴侣的风险为零 </a:t>
            </a:r>
          </a:p>
        </p:txBody>
      </p:sp>
      <p:grpSp>
        <p:nvGrpSpPr>
          <p:cNvPr id="120" name="组合 12">
            <a:extLst>
              <a:ext uri="{FF2B5EF4-FFF2-40B4-BE49-F238E27FC236}">
                <a16:creationId xmlns:a16="http://schemas.microsoft.com/office/drawing/2014/main" id="{38FCF97E-CE55-4DA2-BA8C-1B1961CEC745}"/>
              </a:ext>
            </a:extLst>
          </p:cNvPr>
          <p:cNvGrpSpPr/>
          <p:nvPr/>
        </p:nvGrpSpPr>
        <p:grpSpPr>
          <a:xfrm>
            <a:off x="7173390" y="3930913"/>
            <a:ext cx="5109210" cy="1127620"/>
            <a:chOff x="1934894" y="1518835"/>
            <a:chExt cx="5109210" cy="1533392"/>
          </a:xfrm>
        </p:grpSpPr>
        <p:sp>
          <p:nvSpPr>
            <p:cNvPr id="121" name="文本框 4">
              <a:extLst>
                <a:ext uri="{FF2B5EF4-FFF2-40B4-BE49-F238E27FC236}">
                  <a16:creationId xmlns:a16="http://schemas.microsoft.com/office/drawing/2014/main" id="{38186BE9-7E96-49C4-A892-A81699F2DAF8}"/>
                </a:ext>
              </a:extLst>
            </p:cNvPr>
            <p:cNvSpPr txBox="1"/>
            <p:nvPr/>
          </p:nvSpPr>
          <p:spPr>
            <a:xfrm>
              <a:off x="2093321" y="1518835"/>
              <a:ext cx="4800600" cy="878912"/>
            </a:xfrm>
            <a:prstGeom prst="rect">
              <a:avLst/>
            </a:prstGeom>
            <a:noFill/>
          </p:spPr>
          <p:txBody>
            <a:bodyPr wrap="square" rtlCol="0">
              <a:spAutoFit/>
            </a:bodyPr>
            <a:lstStyle/>
            <a:p>
              <a:pPr algn="ctr">
                <a:buClr>
                  <a:srgbClr val="544F40"/>
                </a:buClr>
                <a:defRPr/>
              </a:pPr>
              <a:r>
                <a:rPr lang="en-US" sz="3600" dirty="0">
                  <a:solidFill>
                    <a:srgbClr val="ED3358"/>
                  </a:solidFill>
                  <a:latin typeface="Times New Roman" panose="02020603050405020304" pitchFamily="18" charset="0"/>
                  <a:ea typeface="微软雅黑" panose="020B0503020204020204" pitchFamily="34" charset="-122"/>
                  <a:cs typeface="Times New Roman" panose="02020603050405020304" pitchFamily="18" charset="0"/>
                </a:rPr>
                <a:t>U</a:t>
              </a:r>
              <a:r>
                <a:rPr lang="en-US" sz="3600" dirty="0">
                  <a:solidFill>
                    <a:srgbClr val="544F40"/>
                  </a:solidFill>
                  <a:latin typeface="Times New Roman" panose="02020603050405020304" pitchFamily="18" charset="0"/>
                  <a:ea typeface="微软雅黑" panose="020B0503020204020204" pitchFamily="34" charset="-122"/>
                  <a:cs typeface="Times New Roman" panose="02020603050405020304" pitchFamily="18" charset="0"/>
                </a:rPr>
                <a:t>=</a:t>
              </a:r>
              <a:r>
                <a:rPr lang="en-US" sz="3600" dirty="0">
                  <a:solidFill>
                    <a:srgbClr val="ED3358"/>
                  </a:solidFill>
                  <a:latin typeface="Times New Roman" panose="02020603050405020304" pitchFamily="18" charset="0"/>
                  <a:ea typeface="微软雅黑" panose="020B0503020204020204" pitchFamily="34" charset="-122"/>
                  <a:cs typeface="Times New Roman" panose="02020603050405020304" pitchFamily="18" charset="0"/>
                </a:rPr>
                <a:t>U</a:t>
              </a:r>
              <a:endParaRPr sz="3600" dirty="0">
                <a:solidFill>
                  <a:srgbClr val="ED3358"/>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22" name="文本框 5">
              <a:extLst>
                <a:ext uri="{FF2B5EF4-FFF2-40B4-BE49-F238E27FC236}">
                  <a16:creationId xmlns:a16="http://schemas.microsoft.com/office/drawing/2014/main" id="{ECDB9ABE-D57B-40A9-9A2C-C0CA41534AC0}"/>
                </a:ext>
              </a:extLst>
            </p:cNvPr>
            <p:cNvSpPr txBox="1"/>
            <p:nvPr/>
          </p:nvSpPr>
          <p:spPr>
            <a:xfrm>
              <a:off x="1934894" y="2633697"/>
              <a:ext cx="5109210" cy="418530"/>
            </a:xfrm>
            <a:prstGeom prst="rect">
              <a:avLst/>
            </a:prstGeom>
            <a:noFill/>
          </p:spPr>
          <p:txBody>
            <a:bodyPr wrap="square" rtlCol="0">
              <a:spAutoFit/>
            </a:bodyPr>
            <a:lstStyle/>
            <a:p>
              <a:pPr algn="ctr">
                <a:buClr>
                  <a:srgbClr val="544F40"/>
                </a:buClr>
                <a:defRPr/>
              </a:pPr>
              <a:r>
                <a:rPr lang="en-US" sz="1400" dirty="0" err="1">
                  <a:solidFill>
                    <a:srgbClr val="544F40"/>
                  </a:solidFill>
                  <a:latin typeface="Times New Roman" panose="02020603050405020304" pitchFamily="18" charset="0"/>
                  <a:ea typeface="微软雅黑" panose="020B0503020204020204" pitchFamily="34" charset="-122"/>
                  <a:cs typeface="Times New Roman" panose="02020603050405020304" pitchFamily="18" charset="0"/>
                </a:rPr>
                <a:t>测不到病毒载量</a:t>
              </a:r>
              <a:r>
                <a:rPr lang="zh-CN" altLang="en-US" sz="1400" dirty="0">
                  <a:solidFill>
                    <a:srgbClr val="544F40"/>
                  </a:solidFill>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400" dirty="0">
                  <a:solidFill>
                    <a:srgbClr val="544F40"/>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400" dirty="0">
                  <a:solidFill>
                    <a:srgbClr val="544F40"/>
                  </a:solidFill>
                  <a:latin typeface="Times New Roman" panose="02020603050405020304" pitchFamily="18" charset="0"/>
                  <a:ea typeface="微软雅黑" panose="020B0503020204020204" pitchFamily="34" charset="-122"/>
                  <a:cs typeface="Times New Roman" panose="02020603050405020304" pitchFamily="18" charset="0"/>
                </a:rPr>
                <a:t> 不具备传染力</a:t>
              </a:r>
              <a:endParaRPr sz="1400" dirty="0" err="1">
                <a:solidFill>
                  <a:srgbClr val="544F40"/>
                </a:solidFill>
                <a:latin typeface="Times New Roman" panose="02020603050405020304" pitchFamily="18" charset="0"/>
                <a:ea typeface="微软雅黑" panose="020B0503020204020204" pitchFamily="34" charset="-122"/>
                <a:cs typeface="Times New Roman" panose="02020603050405020304" pitchFamily="18" charset="0"/>
              </a:endParaRPr>
            </a:p>
          </p:txBody>
        </p:sp>
      </p:grpSp>
      <p:sp>
        <p:nvSpPr>
          <p:cNvPr id="124" name="Rectangle 56">
            <a:extLst>
              <a:ext uri="{FF2B5EF4-FFF2-40B4-BE49-F238E27FC236}">
                <a16:creationId xmlns:a16="http://schemas.microsoft.com/office/drawing/2014/main" id="{EA8AD7FA-23D8-4F6C-8A7D-20F6744EDB03}"/>
              </a:ext>
            </a:extLst>
          </p:cNvPr>
          <p:cNvSpPr>
            <a:spLocks/>
          </p:cNvSpPr>
          <p:nvPr/>
        </p:nvSpPr>
        <p:spPr>
          <a:xfrm>
            <a:off x="7838319" y="3930913"/>
            <a:ext cx="3793520" cy="2172854"/>
          </a:xfrm>
          <a:prstGeom prst="rect">
            <a:avLst/>
          </a:prstGeom>
          <a:noFill/>
          <a:ln w="6350" cap="flat" cmpd="sng" algn="ctr">
            <a:solidFill>
              <a:srgbClr val="071D49"/>
            </a:solidFill>
            <a:prstDash val="solid"/>
            <a:miter lim="800000"/>
          </a:ln>
          <a:effectLst>
            <a:glow>
              <a:scrgbClr r="0" g="0" b="0"/>
            </a:glow>
          </a:effectLst>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grpSp>
        <p:nvGrpSpPr>
          <p:cNvPr id="126" name="Group 2">
            <a:extLst>
              <a:ext uri="{FF2B5EF4-FFF2-40B4-BE49-F238E27FC236}">
                <a16:creationId xmlns:a16="http://schemas.microsoft.com/office/drawing/2014/main" id="{AA5A12CF-33FB-4B2B-A455-9085AE94BE42}"/>
              </a:ext>
            </a:extLst>
          </p:cNvPr>
          <p:cNvGrpSpPr/>
          <p:nvPr/>
        </p:nvGrpSpPr>
        <p:grpSpPr>
          <a:xfrm>
            <a:off x="1224950" y="-30133"/>
            <a:ext cx="9609827" cy="584541"/>
            <a:chOff x="1224950" y="264034"/>
            <a:chExt cx="9609827" cy="584541"/>
          </a:xfrm>
        </p:grpSpPr>
        <p:sp>
          <p:nvSpPr>
            <p:cNvPr id="127" name="文本框 17">
              <a:extLst>
                <a:ext uri="{FF2B5EF4-FFF2-40B4-BE49-F238E27FC236}">
                  <a16:creationId xmlns:a16="http://schemas.microsoft.com/office/drawing/2014/main" id="{2ED952E9-CB91-4A34-9D40-F6CF5372928C}"/>
                </a:ext>
              </a:extLst>
            </p:cNvPr>
            <p:cNvSpPr txBox="1"/>
            <p:nvPr/>
          </p:nvSpPr>
          <p:spPr>
            <a:xfrm>
              <a:off x="3305714" y="264034"/>
              <a:ext cx="544830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gradFill>
                      <a:gsLst>
                        <a:gs pos="0">
                          <a:srgbClr val="E4401D"/>
                        </a:gs>
                        <a:gs pos="88000">
                          <a:srgbClr val="F9C235">
                            <a:alpha val="0"/>
                          </a:srgbClr>
                        </a:gs>
                      </a:gsLst>
                      <a:lin ang="5400000" scaled="1"/>
                    </a:gradFill>
                  </a:ln>
                  <a:solidFill>
                    <a:srgbClr val="B8075F"/>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rPr>
                <a:t>01</a:t>
              </a:r>
              <a:endParaRPr kumimoji="0" lang="zh-CN" altLang="en-US" sz="2000" b="1" i="0" u="none" strike="noStrike" kern="1200" cap="none" spc="0" normalizeH="0" baseline="0" noProof="0" dirty="0">
                <a:ln>
                  <a:gradFill>
                    <a:gsLst>
                      <a:gs pos="0">
                        <a:srgbClr val="E4401D"/>
                      </a:gs>
                      <a:gs pos="88000">
                        <a:srgbClr val="F9C235">
                          <a:alpha val="0"/>
                        </a:srgbClr>
                      </a:gs>
                    </a:gsLst>
                    <a:lin ang="5400000" scaled="1"/>
                  </a:gradFill>
                </a:ln>
                <a:solidFill>
                  <a:srgbClr val="B8075F"/>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endParaRPr>
            </a:p>
          </p:txBody>
        </p:sp>
        <p:grpSp>
          <p:nvGrpSpPr>
            <p:cNvPr id="128" name="组合 127">
              <a:extLst>
                <a:ext uri="{FF2B5EF4-FFF2-40B4-BE49-F238E27FC236}">
                  <a16:creationId xmlns:a16="http://schemas.microsoft.com/office/drawing/2014/main" id="{C61B50F1-9D03-4C49-B472-3E0B92F418F7}"/>
                </a:ext>
              </a:extLst>
            </p:cNvPr>
            <p:cNvGrpSpPr/>
            <p:nvPr/>
          </p:nvGrpSpPr>
          <p:grpSpPr>
            <a:xfrm>
              <a:off x="1224950" y="602354"/>
              <a:ext cx="9609827" cy="246221"/>
              <a:chOff x="607784" y="3405939"/>
              <a:chExt cx="10976432" cy="246221"/>
            </a:xfrm>
          </p:grpSpPr>
          <p:sp>
            <p:nvSpPr>
              <p:cNvPr id="129" name="文本框 14">
                <a:extLst>
                  <a:ext uri="{FF2B5EF4-FFF2-40B4-BE49-F238E27FC236}">
                    <a16:creationId xmlns:a16="http://schemas.microsoft.com/office/drawing/2014/main" id="{409AFB04-CBA1-430F-8026-6B67B65C2ACE}"/>
                  </a:ext>
                </a:extLst>
              </p:cNvPr>
              <p:cNvSpPr txBox="1"/>
              <p:nvPr/>
            </p:nvSpPr>
            <p:spPr>
              <a:xfrm>
                <a:off x="5560553" y="3405939"/>
                <a:ext cx="1113227" cy="246221"/>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600" b="1" spc="300" dirty="0">
                    <a:solidFill>
                      <a:srgbClr val="B8075F"/>
                    </a:solidFill>
                    <a:latin typeface="微软雅黑" panose="020B0503020204020204" pitchFamily="34" charset="-122"/>
                    <a:ea typeface="微软雅黑" panose="020B0503020204020204" pitchFamily="34" charset="-122"/>
                    <a:cs typeface="Helvetica"/>
                    <a:sym typeface="微软雅黑" panose="020B0503020204020204" pitchFamily="34" charset="-122"/>
                  </a:rPr>
                  <a:t>疾病介绍</a:t>
                </a:r>
                <a:endParaRPr kumimoji="0" lang="zh-CN" altLang="en-US" sz="1600" b="1" i="0" u="none" strike="noStrike" kern="1200" cap="none" spc="300" normalizeH="0" baseline="0" noProof="0" dirty="0">
                  <a:ln>
                    <a:noFill/>
                  </a:ln>
                  <a:solidFill>
                    <a:srgbClr val="B8075F"/>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endParaRPr>
              </a:p>
            </p:txBody>
          </p:sp>
          <p:cxnSp>
            <p:nvCxnSpPr>
              <p:cNvPr id="130" name="直接连接符 18">
                <a:extLst>
                  <a:ext uri="{FF2B5EF4-FFF2-40B4-BE49-F238E27FC236}">
                    <a16:creationId xmlns:a16="http://schemas.microsoft.com/office/drawing/2014/main" id="{49A33AA6-B2A6-41E6-9810-5F896C462C6A}"/>
                  </a:ext>
                </a:extLst>
              </p:cNvPr>
              <p:cNvCxnSpPr>
                <a:cxnSpLocks/>
              </p:cNvCxnSpPr>
              <p:nvPr/>
            </p:nvCxnSpPr>
            <p:spPr>
              <a:xfrm>
                <a:off x="8506916" y="3571981"/>
                <a:ext cx="3077300" cy="0"/>
              </a:xfrm>
              <a:prstGeom prst="line">
                <a:avLst/>
              </a:prstGeom>
              <a:ln w="15875">
                <a:solidFill>
                  <a:srgbClr val="E4401D"/>
                </a:solidFill>
              </a:ln>
            </p:spPr>
            <p:style>
              <a:lnRef idx="1">
                <a:schemeClr val="accent1"/>
              </a:lnRef>
              <a:fillRef idx="0">
                <a:schemeClr val="accent1"/>
              </a:fillRef>
              <a:effectRef idx="0">
                <a:schemeClr val="accent1"/>
              </a:effectRef>
              <a:fontRef idx="minor">
                <a:schemeClr val="tx1"/>
              </a:fontRef>
            </p:style>
          </p:cxnSp>
          <p:cxnSp>
            <p:nvCxnSpPr>
              <p:cNvPr id="131" name="直接连接符 19">
                <a:extLst>
                  <a:ext uri="{FF2B5EF4-FFF2-40B4-BE49-F238E27FC236}">
                    <a16:creationId xmlns:a16="http://schemas.microsoft.com/office/drawing/2014/main" id="{631C2CE6-DE46-435B-ADA4-02D0F3D08BC3}"/>
                  </a:ext>
                </a:extLst>
              </p:cNvPr>
              <p:cNvCxnSpPr>
                <a:cxnSpLocks/>
              </p:cNvCxnSpPr>
              <p:nvPr/>
            </p:nvCxnSpPr>
            <p:spPr>
              <a:xfrm>
                <a:off x="607784" y="3571981"/>
                <a:ext cx="2929046" cy="0"/>
              </a:xfrm>
              <a:prstGeom prst="line">
                <a:avLst/>
              </a:prstGeom>
              <a:ln w="15875">
                <a:solidFill>
                  <a:srgbClr val="E4401D"/>
                </a:solidFill>
              </a:ln>
            </p:spPr>
            <p:style>
              <a:lnRef idx="1">
                <a:schemeClr val="accent1"/>
              </a:lnRef>
              <a:fillRef idx="0">
                <a:schemeClr val="accent1"/>
              </a:fillRef>
              <a:effectRef idx="0">
                <a:schemeClr val="accent1"/>
              </a:effectRef>
              <a:fontRef idx="minor">
                <a:schemeClr val="tx1"/>
              </a:fontRef>
            </p:style>
          </p:cxnSp>
        </p:grpSp>
      </p:grpSp>
      <p:sp>
        <p:nvSpPr>
          <p:cNvPr id="69" name="文本框 68">
            <a:extLst>
              <a:ext uri="{FF2B5EF4-FFF2-40B4-BE49-F238E27FC236}">
                <a16:creationId xmlns:a16="http://schemas.microsoft.com/office/drawing/2014/main" id="{A7B967F3-5D5D-4798-93EB-A2F0A16C3CDA}"/>
              </a:ext>
            </a:extLst>
          </p:cNvPr>
          <p:cNvSpPr txBox="1"/>
          <p:nvPr/>
        </p:nvSpPr>
        <p:spPr>
          <a:xfrm>
            <a:off x="192217" y="6286286"/>
            <a:ext cx="6097604" cy="707886"/>
          </a:xfrm>
          <a:prstGeom prst="rect">
            <a:avLst/>
          </a:prstGeom>
          <a:noFill/>
        </p:spPr>
        <p:txBody>
          <a:bodyPr wrap="square">
            <a:spAutoFit/>
          </a:bodyPr>
          <a:lstStyle/>
          <a:p>
            <a:pPr marL="228600" indent="-228600">
              <a:buAutoNum type="arabicPeriod"/>
            </a:pPr>
            <a:r>
              <a:rPr lang="en-US" altLang="zh-CN" sz="8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https://www.takefoto.cn/news/2021/12/01/10011639.shtml</a:t>
            </a:r>
          </a:p>
          <a:p>
            <a:pPr marL="228600" indent="-228600">
              <a:buAutoNum type="arabicPeriod"/>
            </a:pPr>
            <a:r>
              <a:rPr lang="en-US" altLang="zh-CN" sz="8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2021</a:t>
            </a:r>
            <a:r>
              <a:rPr lang="zh-CN" altLang="en-US" sz="8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年全国法定传染病疫情概况</a:t>
            </a:r>
            <a:r>
              <a:rPr lang="en-US" altLang="zh-CN" sz="8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 http://www.nhc.gov.cn/jkj/s3578/202204/4fd88a291d914abf8f7a91f6333567e1.shtml </a:t>
            </a:r>
          </a:p>
          <a:p>
            <a:pPr marL="228600" indent="-228600">
              <a:buAutoNum type="arabicPeriod"/>
            </a:pPr>
            <a:r>
              <a:rPr lang="en-US" altLang="zh-CN" sz="8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UNAIDS Estimates 2018.  http://aidsinfo.unaids.org/</a:t>
            </a:r>
          </a:p>
          <a:p>
            <a:pPr marL="228600" indent="-228600">
              <a:buAutoNum type="arabicPeriod"/>
            </a:pPr>
            <a:r>
              <a:rPr lang="en-US" altLang="zh-CN" sz="8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https://www.lwb-ngo.org/uu. </a:t>
            </a:r>
          </a:p>
          <a:p>
            <a:pPr marL="228600" indent="-228600">
              <a:buAutoNum type="arabicPeriod"/>
            </a:pPr>
            <a:endParaRPr lang="en-US" altLang="zh-CN" sz="8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71" name="文本框 70">
            <a:extLst>
              <a:ext uri="{FF2B5EF4-FFF2-40B4-BE49-F238E27FC236}">
                <a16:creationId xmlns:a16="http://schemas.microsoft.com/office/drawing/2014/main" id="{DEE5FDFE-7EE9-489F-B4AD-335E7CE22D7E}"/>
              </a:ext>
            </a:extLst>
          </p:cNvPr>
          <p:cNvSpPr txBox="1"/>
          <p:nvPr/>
        </p:nvSpPr>
        <p:spPr>
          <a:xfrm>
            <a:off x="391266" y="3304889"/>
            <a:ext cx="6782123" cy="548933"/>
          </a:xfrm>
          <a:prstGeom prst="rect">
            <a:avLst/>
          </a:prstGeom>
          <a:noFill/>
        </p:spPr>
        <p:txBody>
          <a:bodyPr wrap="square">
            <a:spAutoFit/>
          </a:bodyPr>
          <a:lstStyle/>
          <a:p>
            <a:pPr marL="285750" indent="-285750">
              <a:lnSpc>
                <a:spcPct val="130000"/>
              </a:lnSpc>
              <a:buFont typeface="Arial" panose="020B0604020202020204" pitchFamily="34" charset="0"/>
              <a:buChar char="•"/>
            </a:pP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2017</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年≥</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50</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岁的</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HIV</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感染者比例为</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41%</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预计</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2035</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年将达到</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70%</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以上</a:t>
            </a:r>
            <a:r>
              <a:rPr lang="en-US" altLang="zh-CN" sz="1200" baseline="30000" dirty="0">
                <a:latin typeface="Times New Roman" panose="02020603050405020304" pitchFamily="18" charset="0"/>
                <a:ea typeface="微软雅黑" panose="020B0503020204020204" pitchFamily="34" charset="-122"/>
                <a:cs typeface="Times New Roman" panose="02020603050405020304" pitchFamily="18" charset="0"/>
              </a:rPr>
              <a:t>3</a:t>
            </a:r>
            <a:endParaRPr lang="en-US" altLang="zh-CN" sz="1200" dirty="0">
              <a:latin typeface="Times New Roman" panose="02020603050405020304" pitchFamily="18" charset="0"/>
              <a:ea typeface="微软雅黑" panose="020B0503020204020204" pitchFamily="34" charset="-122"/>
              <a:cs typeface="Times New Roman" panose="02020603050405020304" pitchFamily="18" charset="0"/>
            </a:endParaRPr>
          </a:p>
          <a:p>
            <a:pPr marL="285750" indent="-285750">
              <a:lnSpc>
                <a:spcPct val="130000"/>
              </a:lnSpc>
              <a:buFont typeface="Arial" panose="020B0604020202020204" pitchFamily="34" charset="0"/>
              <a:buChar char="•"/>
            </a:pPr>
            <a:r>
              <a:rPr kumimoji="1" lang="zh-CN" altLang="en-US" sz="1200" dirty="0">
                <a:latin typeface="Times New Roman" panose="02020603050405020304" pitchFamily="18" charset="0"/>
                <a:ea typeface="微软雅黑" panose="020B0503020204020204" pitchFamily="34" charset="-122"/>
                <a:cs typeface="Times New Roman" panose="02020603050405020304" pitchFamily="18" charset="0"/>
              </a:rPr>
              <a:t>随着</a:t>
            </a:r>
            <a:r>
              <a:rPr kumimoji="1" lang="en-US" altLang="zh-CN" sz="1200" dirty="0">
                <a:latin typeface="Times New Roman" panose="02020603050405020304" pitchFamily="18" charset="0"/>
                <a:ea typeface="微软雅黑" panose="020B0503020204020204" pitchFamily="34" charset="-122"/>
                <a:cs typeface="Times New Roman" panose="02020603050405020304" pitchFamily="18" charset="0"/>
              </a:rPr>
              <a:t>HIV</a:t>
            </a:r>
            <a:r>
              <a:rPr kumimoji="1" lang="zh-CN" altLang="en-US" sz="1200" dirty="0">
                <a:latin typeface="Times New Roman" panose="02020603050405020304" pitchFamily="18" charset="0"/>
                <a:ea typeface="微软雅黑" panose="020B0503020204020204" pitchFamily="34" charset="-122"/>
                <a:cs typeface="Times New Roman" panose="02020603050405020304" pitchFamily="18" charset="0"/>
              </a:rPr>
              <a:t>感染者生存期的延长，与年龄相关的慢性疾病将逐渐增多</a:t>
            </a:r>
            <a:endParaRPr lang="en-US" altLang="zh-CN" sz="12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74" name="文本框 73">
            <a:extLst>
              <a:ext uri="{FF2B5EF4-FFF2-40B4-BE49-F238E27FC236}">
                <a16:creationId xmlns:a16="http://schemas.microsoft.com/office/drawing/2014/main" id="{C189C0B0-8DD2-42AA-86F4-F015CC7ECA7D}"/>
              </a:ext>
            </a:extLst>
          </p:cNvPr>
          <p:cNvSpPr txBox="1"/>
          <p:nvPr/>
        </p:nvSpPr>
        <p:spPr>
          <a:xfrm>
            <a:off x="7595755" y="3339666"/>
            <a:ext cx="4264479"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zh-CN" altLang="en-US" sz="1400" i="0" u="none" strike="noStrike" kern="0" cap="none" spc="0" normalizeH="0" baseline="0" noProof="0" dirty="0">
                <a:ln>
                  <a:noFill/>
                </a:ln>
                <a:effectLst/>
                <a:uLnTx/>
                <a:uFillTx/>
                <a:latin typeface="Times New Roman" panose="02020603050405020304" pitchFamily="18" charset="0"/>
                <a:ea typeface="微软雅黑" panose="020B0503020204020204" pitchFamily="34" charset="-122"/>
                <a:cs typeface="Times New Roman" panose="02020603050405020304" pitchFamily="18" charset="0"/>
              </a:rPr>
              <a:t>持续有效抗病毒药物的使用能够控制艾滋病传染</a:t>
            </a:r>
            <a:r>
              <a:rPr kumimoji="0" lang="en-US" altLang="zh-CN" sz="1400" i="0" u="none" strike="noStrike" kern="0" cap="none" spc="0" normalizeH="0" baseline="30000" noProof="0" dirty="0">
                <a:ln>
                  <a:noFill/>
                </a:ln>
                <a:effectLst/>
                <a:uLnTx/>
                <a:uFillTx/>
                <a:latin typeface="Times New Roman" panose="02020603050405020304" pitchFamily="18" charset="0"/>
                <a:ea typeface="微软雅黑" panose="020B0503020204020204" pitchFamily="34" charset="-122"/>
                <a:cs typeface="Times New Roman" panose="02020603050405020304" pitchFamily="18" charset="0"/>
              </a:rPr>
              <a:t>4</a:t>
            </a:r>
            <a:endParaRPr kumimoji="0" lang="en-US" sz="1400" i="0" u="none" strike="noStrike" kern="0" cap="none" spc="0" normalizeH="0" baseline="30000" noProof="0" dirty="0">
              <a:ln>
                <a:noFill/>
              </a:ln>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70" name="灯片编号占位符 3">
            <a:extLst>
              <a:ext uri="{FF2B5EF4-FFF2-40B4-BE49-F238E27FC236}">
                <a16:creationId xmlns:a16="http://schemas.microsoft.com/office/drawing/2014/main" id="{C4A1E50C-D600-4B06-9A5B-A941BD53E8F2}"/>
              </a:ext>
            </a:extLst>
          </p:cNvPr>
          <p:cNvSpPr txBox="1">
            <a:spLocks/>
          </p:cNvSpPr>
          <p:nvPr/>
        </p:nvSpPr>
        <p:spPr>
          <a:xfrm>
            <a:off x="11673792" y="6356961"/>
            <a:ext cx="518208"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fld id="{D6F24B0C-7668-4973-8E6C-4D4CB7EF0CEB}" type="slidenum">
              <a:rPr lang="en-US" sz="1600" b="1" smtClean="0">
                <a:solidFill>
                  <a:schemeClr val="bg1"/>
                </a:solidFill>
                <a:latin typeface="Arial" panose="020B0604020202020204" pitchFamily="34" charset="0"/>
                <a:cs typeface="Arial" panose="020B0604020202020204" pitchFamily="34" charset="0"/>
              </a:rPr>
              <a:pPr algn="ctr" defTabSz="457200">
                <a:defRPr/>
              </a:pPr>
              <a:t>4</a:t>
            </a:fld>
            <a:endParaRPr lang="en-US" sz="16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7996991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矩形 135">
            <a:extLst>
              <a:ext uri="{FF2B5EF4-FFF2-40B4-BE49-F238E27FC236}">
                <a16:creationId xmlns:a16="http://schemas.microsoft.com/office/drawing/2014/main" id="{7AE2FEB8-34A7-48ED-A0A0-49AF5C175F62}"/>
              </a:ext>
            </a:extLst>
          </p:cNvPr>
          <p:cNvSpPr/>
          <p:nvPr/>
        </p:nvSpPr>
        <p:spPr>
          <a:xfrm>
            <a:off x="160938" y="1563922"/>
            <a:ext cx="11954479" cy="2118976"/>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dirty="0">
              <a:ln>
                <a:noFill/>
              </a:ln>
              <a:solidFill>
                <a:prstClr val="white"/>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61" name="TextBox 60">
            <a:extLst>
              <a:ext uri="{FF2B5EF4-FFF2-40B4-BE49-F238E27FC236}">
                <a16:creationId xmlns:a16="http://schemas.microsoft.com/office/drawing/2014/main" id="{5FD5F2DC-5621-48EF-9287-F94F0B976095}"/>
              </a:ext>
            </a:extLst>
          </p:cNvPr>
          <p:cNvSpPr txBox="1"/>
          <p:nvPr/>
        </p:nvSpPr>
        <p:spPr>
          <a:xfrm>
            <a:off x="615195" y="624323"/>
            <a:ext cx="10444801" cy="461665"/>
          </a:xfrm>
          <a:prstGeom prst="rect">
            <a:avLst/>
          </a:prstGeom>
          <a:noFill/>
        </p:spPr>
        <p:txBody>
          <a:bodyPr wrap="square">
            <a:spAutoFit/>
          </a:bodyPr>
          <a:lstStyle/>
          <a:p>
            <a:pPr fontAlgn="base">
              <a:buClr>
                <a:srgbClr val="E43F1C"/>
              </a:buClr>
              <a:buSzPct val="100000"/>
              <a:defRPr/>
            </a:pPr>
            <a:r>
              <a:rPr lang="zh-CN" altLang="en-US" sz="2400" b="1" dirty="0">
                <a:solidFill>
                  <a:srgbClr val="612166"/>
                </a:solidFill>
                <a:latin typeface="Times New Roman" panose="02020603050405020304" pitchFamily="18" charset="0"/>
                <a:ea typeface="微软雅黑" panose="020B0503020204020204" pitchFamily="34" charset="-122"/>
                <a:cs typeface="Times New Roman" panose="02020603050405020304" pitchFamily="18" charset="0"/>
              </a:rPr>
              <a:t>本品能够满足合并基础疾病或血脂异常的</a:t>
            </a:r>
            <a:r>
              <a:rPr lang="en-US" altLang="zh-CN" sz="2400" b="1" dirty="0">
                <a:solidFill>
                  <a:srgbClr val="612166"/>
                </a:solidFill>
                <a:latin typeface="Times New Roman" panose="02020603050405020304" pitchFamily="18" charset="0"/>
                <a:ea typeface="微软雅黑" panose="020B0503020204020204" pitchFamily="34" charset="-122"/>
                <a:cs typeface="Times New Roman" panose="02020603050405020304" pitchFamily="18" charset="0"/>
              </a:rPr>
              <a:t>HIV</a:t>
            </a:r>
            <a:r>
              <a:rPr lang="zh-CN" altLang="en-US" sz="2400" b="1" dirty="0">
                <a:solidFill>
                  <a:srgbClr val="612166"/>
                </a:solidFill>
                <a:latin typeface="Times New Roman" panose="02020603050405020304" pitchFamily="18" charset="0"/>
                <a:ea typeface="微软雅黑" panose="020B0503020204020204" pitchFamily="34" charset="-122"/>
                <a:cs typeface="Times New Roman" panose="02020603050405020304" pitchFamily="18" charset="0"/>
              </a:rPr>
              <a:t>感染者平稳转换用药的需求</a:t>
            </a:r>
          </a:p>
        </p:txBody>
      </p:sp>
      <p:sp>
        <p:nvSpPr>
          <p:cNvPr id="72" name="文本框 71">
            <a:extLst>
              <a:ext uri="{FF2B5EF4-FFF2-40B4-BE49-F238E27FC236}">
                <a16:creationId xmlns:a16="http://schemas.microsoft.com/office/drawing/2014/main" id="{0FF615E7-4704-4FD3-B054-82DF800DBF8E}"/>
              </a:ext>
            </a:extLst>
          </p:cNvPr>
          <p:cNvSpPr txBox="1"/>
          <p:nvPr/>
        </p:nvSpPr>
        <p:spPr>
          <a:xfrm>
            <a:off x="543641" y="1629995"/>
            <a:ext cx="2920919" cy="461665"/>
          </a:xfrm>
          <a:prstGeom prst="rect">
            <a:avLst/>
          </a:prstGeom>
          <a:noFill/>
        </p:spPr>
        <p:txBody>
          <a:bodyPr wrap="square">
            <a:spAutoFit/>
          </a:bodyPr>
          <a:lstStyle/>
          <a:p>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1. </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减少抗病毒药物的数量和毒性是</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HIV</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感染者迫切的需求</a:t>
            </a:r>
            <a:endParaRPr lang="en-US" sz="12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70" name="文本框 69">
            <a:extLst>
              <a:ext uri="{FF2B5EF4-FFF2-40B4-BE49-F238E27FC236}">
                <a16:creationId xmlns:a16="http://schemas.microsoft.com/office/drawing/2014/main" id="{DF2219F7-1DD1-49FA-8D35-857027CAA4D4}"/>
              </a:ext>
            </a:extLst>
          </p:cNvPr>
          <p:cNvSpPr txBox="1"/>
          <p:nvPr/>
        </p:nvSpPr>
        <p:spPr>
          <a:xfrm>
            <a:off x="8638540" y="1613695"/>
            <a:ext cx="3286091" cy="461665"/>
          </a:xfrm>
          <a:prstGeom prst="rect">
            <a:avLst/>
          </a:prstGeom>
          <a:noFill/>
        </p:spPr>
        <p:txBody>
          <a:bodyPr wrap="square">
            <a:spAutoFit/>
          </a:bodyPr>
          <a:lstStyle/>
          <a:p>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3. </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抗病毒治疗会加重</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HIV</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感染者血脂异常</a:t>
            </a:r>
            <a:r>
              <a:rPr kumimoji="1" lang="en-US" altLang="zh-CN" sz="1200" baseline="3000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rPr>
              <a:t>6 </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增加心血管疾病风险</a:t>
            </a:r>
            <a:r>
              <a:rPr lang="en-US" altLang="zh-CN" sz="1200" baseline="30000" dirty="0">
                <a:latin typeface="Times New Roman" panose="02020603050405020304" pitchFamily="18" charset="0"/>
                <a:ea typeface="微软雅黑" panose="020B0503020204020204" pitchFamily="34" charset="-122"/>
                <a:cs typeface="Times New Roman" panose="02020603050405020304" pitchFamily="18" charset="0"/>
              </a:rPr>
              <a:t>7</a:t>
            </a:r>
            <a:endParaRPr lang="en-US" sz="1200" baseline="30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69" name="文本框 68">
            <a:extLst>
              <a:ext uri="{FF2B5EF4-FFF2-40B4-BE49-F238E27FC236}">
                <a16:creationId xmlns:a16="http://schemas.microsoft.com/office/drawing/2014/main" id="{C376CFA7-379A-4E00-996C-79854F9DC548}"/>
              </a:ext>
            </a:extLst>
          </p:cNvPr>
          <p:cNvSpPr txBox="1"/>
          <p:nvPr/>
        </p:nvSpPr>
        <p:spPr>
          <a:xfrm>
            <a:off x="4195781" y="1630287"/>
            <a:ext cx="3569065" cy="461665"/>
          </a:xfrm>
          <a:prstGeom prst="rect">
            <a:avLst/>
          </a:prstGeom>
          <a:noFill/>
        </p:spPr>
        <p:txBody>
          <a:bodyPr wrap="square">
            <a:spAutoFit/>
          </a:bodyPr>
          <a:lstStyle/>
          <a:p>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2.</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 </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HIV</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感染者基础疾病多</a:t>
            </a:r>
            <a:r>
              <a:rPr lang="en-US" altLang="zh-CN" sz="1200" baseline="30000" dirty="0">
                <a:latin typeface="Times New Roman" panose="02020603050405020304" pitchFamily="18" charset="0"/>
                <a:ea typeface="微软雅黑" panose="020B0503020204020204" pitchFamily="34" charset="-122"/>
                <a:cs typeface="Times New Roman" panose="02020603050405020304" pitchFamily="18" charset="0"/>
              </a:rPr>
              <a:t>2,3</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需要多重用药</a:t>
            </a:r>
            <a:r>
              <a:rPr lang="en-US" altLang="zh-CN" sz="1200" baseline="30000" dirty="0">
                <a:latin typeface="Times New Roman" panose="02020603050405020304" pitchFamily="18" charset="0"/>
                <a:ea typeface="微软雅黑" panose="020B0503020204020204" pitchFamily="34" charset="-122"/>
                <a:cs typeface="Times New Roman" panose="02020603050405020304" pitchFamily="18" charset="0"/>
              </a:rPr>
              <a:t>4</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存在高药物相互作用</a:t>
            </a:r>
            <a:r>
              <a:rPr lang="en-US" altLang="zh-CN" sz="1200" dirty="0">
                <a:latin typeface="Times New Roman" panose="02020603050405020304" pitchFamily="18" charset="0"/>
                <a:ea typeface="微软雅黑" panose="020B0503020204020204" pitchFamily="34" charset="-122"/>
                <a:cs typeface="Times New Roman" panose="02020603050405020304" pitchFamily="18" charset="0"/>
              </a:rPr>
              <a:t>(DDI)</a:t>
            </a: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风险</a:t>
            </a:r>
            <a:r>
              <a:rPr lang="en-US" altLang="zh-CN" sz="1200" baseline="30000" dirty="0">
                <a:latin typeface="Times New Roman" panose="02020603050405020304" pitchFamily="18" charset="0"/>
                <a:ea typeface="微软雅黑" panose="020B0503020204020204" pitchFamily="34" charset="-122"/>
                <a:cs typeface="Times New Roman" panose="02020603050405020304" pitchFamily="18" charset="0"/>
              </a:rPr>
              <a:t>5</a:t>
            </a:r>
            <a:endParaRPr lang="en-US" sz="1200" baseline="300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79" name="文本框 78">
            <a:extLst>
              <a:ext uri="{FF2B5EF4-FFF2-40B4-BE49-F238E27FC236}">
                <a16:creationId xmlns:a16="http://schemas.microsoft.com/office/drawing/2014/main" id="{9B6A647E-1B77-4FF3-A745-F2E17AE4A31D}"/>
              </a:ext>
            </a:extLst>
          </p:cNvPr>
          <p:cNvSpPr txBox="1"/>
          <p:nvPr/>
        </p:nvSpPr>
        <p:spPr>
          <a:xfrm>
            <a:off x="671172" y="2112855"/>
            <a:ext cx="5904971" cy="253916"/>
          </a:xfrm>
          <a:prstGeom prst="rect">
            <a:avLst/>
          </a:prstGeom>
          <a:noFill/>
        </p:spPr>
        <p:txBody>
          <a:bodyPr wrap="square">
            <a:spAutoFit/>
          </a:bodyPr>
          <a:lstStyle/>
          <a:p>
            <a:r>
              <a:rPr lang="zh-CN" altLang="en-US" sz="1050" dirty="0">
                <a:latin typeface="Times New Roman" panose="02020603050405020304" pitchFamily="18" charset="0"/>
                <a:ea typeface="微软雅黑" panose="020B0503020204020204" pitchFamily="34" charset="-122"/>
                <a:cs typeface="Times New Roman" panose="02020603050405020304" pitchFamily="18" charset="0"/>
              </a:rPr>
              <a:t>对</a:t>
            </a:r>
            <a:r>
              <a:rPr lang="en-US" altLang="zh-CN" sz="1050" dirty="0">
                <a:latin typeface="Times New Roman" panose="02020603050405020304" pitchFamily="18" charset="0"/>
                <a:ea typeface="微软雅黑" panose="020B0503020204020204" pitchFamily="34" charset="-122"/>
                <a:cs typeface="Times New Roman" panose="02020603050405020304" pitchFamily="18" charset="0"/>
              </a:rPr>
              <a:t>HIV</a:t>
            </a:r>
            <a:r>
              <a:rPr lang="zh-CN" altLang="en-US" sz="1050" dirty="0">
                <a:latin typeface="Times New Roman" panose="02020603050405020304" pitchFamily="18" charset="0"/>
                <a:ea typeface="微软雅黑" panose="020B0503020204020204" pitchFamily="34" charset="-122"/>
                <a:cs typeface="Times New Roman" panose="02020603050405020304" pitchFamily="18" charset="0"/>
              </a:rPr>
              <a:t>感染者如何改善治疗的调查</a:t>
            </a:r>
            <a:r>
              <a:rPr lang="en-US" altLang="zh-CN" sz="1050" baseline="30000" dirty="0">
                <a:latin typeface="Times New Roman" panose="02020603050405020304" pitchFamily="18" charset="0"/>
                <a:ea typeface="微软雅黑" panose="020B0503020204020204" pitchFamily="34" charset="-122"/>
                <a:cs typeface="Times New Roman" panose="02020603050405020304" pitchFamily="18" charset="0"/>
              </a:rPr>
              <a:t>1</a:t>
            </a:r>
            <a:r>
              <a:rPr lang="zh-CN" altLang="en-US" sz="1050" dirty="0">
                <a:latin typeface="Times New Roman" panose="02020603050405020304" pitchFamily="18" charset="0"/>
                <a:ea typeface="微软雅黑" panose="020B0503020204020204" pitchFamily="34" charset="-122"/>
                <a:cs typeface="Times New Roman" panose="02020603050405020304" pitchFamily="18" charset="0"/>
              </a:rPr>
              <a:t>显示：</a:t>
            </a:r>
            <a:endParaRPr lang="en-US" sz="1050" dirty="0">
              <a:latin typeface="Times New Roman" panose="02020603050405020304" pitchFamily="18" charset="0"/>
              <a:ea typeface="微软雅黑" panose="020B0503020204020204" pitchFamily="34" charset="-122"/>
              <a:cs typeface="Times New Roman" panose="02020603050405020304" pitchFamily="18" charset="0"/>
            </a:endParaRPr>
          </a:p>
        </p:txBody>
      </p:sp>
      <p:grpSp>
        <p:nvGrpSpPr>
          <p:cNvPr id="7" name="组合 6">
            <a:extLst>
              <a:ext uri="{FF2B5EF4-FFF2-40B4-BE49-F238E27FC236}">
                <a16:creationId xmlns:a16="http://schemas.microsoft.com/office/drawing/2014/main" id="{1E4A086E-4351-46FE-AC20-D8CCDE4160F4}"/>
              </a:ext>
            </a:extLst>
          </p:cNvPr>
          <p:cNvGrpSpPr/>
          <p:nvPr/>
        </p:nvGrpSpPr>
        <p:grpSpPr>
          <a:xfrm>
            <a:off x="4148566" y="2145454"/>
            <a:ext cx="4282832" cy="1267903"/>
            <a:chOff x="453496" y="4020336"/>
            <a:chExt cx="6735101" cy="1491657"/>
          </a:xfrm>
        </p:grpSpPr>
        <p:grpSp>
          <p:nvGrpSpPr>
            <p:cNvPr id="81" name="Group 22">
              <a:extLst>
                <a:ext uri="{FF2B5EF4-FFF2-40B4-BE49-F238E27FC236}">
                  <a16:creationId xmlns:a16="http://schemas.microsoft.com/office/drawing/2014/main" id="{6E14CF9A-6BC5-4A01-B88C-3FE24FEB60CB}"/>
                </a:ext>
              </a:extLst>
            </p:cNvPr>
            <p:cNvGrpSpPr/>
            <p:nvPr/>
          </p:nvGrpSpPr>
          <p:grpSpPr>
            <a:xfrm>
              <a:off x="463656" y="4020336"/>
              <a:ext cx="6621997" cy="1491657"/>
              <a:chOff x="458787" y="2206196"/>
              <a:chExt cx="11512296" cy="3516586"/>
            </a:xfrm>
          </p:grpSpPr>
          <p:sp>
            <p:nvSpPr>
              <p:cNvPr id="82" name="Freeform 23">
                <a:extLst>
                  <a:ext uri="{FF2B5EF4-FFF2-40B4-BE49-F238E27FC236}">
                    <a16:creationId xmlns:a16="http://schemas.microsoft.com/office/drawing/2014/main" id="{451D830A-AFD1-4B89-AE76-180F6A4DFACE}"/>
                  </a:ext>
                </a:extLst>
              </p:cNvPr>
              <p:cNvSpPr>
                <a:spLocks/>
              </p:cNvSpPr>
              <p:nvPr/>
            </p:nvSpPr>
            <p:spPr bwMode="auto">
              <a:xfrm>
                <a:off x="634311" y="2396703"/>
                <a:ext cx="3552198" cy="1566205"/>
              </a:xfrm>
              <a:custGeom>
                <a:avLst/>
                <a:gdLst>
                  <a:gd name="T0" fmla="*/ 890 w 892"/>
                  <a:gd name="T1" fmla="*/ 380 h 393"/>
                  <a:gd name="T2" fmla="*/ 740 w 892"/>
                  <a:gd name="T3" fmla="*/ 109 h 393"/>
                  <a:gd name="T4" fmla="*/ 446 w 892"/>
                  <a:gd name="T5" fmla="*/ 0 h 393"/>
                  <a:gd name="T6" fmla="*/ 153 w 892"/>
                  <a:gd name="T7" fmla="*/ 109 h 393"/>
                  <a:gd name="T8" fmla="*/ 2 w 892"/>
                  <a:gd name="T9" fmla="*/ 380 h 393"/>
                  <a:gd name="T10" fmla="*/ 0 w 892"/>
                  <a:gd name="T11" fmla="*/ 393 h 393"/>
                  <a:gd name="T12" fmla="*/ 892 w 892"/>
                  <a:gd name="T13" fmla="*/ 393 h 393"/>
                  <a:gd name="T14" fmla="*/ 890 w 892"/>
                  <a:gd name="T15" fmla="*/ 380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2" h="393">
                    <a:moveTo>
                      <a:pt x="890" y="380"/>
                    </a:moveTo>
                    <a:cubicBezTo>
                      <a:pt x="874" y="275"/>
                      <a:pt x="820" y="179"/>
                      <a:pt x="740" y="109"/>
                    </a:cubicBezTo>
                    <a:cubicBezTo>
                      <a:pt x="658" y="39"/>
                      <a:pt x="554" y="0"/>
                      <a:pt x="446" y="0"/>
                    </a:cubicBezTo>
                    <a:cubicBezTo>
                      <a:pt x="338" y="0"/>
                      <a:pt x="234" y="39"/>
                      <a:pt x="153" y="109"/>
                    </a:cubicBezTo>
                    <a:cubicBezTo>
                      <a:pt x="72" y="179"/>
                      <a:pt x="19" y="275"/>
                      <a:pt x="2" y="380"/>
                    </a:cubicBezTo>
                    <a:cubicBezTo>
                      <a:pt x="0" y="393"/>
                      <a:pt x="0" y="393"/>
                      <a:pt x="0" y="393"/>
                    </a:cubicBezTo>
                    <a:cubicBezTo>
                      <a:pt x="892" y="393"/>
                      <a:pt x="892" y="393"/>
                      <a:pt x="892" y="393"/>
                    </a:cubicBezTo>
                    <a:lnTo>
                      <a:pt x="890" y="380"/>
                    </a:lnTo>
                    <a:close/>
                  </a:path>
                </a:pathLst>
              </a:custGeom>
              <a:solidFill>
                <a:srgbClr val="D0D3D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83" name="Freeform 24">
                <a:extLst>
                  <a:ext uri="{FF2B5EF4-FFF2-40B4-BE49-F238E27FC236}">
                    <a16:creationId xmlns:a16="http://schemas.microsoft.com/office/drawing/2014/main" id="{E25C4BEC-99B5-46EC-8CDB-B31412524B28}"/>
                  </a:ext>
                </a:extLst>
              </p:cNvPr>
              <p:cNvSpPr>
                <a:spLocks/>
              </p:cNvSpPr>
              <p:nvPr/>
            </p:nvSpPr>
            <p:spPr bwMode="auto">
              <a:xfrm>
                <a:off x="458787" y="2206196"/>
                <a:ext cx="3909608" cy="1552716"/>
              </a:xfrm>
              <a:custGeom>
                <a:avLst/>
                <a:gdLst>
                  <a:gd name="T0" fmla="*/ 28 w 982"/>
                  <a:gd name="T1" fmla="*/ 390 h 390"/>
                  <a:gd name="T2" fmla="*/ 491 w 982"/>
                  <a:gd name="T3" fmla="*/ 27 h 390"/>
                  <a:gd name="T4" fmla="*/ 955 w 982"/>
                  <a:gd name="T5" fmla="*/ 390 h 390"/>
                  <a:gd name="T6" fmla="*/ 982 w 982"/>
                  <a:gd name="T7" fmla="*/ 390 h 390"/>
                  <a:gd name="T8" fmla="*/ 821 w 982"/>
                  <a:gd name="T9" fmla="*/ 123 h 390"/>
                  <a:gd name="T10" fmla="*/ 491 w 982"/>
                  <a:gd name="T11" fmla="*/ 0 h 390"/>
                  <a:gd name="T12" fmla="*/ 162 w 982"/>
                  <a:gd name="T13" fmla="*/ 123 h 390"/>
                  <a:gd name="T14" fmla="*/ 0 w 982"/>
                  <a:gd name="T15" fmla="*/ 390 h 390"/>
                  <a:gd name="T16" fmla="*/ 28 w 982"/>
                  <a:gd name="T17" fmla="*/ 39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2" h="390">
                    <a:moveTo>
                      <a:pt x="28" y="390"/>
                    </a:moveTo>
                    <a:cubicBezTo>
                      <a:pt x="79" y="177"/>
                      <a:pt x="268" y="27"/>
                      <a:pt x="491" y="27"/>
                    </a:cubicBezTo>
                    <a:cubicBezTo>
                      <a:pt x="714" y="27"/>
                      <a:pt x="903" y="177"/>
                      <a:pt x="955" y="390"/>
                    </a:cubicBezTo>
                    <a:cubicBezTo>
                      <a:pt x="982" y="390"/>
                      <a:pt x="982" y="390"/>
                      <a:pt x="982" y="390"/>
                    </a:cubicBezTo>
                    <a:cubicBezTo>
                      <a:pt x="958" y="287"/>
                      <a:pt x="902" y="193"/>
                      <a:pt x="821" y="123"/>
                    </a:cubicBezTo>
                    <a:cubicBezTo>
                      <a:pt x="729" y="44"/>
                      <a:pt x="612" y="0"/>
                      <a:pt x="491" y="0"/>
                    </a:cubicBezTo>
                    <a:cubicBezTo>
                      <a:pt x="370" y="0"/>
                      <a:pt x="253" y="44"/>
                      <a:pt x="162" y="123"/>
                    </a:cubicBezTo>
                    <a:cubicBezTo>
                      <a:pt x="81" y="193"/>
                      <a:pt x="24" y="287"/>
                      <a:pt x="0" y="390"/>
                    </a:cubicBezTo>
                    <a:lnTo>
                      <a:pt x="28" y="390"/>
                    </a:lnTo>
                    <a:close/>
                  </a:path>
                </a:pathLst>
              </a:custGeom>
              <a:solidFill>
                <a:srgbClr val="70208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84" name="Freeform 25">
                <a:extLst>
                  <a:ext uri="{FF2B5EF4-FFF2-40B4-BE49-F238E27FC236}">
                    <a16:creationId xmlns:a16="http://schemas.microsoft.com/office/drawing/2014/main" id="{8E7F5449-7B94-473F-B70F-41ADC0CA45A4}"/>
                  </a:ext>
                </a:extLst>
              </p:cNvPr>
              <p:cNvSpPr>
                <a:spLocks/>
              </p:cNvSpPr>
              <p:nvPr/>
            </p:nvSpPr>
            <p:spPr bwMode="gray">
              <a:xfrm flipV="1">
                <a:off x="4439267" y="3962908"/>
                <a:ext cx="3552198" cy="1566205"/>
              </a:xfrm>
              <a:custGeom>
                <a:avLst/>
                <a:gdLst>
                  <a:gd name="T0" fmla="*/ 890 w 892"/>
                  <a:gd name="T1" fmla="*/ 380 h 393"/>
                  <a:gd name="T2" fmla="*/ 740 w 892"/>
                  <a:gd name="T3" fmla="*/ 109 h 393"/>
                  <a:gd name="T4" fmla="*/ 446 w 892"/>
                  <a:gd name="T5" fmla="*/ 0 h 393"/>
                  <a:gd name="T6" fmla="*/ 153 w 892"/>
                  <a:gd name="T7" fmla="*/ 109 h 393"/>
                  <a:gd name="T8" fmla="*/ 2 w 892"/>
                  <a:gd name="T9" fmla="*/ 380 h 393"/>
                  <a:gd name="T10" fmla="*/ 0 w 892"/>
                  <a:gd name="T11" fmla="*/ 393 h 393"/>
                  <a:gd name="T12" fmla="*/ 892 w 892"/>
                  <a:gd name="T13" fmla="*/ 393 h 393"/>
                  <a:gd name="T14" fmla="*/ 890 w 892"/>
                  <a:gd name="T15" fmla="*/ 380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2" h="393">
                    <a:moveTo>
                      <a:pt x="890" y="380"/>
                    </a:moveTo>
                    <a:cubicBezTo>
                      <a:pt x="874" y="275"/>
                      <a:pt x="820" y="179"/>
                      <a:pt x="740" y="109"/>
                    </a:cubicBezTo>
                    <a:cubicBezTo>
                      <a:pt x="658" y="39"/>
                      <a:pt x="554" y="0"/>
                      <a:pt x="446" y="0"/>
                    </a:cubicBezTo>
                    <a:cubicBezTo>
                      <a:pt x="338" y="0"/>
                      <a:pt x="234" y="39"/>
                      <a:pt x="153" y="109"/>
                    </a:cubicBezTo>
                    <a:cubicBezTo>
                      <a:pt x="72" y="179"/>
                      <a:pt x="19" y="275"/>
                      <a:pt x="2" y="380"/>
                    </a:cubicBezTo>
                    <a:cubicBezTo>
                      <a:pt x="0" y="393"/>
                      <a:pt x="0" y="393"/>
                      <a:pt x="0" y="393"/>
                    </a:cubicBezTo>
                    <a:cubicBezTo>
                      <a:pt x="892" y="393"/>
                      <a:pt x="892" y="393"/>
                      <a:pt x="892" y="393"/>
                    </a:cubicBezTo>
                    <a:lnTo>
                      <a:pt x="890" y="380"/>
                    </a:lnTo>
                    <a:close/>
                  </a:path>
                </a:pathLst>
              </a:custGeom>
              <a:solidFill>
                <a:srgbClr val="D0D3D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85" name="Freeform 26">
                <a:extLst>
                  <a:ext uri="{FF2B5EF4-FFF2-40B4-BE49-F238E27FC236}">
                    <a16:creationId xmlns:a16="http://schemas.microsoft.com/office/drawing/2014/main" id="{255DC6B0-C591-4152-BAAD-EBF906CA57C0}"/>
                  </a:ext>
                </a:extLst>
              </p:cNvPr>
              <p:cNvSpPr>
                <a:spLocks/>
              </p:cNvSpPr>
              <p:nvPr/>
            </p:nvSpPr>
            <p:spPr bwMode="auto">
              <a:xfrm flipV="1">
                <a:off x="4260561" y="4166904"/>
                <a:ext cx="3909608" cy="1552716"/>
              </a:xfrm>
              <a:custGeom>
                <a:avLst/>
                <a:gdLst>
                  <a:gd name="T0" fmla="*/ 28 w 982"/>
                  <a:gd name="T1" fmla="*/ 390 h 390"/>
                  <a:gd name="T2" fmla="*/ 491 w 982"/>
                  <a:gd name="T3" fmla="*/ 27 h 390"/>
                  <a:gd name="T4" fmla="*/ 955 w 982"/>
                  <a:gd name="T5" fmla="*/ 390 h 390"/>
                  <a:gd name="T6" fmla="*/ 982 w 982"/>
                  <a:gd name="T7" fmla="*/ 390 h 390"/>
                  <a:gd name="T8" fmla="*/ 821 w 982"/>
                  <a:gd name="T9" fmla="*/ 123 h 390"/>
                  <a:gd name="T10" fmla="*/ 491 w 982"/>
                  <a:gd name="T11" fmla="*/ 0 h 390"/>
                  <a:gd name="T12" fmla="*/ 162 w 982"/>
                  <a:gd name="T13" fmla="*/ 123 h 390"/>
                  <a:gd name="T14" fmla="*/ 0 w 982"/>
                  <a:gd name="T15" fmla="*/ 390 h 390"/>
                  <a:gd name="T16" fmla="*/ 28 w 982"/>
                  <a:gd name="T17" fmla="*/ 39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2" h="390">
                    <a:moveTo>
                      <a:pt x="28" y="390"/>
                    </a:moveTo>
                    <a:cubicBezTo>
                      <a:pt x="79" y="177"/>
                      <a:pt x="268" y="27"/>
                      <a:pt x="491" y="27"/>
                    </a:cubicBezTo>
                    <a:cubicBezTo>
                      <a:pt x="714" y="27"/>
                      <a:pt x="903" y="177"/>
                      <a:pt x="955" y="390"/>
                    </a:cubicBezTo>
                    <a:cubicBezTo>
                      <a:pt x="982" y="390"/>
                      <a:pt x="982" y="390"/>
                      <a:pt x="982" y="390"/>
                    </a:cubicBezTo>
                    <a:cubicBezTo>
                      <a:pt x="958" y="287"/>
                      <a:pt x="902" y="193"/>
                      <a:pt x="821" y="123"/>
                    </a:cubicBezTo>
                    <a:cubicBezTo>
                      <a:pt x="729" y="44"/>
                      <a:pt x="612" y="0"/>
                      <a:pt x="491" y="0"/>
                    </a:cubicBezTo>
                    <a:cubicBezTo>
                      <a:pt x="370" y="0"/>
                      <a:pt x="253" y="44"/>
                      <a:pt x="162" y="123"/>
                    </a:cubicBezTo>
                    <a:cubicBezTo>
                      <a:pt x="81" y="193"/>
                      <a:pt x="24" y="287"/>
                      <a:pt x="0" y="390"/>
                    </a:cubicBezTo>
                    <a:lnTo>
                      <a:pt x="28" y="390"/>
                    </a:lnTo>
                    <a:close/>
                  </a:path>
                </a:pathLst>
              </a:custGeom>
              <a:solidFill>
                <a:srgbClr val="70208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86" name="Freeform 27">
                <a:extLst>
                  <a:ext uri="{FF2B5EF4-FFF2-40B4-BE49-F238E27FC236}">
                    <a16:creationId xmlns:a16="http://schemas.microsoft.com/office/drawing/2014/main" id="{8DED2444-7047-412A-A841-A04BC6D3A4E5}"/>
                  </a:ext>
                </a:extLst>
              </p:cNvPr>
              <p:cNvSpPr>
                <a:spLocks/>
              </p:cNvSpPr>
              <p:nvPr/>
            </p:nvSpPr>
            <p:spPr bwMode="auto">
              <a:xfrm>
                <a:off x="8240179" y="2396703"/>
                <a:ext cx="3552198" cy="1566205"/>
              </a:xfrm>
              <a:custGeom>
                <a:avLst/>
                <a:gdLst>
                  <a:gd name="T0" fmla="*/ 890 w 892"/>
                  <a:gd name="T1" fmla="*/ 380 h 393"/>
                  <a:gd name="T2" fmla="*/ 740 w 892"/>
                  <a:gd name="T3" fmla="*/ 109 h 393"/>
                  <a:gd name="T4" fmla="*/ 446 w 892"/>
                  <a:gd name="T5" fmla="*/ 0 h 393"/>
                  <a:gd name="T6" fmla="*/ 153 w 892"/>
                  <a:gd name="T7" fmla="*/ 109 h 393"/>
                  <a:gd name="T8" fmla="*/ 2 w 892"/>
                  <a:gd name="T9" fmla="*/ 380 h 393"/>
                  <a:gd name="T10" fmla="*/ 0 w 892"/>
                  <a:gd name="T11" fmla="*/ 393 h 393"/>
                  <a:gd name="T12" fmla="*/ 892 w 892"/>
                  <a:gd name="T13" fmla="*/ 393 h 393"/>
                  <a:gd name="T14" fmla="*/ 890 w 892"/>
                  <a:gd name="T15" fmla="*/ 380 h 3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92" h="393">
                    <a:moveTo>
                      <a:pt x="890" y="380"/>
                    </a:moveTo>
                    <a:cubicBezTo>
                      <a:pt x="874" y="275"/>
                      <a:pt x="820" y="179"/>
                      <a:pt x="740" y="109"/>
                    </a:cubicBezTo>
                    <a:cubicBezTo>
                      <a:pt x="658" y="39"/>
                      <a:pt x="554" y="0"/>
                      <a:pt x="446" y="0"/>
                    </a:cubicBezTo>
                    <a:cubicBezTo>
                      <a:pt x="338" y="0"/>
                      <a:pt x="234" y="39"/>
                      <a:pt x="153" y="109"/>
                    </a:cubicBezTo>
                    <a:cubicBezTo>
                      <a:pt x="72" y="179"/>
                      <a:pt x="19" y="275"/>
                      <a:pt x="2" y="380"/>
                    </a:cubicBezTo>
                    <a:cubicBezTo>
                      <a:pt x="0" y="393"/>
                      <a:pt x="0" y="393"/>
                      <a:pt x="0" y="393"/>
                    </a:cubicBezTo>
                    <a:cubicBezTo>
                      <a:pt x="892" y="393"/>
                      <a:pt x="892" y="393"/>
                      <a:pt x="892" y="393"/>
                    </a:cubicBezTo>
                    <a:lnTo>
                      <a:pt x="890" y="380"/>
                    </a:lnTo>
                    <a:close/>
                  </a:path>
                </a:pathLst>
              </a:custGeom>
              <a:solidFill>
                <a:srgbClr val="D0D3D3"/>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91" name="Freeform 28">
                <a:extLst>
                  <a:ext uri="{FF2B5EF4-FFF2-40B4-BE49-F238E27FC236}">
                    <a16:creationId xmlns:a16="http://schemas.microsoft.com/office/drawing/2014/main" id="{6986E75B-BA57-4A47-B999-36F5F8D81068}"/>
                  </a:ext>
                </a:extLst>
              </p:cNvPr>
              <p:cNvSpPr>
                <a:spLocks/>
              </p:cNvSpPr>
              <p:nvPr/>
            </p:nvSpPr>
            <p:spPr bwMode="auto">
              <a:xfrm>
                <a:off x="8061475" y="2206196"/>
                <a:ext cx="3909608" cy="1552716"/>
              </a:xfrm>
              <a:custGeom>
                <a:avLst/>
                <a:gdLst>
                  <a:gd name="T0" fmla="*/ 28 w 982"/>
                  <a:gd name="T1" fmla="*/ 390 h 390"/>
                  <a:gd name="T2" fmla="*/ 491 w 982"/>
                  <a:gd name="T3" fmla="*/ 27 h 390"/>
                  <a:gd name="T4" fmla="*/ 955 w 982"/>
                  <a:gd name="T5" fmla="*/ 390 h 390"/>
                  <a:gd name="T6" fmla="*/ 982 w 982"/>
                  <a:gd name="T7" fmla="*/ 390 h 390"/>
                  <a:gd name="T8" fmla="*/ 821 w 982"/>
                  <a:gd name="T9" fmla="*/ 123 h 390"/>
                  <a:gd name="T10" fmla="*/ 491 w 982"/>
                  <a:gd name="T11" fmla="*/ 0 h 390"/>
                  <a:gd name="T12" fmla="*/ 162 w 982"/>
                  <a:gd name="T13" fmla="*/ 123 h 390"/>
                  <a:gd name="T14" fmla="*/ 0 w 982"/>
                  <a:gd name="T15" fmla="*/ 390 h 390"/>
                  <a:gd name="T16" fmla="*/ 28 w 982"/>
                  <a:gd name="T17" fmla="*/ 39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82" h="390">
                    <a:moveTo>
                      <a:pt x="28" y="390"/>
                    </a:moveTo>
                    <a:cubicBezTo>
                      <a:pt x="79" y="177"/>
                      <a:pt x="268" y="27"/>
                      <a:pt x="491" y="27"/>
                    </a:cubicBezTo>
                    <a:cubicBezTo>
                      <a:pt x="714" y="27"/>
                      <a:pt x="903" y="177"/>
                      <a:pt x="955" y="390"/>
                    </a:cubicBezTo>
                    <a:cubicBezTo>
                      <a:pt x="982" y="390"/>
                      <a:pt x="982" y="390"/>
                      <a:pt x="982" y="390"/>
                    </a:cubicBezTo>
                    <a:cubicBezTo>
                      <a:pt x="958" y="287"/>
                      <a:pt x="902" y="193"/>
                      <a:pt x="821" y="123"/>
                    </a:cubicBezTo>
                    <a:cubicBezTo>
                      <a:pt x="729" y="44"/>
                      <a:pt x="612" y="0"/>
                      <a:pt x="491" y="0"/>
                    </a:cubicBezTo>
                    <a:cubicBezTo>
                      <a:pt x="370" y="0"/>
                      <a:pt x="253" y="44"/>
                      <a:pt x="162" y="123"/>
                    </a:cubicBezTo>
                    <a:cubicBezTo>
                      <a:pt x="81" y="193"/>
                      <a:pt x="24" y="287"/>
                      <a:pt x="0" y="390"/>
                    </a:cubicBezTo>
                    <a:lnTo>
                      <a:pt x="28" y="390"/>
                    </a:lnTo>
                    <a:close/>
                  </a:path>
                </a:pathLst>
              </a:custGeom>
              <a:solidFill>
                <a:srgbClr val="702082"/>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92" name="Rectangle 29">
                <a:extLst>
                  <a:ext uri="{FF2B5EF4-FFF2-40B4-BE49-F238E27FC236}">
                    <a16:creationId xmlns:a16="http://schemas.microsoft.com/office/drawing/2014/main" id="{9332A92F-2D60-447D-9B6B-F5AEB689F72E}"/>
                  </a:ext>
                </a:extLst>
              </p:cNvPr>
              <p:cNvSpPr/>
              <p:nvPr/>
            </p:nvSpPr>
            <p:spPr>
              <a:xfrm>
                <a:off x="967764" y="3226389"/>
                <a:ext cx="3120329" cy="384133"/>
              </a:xfrm>
              <a:prstGeom prst="rect">
                <a:avLst/>
              </a:prstGeom>
              <a:noFill/>
              <a:ln w="6350" cap="flat" cmpd="sng" algn="ctr">
                <a:noFill/>
                <a:prstDash val="solid"/>
                <a:miter lim="800000"/>
              </a:ln>
              <a:effectLst/>
            </p:spPr>
            <p:txBody>
              <a:bodyPr wrap="none" lIns="0" tIns="0" rIns="0" bIns="0"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altLang="zh-CN" sz="900" b="1" kern="0" dirty="0">
                    <a:solidFill>
                      <a:srgbClr val="071D49"/>
                    </a:solidFill>
                    <a:latin typeface="Times New Roman" panose="02020603050405020304" pitchFamily="18" charset="0"/>
                    <a:ea typeface="微软雅黑" panose="020B0503020204020204" pitchFamily="34" charset="-122"/>
                    <a:cs typeface="Times New Roman" panose="02020603050405020304" pitchFamily="18" charset="0"/>
                  </a:rPr>
                  <a:t>HIV</a:t>
                </a:r>
                <a:r>
                  <a:rPr lang="zh-CN" altLang="en-US" sz="900" b="1" kern="0" dirty="0">
                    <a:solidFill>
                      <a:srgbClr val="071D49"/>
                    </a:solidFill>
                    <a:latin typeface="Times New Roman" panose="02020603050405020304" pitchFamily="18" charset="0"/>
                    <a:ea typeface="微软雅黑" panose="020B0503020204020204" pitchFamily="34" charset="-122"/>
                    <a:cs typeface="Times New Roman" panose="02020603050405020304" pitchFamily="18" charset="0"/>
                  </a:rPr>
                  <a:t>感染者基础疾病多</a:t>
                </a:r>
                <a:endParaRPr kumimoji="0" lang="en-US" sz="900" b="1" i="0" u="none" strike="noStrike" kern="0" cap="none" spc="0" normalizeH="0" baseline="30000" noProof="0" dirty="0">
                  <a:ln>
                    <a:noFill/>
                  </a:ln>
                  <a:solidFill>
                    <a:srgbClr val="071D49"/>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93" name="Rectangle 30">
                <a:extLst>
                  <a:ext uri="{FF2B5EF4-FFF2-40B4-BE49-F238E27FC236}">
                    <a16:creationId xmlns:a16="http://schemas.microsoft.com/office/drawing/2014/main" id="{3B2B2895-6E7A-445A-9BE5-FD16583A9EE6}"/>
                  </a:ext>
                </a:extLst>
              </p:cNvPr>
              <p:cNvSpPr/>
              <p:nvPr/>
            </p:nvSpPr>
            <p:spPr>
              <a:xfrm>
                <a:off x="8706020" y="3134732"/>
                <a:ext cx="2738572" cy="682905"/>
              </a:xfrm>
              <a:prstGeom prst="rect">
                <a:avLst/>
              </a:prstGeom>
              <a:noFill/>
              <a:ln w="6350" cap="flat" cmpd="sng" algn="ctr">
                <a:noFill/>
                <a:prstDash val="solid"/>
                <a:miter lim="800000"/>
              </a:ln>
              <a:effectLst/>
            </p:spPr>
            <p:txBody>
              <a:bodyPr wrap="square" lIns="0" tIns="0" rIns="0" bIns="0"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800" b="1" i="0" u="none" strike="noStrike" kern="0" cap="none" spc="0" normalizeH="0" baseline="0" noProof="0" dirty="0">
                    <a:ln>
                      <a:noFill/>
                    </a:ln>
                    <a:solidFill>
                      <a:srgbClr val="071D49"/>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常用联合药物与抗病毒药物存在高</a:t>
                </a:r>
                <a:r>
                  <a:rPr kumimoji="0" lang="en-US" altLang="zh-CN" sz="800" b="1" i="0" u="none" strike="noStrike" kern="0" cap="none" spc="0" normalizeH="0" baseline="0" noProof="0" dirty="0">
                    <a:ln>
                      <a:noFill/>
                    </a:ln>
                    <a:solidFill>
                      <a:srgbClr val="071D49"/>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DDI</a:t>
                </a:r>
                <a:r>
                  <a:rPr kumimoji="0" lang="zh-CN" altLang="en-US" sz="800" b="1" i="0" u="none" strike="noStrike" kern="0" cap="none" spc="0" normalizeH="0" baseline="0" noProof="0" dirty="0">
                    <a:ln>
                      <a:noFill/>
                    </a:ln>
                    <a:solidFill>
                      <a:srgbClr val="071D49"/>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风险</a:t>
                </a:r>
                <a:endParaRPr kumimoji="0" lang="en-US" sz="800" b="1" i="0" u="none" strike="noStrike" kern="0" cap="none" spc="0" normalizeH="0" baseline="30000" noProof="0" dirty="0">
                  <a:ln>
                    <a:noFill/>
                  </a:ln>
                  <a:solidFill>
                    <a:srgbClr val="071D49"/>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95" name="Rectangle 31">
                <a:extLst>
                  <a:ext uri="{FF2B5EF4-FFF2-40B4-BE49-F238E27FC236}">
                    <a16:creationId xmlns:a16="http://schemas.microsoft.com/office/drawing/2014/main" id="{23626FBD-35D4-4E61-950C-49D6614EE828}"/>
                  </a:ext>
                </a:extLst>
              </p:cNvPr>
              <p:cNvSpPr/>
              <p:nvPr/>
            </p:nvSpPr>
            <p:spPr>
              <a:xfrm>
                <a:off x="5089422" y="4110348"/>
                <a:ext cx="3751408" cy="384133"/>
              </a:xfrm>
              <a:prstGeom prst="rect">
                <a:avLst/>
              </a:prstGeom>
              <a:noFill/>
              <a:ln w="6350" cap="flat" cmpd="sng" algn="ctr">
                <a:noFill/>
                <a:prstDash val="solid"/>
                <a:miter lim="800000"/>
              </a:ln>
              <a:effectLst/>
            </p:spPr>
            <p:txBody>
              <a:bodyPr wrap="square" lIns="0" tIns="0" rIns="0" bIns="0" rtlCol="0" anchor="t" anchorCtr="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900" b="1" i="0" u="none" strike="noStrike" kern="0" cap="none" spc="0" normalizeH="0" baseline="0" noProof="0" dirty="0">
                    <a:ln>
                      <a:noFill/>
                    </a:ln>
                    <a:solidFill>
                      <a:srgbClr val="071D49"/>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多重用药比例高</a:t>
                </a:r>
                <a:endParaRPr kumimoji="0" lang="en-US" sz="900" b="1" i="0" u="none" strike="noStrike" kern="0" cap="none" spc="0" normalizeH="0" baseline="30000" noProof="0" dirty="0">
                  <a:ln>
                    <a:noFill/>
                  </a:ln>
                  <a:solidFill>
                    <a:srgbClr val="071D49"/>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96" name="Rectangle 33">
                <a:extLst>
                  <a:ext uri="{FF2B5EF4-FFF2-40B4-BE49-F238E27FC236}">
                    <a16:creationId xmlns:a16="http://schemas.microsoft.com/office/drawing/2014/main" id="{6D8165BC-C6DF-428A-845D-2D3E1CC2FFAC}"/>
                  </a:ext>
                </a:extLst>
              </p:cNvPr>
              <p:cNvSpPr/>
              <p:nvPr/>
            </p:nvSpPr>
            <p:spPr>
              <a:xfrm>
                <a:off x="4473824" y="3386672"/>
                <a:ext cx="3567641" cy="554862"/>
              </a:xfrm>
              <a:prstGeom prst="rect">
                <a:avLst/>
              </a:prstGeom>
            </p:spPr>
            <p:txBody>
              <a:bodyPr wrap="square" anchor="b">
                <a:spAutoFit/>
              </a:bodyPr>
              <a:lstStyle/>
              <a:p>
                <a:pPr marR="0" lvl="0" algn="l" defTabSz="914400" rtl="0" eaLnBrk="1" fontAlgn="auto" latinLnBrk="0" hangingPunct="1">
                  <a:lnSpc>
                    <a:spcPct val="100000"/>
                  </a:lnSpc>
                  <a:spcBef>
                    <a:spcPts val="300"/>
                  </a:spcBef>
                  <a:spcAft>
                    <a:spcPts val="0"/>
                  </a:spcAft>
                  <a:buClr>
                    <a:srgbClr val="C10562"/>
                  </a:buClr>
                  <a:buSzTx/>
                  <a:tabLst/>
                  <a:defRPr/>
                </a:pPr>
                <a:endParaRPr kumimoji="1" lang="zh-CN" altLang="en-US" sz="70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97" name="Rectangle 34">
                <a:extLst>
                  <a:ext uri="{FF2B5EF4-FFF2-40B4-BE49-F238E27FC236}">
                    <a16:creationId xmlns:a16="http://schemas.microsoft.com/office/drawing/2014/main" id="{CD56A676-54B7-476F-96C4-ABB73E46989F}"/>
                  </a:ext>
                </a:extLst>
              </p:cNvPr>
              <p:cNvSpPr/>
              <p:nvPr/>
            </p:nvSpPr>
            <p:spPr>
              <a:xfrm>
                <a:off x="8249103" y="5167920"/>
                <a:ext cx="3552198" cy="554862"/>
              </a:xfrm>
              <a:prstGeom prst="rect">
                <a:avLst/>
              </a:prstGeom>
            </p:spPr>
            <p:txBody>
              <a:bodyPr wrap="square" anchor="b">
                <a:spAutoFit/>
              </a:bodyPr>
              <a:lstStyle/>
              <a:p>
                <a:pPr marL="180000" marR="0" lvl="1" indent="-180000" defTabSz="914400" eaLnBrk="1" fontAlgn="auto" latinLnBrk="0" hangingPunct="1">
                  <a:lnSpc>
                    <a:spcPct val="100000"/>
                  </a:lnSpc>
                  <a:spcBef>
                    <a:spcPts val="0"/>
                  </a:spcBef>
                  <a:spcAft>
                    <a:spcPts val="400"/>
                  </a:spcAft>
                  <a:buClr>
                    <a:srgbClr val="EB1852"/>
                  </a:buClr>
                  <a:buSzPct val="100000"/>
                  <a:buFont typeface="Raleway" panose="020B0503030101060003" pitchFamily="34" charset="77"/>
                  <a:buChar char="/"/>
                  <a:tabLst/>
                  <a:defRPr/>
                </a:pPr>
                <a:endParaRPr kumimoji="0" lang="en-US" sz="1050" b="0" i="0" u="none" strike="noStrike" kern="0" cap="none" spc="0" normalizeH="0" baseline="30000" noProof="0" dirty="0">
                  <a:ln>
                    <a:noFill/>
                  </a:ln>
                  <a:solidFill>
                    <a:srgbClr val="0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98" name="Freeform 5">
                <a:extLst>
                  <a:ext uri="{FF2B5EF4-FFF2-40B4-BE49-F238E27FC236}">
                    <a16:creationId xmlns:a16="http://schemas.microsoft.com/office/drawing/2014/main" id="{8650F4A3-DC37-4D66-BFE0-CAA63D21074F}"/>
                  </a:ext>
                </a:extLst>
              </p:cNvPr>
              <p:cNvSpPr>
                <a:spLocks noEditPoints="1"/>
              </p:cNvSpPr>
              <p:nvPr/>
            </p:nvSpPr>
            <p:spPr bwMode="auto">
              <a:xfrm>
                <a:off x="2145298" y="2602520"/>
                <a:ext cx="530225" cy="468312"/>
              </a:xfrm>
              <a:custGeom>
                <a:avLst/>
                <a:gdLst>
                  <a:gd name="T0" fmla="*/ 837 w 849"/>
                  <a:gd name="T1" fmla="*/ 649 h 751"/>
                  <a:gd name="T2" fmla="*/ 660 w 849"/>
                  <a:gd name="T3" fmla="*/ 341 h 751"/>
                  <a:gd name="T4" fmla="*/ 483 w 849"/>
                  <a:gd name="T5" fmla="*/ 34 h 751"/>
                  <a:gd name="T6" fmla="*/ 424 w 849"/>
                  <a:gd name="T7" fmla="*/ 0 h 751"/>
                  <a:gd name="T8" fmla="*/ 365 w 849"/>
                  <a:gd name="T9" fmla="*/ 34 h 751"/>
                  <a:gd name="T10" fmla="*/ 12 w 849"/>
                  <a:gd name="T11" fmla="*/ 648 h 751"/>
                  <a:gd name="T12" fmla="*/ 12 w 849"/>
                  <a:gd name="T13" fmla="*/ 716 h 751"/>
                  <a:gd name="T14" fmla="*/ 71 w 849"/>
                  <a:gd name="T15" fmla="*/ 751 h 751"/>
                  <a:gd name="T16" fmla="*/ 778 w 849"/>
                  <a:gd name="T17" fmla="*/ 751 h 751"/>
                  <a:gd name="T18" fmla="*/ 837 w 849"/>
                  <a:gd name="T19" fmla="*/ 717 h 751"/>
                  <a:gd name="T20" fmla="*/ 837 w 849"/>
                  <a:gd name="T21" fmla="*/ 649 h 751"/>
                  <a:gd name="T22" fmla="*/ 389 w 849"/>
                  <a:gd name="T23" fmla="*/ 232 h 751"/>
                  <a:gd name="T24" fmla="*/ 423 w 849"/>
                  <a:gd name="T25" fmla="*/ 198 h 751"/>
                  <a:gd name="T26" fmla="*/ 457 w 849"/>
                  <a:gd name="T27" fmla="*/ 232 h 751"/>
                  <a:gd name="T28" fmla="*/ 457 w 849"/>
                  <a:gd name="T29" fmla="*/ 465 h 751"/>
                  <a:gd name="T30" fmla="*/ 423 w 849"/>
                  <a:gd name="T31" fmla="*/ 499 h 751"/>
                  <a:gd name="T32" fmla="*/ 389 w 849"/>
                  <a:gd name="T33" fmla="*/ 465 h 751"/>
                  <a:gd name="T34" fmla="*/ 389 w 849"/>
                  <a:gd name="T35" fmla="*/ 232 h 751"/>
                  <a:gd name="T36" fmla="*/ 424 w 849"/>
                  <a:gd name="T37" fmla="*/ 639 h 751"/>
                  <a:gd name="T38" fmla="*/ 380 w 849"/>
                  <a:gd name="T39" fmla="*/ 595 h 751"/>
                  <a:gd name="T40" fmla="*/ 424 w 849"/>
                  <a:gd name="T41" fmla="*/ 551 h 751"/>
                  <a:gd name="T42" fmla="*/ 469 w 849"/>
                  <a:gd name="T43" fmla="*/ 595 h 751"/>
                  <a:gd name="T44" fmla="*/ 424 w 849"/>
                  <a:gd name="T45" fmla="*/ 639 h 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9" h="751">
                    <a:moveTo>
                      <a:pt x="837" y="649"/>
                    </a:moveTo>
                    <a:lnTo>
                      <a:pt x="660" y="341"/>
                    </a:lnTo>
                    <a:lnTo>
                      <a:pt x="483" y="34"/>
                    </a:lnTo>
                    <a:cubicBezTo>
                      <a:pt x="471" y="13"/>
                      <a:pt x="448" y="0"/>
                      <a:pt x="424" y="0"/>
                    </a:cubicBezTo>
                    <a:cubicBezTo>
                      <a:pt x="400" y="0"/>
                      <a:pt x="378" y="13"/>
                      <a:pt x="365" y="34"/>
                    </a:cubicBezTo>
                    <a:lnTo>
                      <a:pt x="12" y="648"/>
                    </a:lnTo>
                    <a:cubicBezTo>
                      <a:pt x="0" y="669"/>
                      <a:pt x="0" y="695"/>
                      <a:pt x="12" y="716"/>
                    </a:cubicBezTo>
                    <a:cubicBezTo>
                      <a:pt x="24" y="738"/>
                      <a:pt x="46" y="751"/>
                      <a:pt x="71" y="751"/>
                    </a:cubicBezTo>
                    <a:lnTo>
                      <a:pt x="778" y="751"/>
                    </a:lnTo>
                    <a:cubicBezTo>
                      <a:pt x="802" y="751"/>
                      <a:pt x="825" y="738"/>
                      <a:pt x="837" y="717"/>
                    </a:cubicBezTo>
                    <a:cubicBezTo>
                      <a:pt x="849" y="696"/>
                      <a:pt x="849" y="670"/>
                      <a:pt x="837" y="649"/>
                    </a:cubicBezTo>
                    <a:close/>
                    <a:moveTo>
                      <a:pt x="389" y="232"/>
                    </a:moveTo>
                    <a:cubicBezTo>
                      <a:pt x="389" y="213"/>
                      <a:pt x="404" y="198"/>
                      <a:pt x="423" y="198"/>
                    </a:cubicBezTo>
                    <a:cubicBezTo>
                      <a:pt x="442" y="198"/>
                      <a:pt x="457" y="213"/>
                      <a:pt x="457" y="232"/>
                    </a:cubicBezTo>
                    <a:lnTo>
                      <a:pt x="457" y="465"/>
                    </a:lnTo>
                    <a:cubicBezTo>
                      <a:pt x="457" y="484"/>
                      <a:pt x="442" y="499"/>
                      <a:pt x="423" y="499"/>
                    </a:cubicBezTo>
                    <a:cubicBezTo>
                      <a:pt x="404" y="499"/>
                      <a:pt x="389" y="484"/>
                      <a:pt x="389" y="465"/>
                    </a:cubicBezTo>
                    <a:lnTo>
                      <a:pt x="389" y="232"/>
                    </a:lnTo>
                    <a:close/>
                    <a:moveTo>
                      <a:pt x="424" y="639"/>
                    </a:moveTo>
                    <a:cubicBezTo>
                      <a:pt x="400" y="639"/>
                      <a:pt x="380" y="619"/>
                      <a:pt x="380" y="595"/>
                    </a:cubicBezTo>
                    <a:cubicBezTo>
                      <a:pt x="380" y="570"/>
                      <a:pt x="400" y="551"/>
                      <a:pt x="424" y="551"/>
                    </a:cubicBezTo>
                    <a:cubicBezTo>
                      <a:pt x="449" y="551"/>
                      <a:pt x="469" y="570"/>
                      <a:pt x="469" y="595"/>
                    </a:cubicBezTo>
                    <a:cubicBezTo>
                      <a:pt x="469" y="619"/>
                      <a:pt x="449" y="639"/>
                      <a:pt x="424" y="639"/>
                    </a:cubicBezTo>
                    <a:close/>
                  </a:path>
                </a:pathLst>
              </a:custGeom>
              <a:solidFill>
                <a:srgbClr val="071D4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grpSp>
            <p:nvGrpSpPr>
              <p:cNvPr id="99" name="Group 36">
                <a:extLst>
                  <a:ext uri="{FF2B5EF4-FFF2-40B4-BE49-F238E27FC236}">
                    <a16:creationId xmlns:a16="http://schemas.microsoft.com/office/drawing/2014/main" id="{20F0B4FE-C94B-46F9-951D-7BE068906CB8}"/>
                  </a:ext>
                </a:extLst>
              </p:cNvPr>
              <p:cNvGrpSpPr/>
              <p:nvPr/>
            </p:nvGrpSpPr>
            <p:grpSpPr>
              <a:xfrm>
                <a:off x="5915524" y="4681682"/>
                <a:ext cx="599684" cy="680737"/>
                <a:chOff x="11333176" y="4023360"/>
                <a:chExt cx="494785" cy="561660"/>
              </a:xfrm>
            </p:grpSpPr>
            <p:sp>
              <p:nvSpPr>
                <p:cNvPr id="101" name="Freeform 5">
                  <a:extLst>
                    <a:ext uri="{FF2B5EF4-FFF2-40B4-BE49-F238E27FC236}">
                      <a16:creationId xmlns:a16="http://schemas.microsoft.com/office/drawing/2014/main" id="{AF6050EC-AB78-482B-8D64-8C4E1C566CD7}"/>
                    </a:ext>
                  </a:extLst>
                </p:cNvPr>
                <p:cNvSpPr>
                  <a:spLocks/>
                </p:cNvSpPr>
                <p:nvPr/>
              </p:nvSpPr>
              <p:spPr bwMode="auto">
                <a:xfrm>
                  <a:off x="11517773" y="4198879"/>
                  <a:ext cx="52050" cy="170677"/>
                </a:xfrm>
                <a:custGeom>
                  <a:avLst/>
                  <a:gdLst>
                    <a:gd name="T0" fmla="*/ 3 w 80"/>
                    <a:gd name="T1" fmla="*/ 18 h 261"/>
                    <a:gd name="T2" fmla="*/ 22 w 80"/>
                    <a:gd name="T3" fmla="*/ 165 h 261"/>
                    <a:gd name="T4" fmla="*/ 20 w 80"/>
                    <a:gd name="T5" fmla="*/ 231 h 261"/>
                    <a:gd name="T6" fmla="*/ 47 w 80"/>
                    <a:gd name="T7" fmla="*/ 261 h 261"/>
                    <a:gd name="T8" fmla="*/ 49 w 80"/>
                    <a:gd name="T9" fmla="*/ 261 h 261"/>
                    <a:gd name="T10" fmla="*/ 78 w 80"/>
                    <a:gd name="T11" fmla="*/ 234 h 261"/>
                    <a:gd name="T12" fmla="*/ 80 w 80"/>
                    <a:gd name="T13" fmla="*/ 165 h 261"/>
                    <a:gd name="T14" fmla="*/ 58 w 80"/>
                    <a:gd name="T15" fmla="*/ 0 h 261"/>
                    <a:gd name="T16" fmla="*/ 0 w 80"/>
                    <a:gd name="T17" fmla="*/ 9 h 261"/>
                    <a:gd name="T18" fmla="*/ 3 w 80"/>
                    <a:gd name="T19" fmla="*/ 18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261">
                      <a:moveTo>
                        <a:pt x="3" y="18"/>
                      </a:moveTo>
                      <a:cubicBezTo>
                        <a:pt x="13" y="46"/>
                        <a:pt x="22" y="93"/>
                        <a:pt x="22" y="165"/>
                      </a:cubicBezTo>
                      <a:cubicBezTo>
                        <a:pt x="22" y="185"/>
                        <a:pt x="21" y="207"/>
                        <a:pt x="20" y="231"/>
                      </a:cubicBezTo>
                      <a:cubicBezTo>
                        <a:pt x="19" y="247"/>
                        <a:pt x="31" y="261"/>
                        <a:pt x="47" y="261"/>
                      </a:cubicBezTo>
                      <a:cubicBezTo>
                        <a:pt x="48" y="261"/>
                        <a:pt x="48" y="261"/>
                        <a:pt x="49" y="261"/>
                      </a:cubicBezTo>
                      <a:cubicBezTo>
                        <a:pt x="64" y="261"/>
                        <a:pt x="77" y="250"/>
                        <a:pt x="78" y="234"/>
                      </a:cubicBezTo>
                      <a:cubicBezTo>
                        <a:pt x="79" y="209"/>
                        <a:pt x="80" y="186"/>
                        <a:pt x="80" y="165"/>
                      </a:cubicBezTo>
                      <a:cubicBezTo>
                        <a:pt x="80" y="89"/>
                        <a:pt x="71" y="37"/>
                        <a:pt x="58" y="0"/>
                      </a:cubicBezTo>
                      <a:lnTo>
                        <a:pt x="0" y="9"/>
                      </a:lnTo>
                      <a:cubicBezTo>
                        <a:pt x="1" y="12"/>
                        <a:pt x="2" y="15"/>
                        <a:pt x="3" y="18"/>
                      </a:cubicBezTo>
                      <a:close/>
                    </a:path>
                  </a:pathLst>
                </a:custGeom>
                <a:solidFill>
                  <a:srgbClr val="071D4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02" name="Freeform 6">
                  <a:extLst>
                    <a:ext uri="{FF2B5EF4-FFF2-40B4-BE49-F238E27FC236}">
                      <a16:creationId xmlns:a16="http://schemas.microsoft.com/office/drawing/2014/main" id="{2BF06CC8-EF02-41FF-AF36-6806B97D4F6D}"/>
                    </a:ext>
                  </a:extLst>
                </p:cNvPr>
                <p:cNvSpPr>
                  <a:spLocks noEditPoints="1"/>
                </p:cNvSpPr>
                <p:nvPr/>
              </p:nvSpPr>
              <p:spPr bwMode="auto">
                <a:xfrm>
                  <a:off x="11333176" y="4023360"/>
                  <a:ext cx="490848" cy="561660"/>
                </a:xfrm>
                <a:custGeom>
                  <a:avLst/>
                  <a:gdLst>
                    <a:gd name="T0" fmla="*/ 464 w 751"/>
                    <a:gd name="T1" fmla="*/ 184 h 858"/>
                    <a:gd name="T2" fmla="*/ 207 w 751"/>
                    <a:gd name="T3" fmla="*/ 282 h 858"/>
                    <a:gd name="T4" fmla="*/ 475 w 751"/>
                    <a:gd name="T5" fmla="*/ 239 h 858"/>
                    <a:gd name="T6" fmla="*/ 478 w 751"/>
                    <a:gd name="T7" fmla="*/ 246 h 858"/>
                    <a:gd name="T8" fmla="*/ 607 w 751"/>
                    <a:gd name="T9" fmla="*/ 326 h 858"/>
                    <a:gd name="T10" fmla="*/ 751 w 751"/>
                    <a:gd name="T11" fmla="*/ 183 h 858"/>
                    <a:gd name="T12" fmla="*/ 607 w 751"/>
                    <a:gd name="T13" fmla="*/ 39 h 858"/>
                    <a:gd name="T14" fmla="*/ 464 w 751"/>
                    <a:gd name="T15" fmla="*/ 177 h 858"/>
                    <a:gd name="T16" fmla="*/ 463 w 751"/>
                    <a:gd name="T17" fmla="*/ 183 h 858"/>
                    <a:gd name="T18" fmla="*/ 464 w 751"/>
                    <a:gd name="T19" fmla="*/ 184 h 858"/>
                    <a:gd name="T20" fmla="*/ 604 w 751"/>
                    <a:gd name="T21" fmla="*/ 75 h 858"/>
                    <a:gd name="T22" fmla="*/ 718 w 751"/>
                    <a:gd name="T23" fmla="*/ 188 h 858"/>
                    <a:gd name="T24" fmla="*/ 604 w 751"/>
                    <a:gd name="T25" fmla="*/ 302 h 858"/>
                    <a:gd name="T26" fmla="*/ 490 w 751"/>
                    <a:gd name="T27" fmla="*/ 188 h 858"/>
                    <a:gd name="T28" fmla="*/ 604 w 751"/>
                    <a:gd name="T29" fmla="*/ 75 h 858"/>
                    <a:gd name="T30" fmla="*/ 262 w 751"/>
                    <a:gd name="T31" fmla="*/ 81 h 858"/>
                    <a:gd name="T32" fmla="*/ 181 w 751"/>
                    <a:gd name="T33" fmla="*/ 163 h 858"/>
                    <a:gd name="T34" fmla="*/ 99 w 751"/>
                    <a:gd name="T35" fmla="*/ 81 h 858"/>
                    <a:gd name="T36" fmla="*/ 181 w 751"/>
                    <a:gd name="T37" fmla="*/ 0 h 858"/>
                    <a:gd name="T38" fmla="*/ 262 w 751"/>
                    <a:gd name="T39" fmla="*/ 81 h 858"/>
                    <a:gd name="T40" fmla="*/ 31 w 751"/>
                    <a:gd name="T41" fmla="*/ 529 h 858"/>
                    <a:gd name="T42" fmla="*/ 33 w 751"/>
                    <a:gd name="T43" fmla="*/ 529 h 858"/>
                    <a:gd name="T44" fmla="*/ 60 w 751"/>
                    <a:gd name="T45" fmla="*/ 499 h 858"/>
                    <a:gd name="T46" fmla="*/ 58 w 751"/>
                    <a:gd name="T47" fmla="*/ 433 h 858"/>
                    <a:gd name="T48" fmla="*/ 83 w 751"/>
                    <a:gd name="T49" fmla="*/ 271 h 858"/>
                    <a:gd name="T50" fmla="*/ 83 w 751"/>
                    <a:gd name="T51" fmla="*/ 813 h 858"/>
                    <a:gd name="T52" fmla="*/ 128 w 751"/>
                    <a:gd name="T53" fmla="*/ 858 h 858"/>
                    <a:gd name="T54" fmla="*/ 172 w 751"/>
                    <a:gd name="T55" fmla="*/ 813 h 858"/>
                    <a:gd name="T56" fmla="*/ 172 w 751"/>
                    <a:gd name="T57" fmla="*/ 487 h 858"/>
                    <a:gd name="T58" fmla="*/ 189 w 751"/>
                    <a:gd name="T59" fmla="*/ 487 h 858"/>
                    <a:gd name="T60" fmla="*/ 189 w 751"/>
                    <a:gd name="T61" fmla="*/ 813 h 858"/>
                    <a:gd name="T62" fmla="*/ 234 w 751"/>
                    <a:gd name="T63" fmla="*/ 858 h 858"/>
                    <a:gd name="T64" fmla="*/ 279 w 751"/>
                    <a:gd name="T65" fmla="*/ 813 h 858"/>
                    <a:gd name="T66" fmla="*/ 279 w 751"/>
                    <a:gd name="T67" fmla="*/ 278 h 858"/>
                    <a:gd name="T68" fmla="*/ 247 w 751"/>
                    <a:gd name="T69" fmla="*/ 283 h 858"/>
                    <a:gd name="T70" fmla="*/ 229 w 751"/>
                    <a:gd name="T71" fmla="*/ 325 h 858"/>
                    <a:gd name="T72" fmla="*/ 166 w 751"/>
                    <a:gd name="T73" fmla="*/ 259 h 858"/>
                    <a:gd name="T74" fmla="*/ 194 w 751"/>
                    <a:gd name="T75" fmla="*/ 260 h 858"/>
                    <a:gd name="T76" fmla="*/ 208 w 751"/>
                    <a:gd name="T77" fmla="*/ 236 h 858"/>
                    <a:gd name="T78" fmla="*/ 250 w 751"/>
                    <a:gd name="T79" fmla="*/ 258 h 858"/>
                    <a:gd name="T80" fmla="*/ 322 w 751"/>
                    <a:gd name="T81" fmla="*/ 230 h 858"/>
                    <a:gd name="T82" fmla="*/ 320 w 751"/>
                    <a:gd name="T83" fmla="*/ 227 h 858"/>
                    <a:gd name="T84" fmla="*/ 282 w 751"/>
                    <a:gd name="T85" fmla="*/ 191 h 858"/>
                    <a:gd name="T86" fmla="*/ 252 w 751"/>
                    <a:gd name="T87" fmla="*/ 183 h 858"/>
                    <a:gd name="T88" fmla="*/ 251 w 751"/>
                    <a:gd name="T89" fmla="*/ 183 h 858"/>
                    <a:gd name="T90" fmla="*/ 111 w 751"/>
                    <a:gd name="T91" fmla="*/ 183 h 858"/>
                    <a:gd name="T92" fmla="*/ 110 w 751"/>
                    <a:gd name="T93" fmla="*/ 183 h 858"/>
                    <a:gd name="T94" fmla="*/ 80 w 751"/>
                    <a:gd name="T95" fmla="*/ 191 h 858"/>
                    <a:gd name="T96" fmla="*/ 25 w 751"/>
                    <a:gd name="T97" fmla="*/ 259 h 858"/>
                    <a:gd name="T98" fmla="*/ 0 w 751"/>
                    <a:gd name="T99" fmla="*/ 433 h 858"/>
                    <a:gd name="T100" fmla="*/ 2 w 751"/>
                    <a:gd name="T101" fmla="*/ 502 h 858"/>
                    <a:gd name="T102" fmla="*/ 31 w 751"/>
                    <a:gd name="T103" fmla="*/ 529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51" h="858">
                      <a:moveTo>
                        <a:pt x="464" y="184"/>
                      </a:moveTo>
                      <a:lnTo>
                        <a:pt x="207" y="282"/>
                      </a:lnTo>
                      <a:lnTo>
                        <a:pt x="475" y="239"/>
                      </a:lnTo>
                      <a:cubicBezTo>
                        <a:pt x="476" y="242"/>
                        <a:pt x="477" y="244"/>
                        <a:pt x="478" y="246"/>
                      </a:cubicBezTo>
                      <a:cubicBezTo>
                        <a:pt x="502" y="294"/>
                        <a:pt x="551" y="326"/>
                        <a:pt x="607" y="326"/>
                      </a:cubicBezTo>
                      <a:cubicBezTo>
                        <a:pt x="687" y="326"/>
                        <a:pt x="751" y="262"/>
                        <a:pt x="751" y="183"/>
                      </a:cubicBezTo>
                      <a:cubicBezTo>
                        <a:pt x="751" y="103"/>
                        <a:pt x="687" y="39"/>
                        <a:pt x="607" y="39"/>
                      </a:cubicBezTo>
                      <a:cubicBezTo>
                        <a:pt x="530" y="39"/>
                        <a:pt x="467" y="100"/>
                        <a:pt x="464" y="177"/>
                      </a:cubicBezTo>
                      <a:cubicBezTo>
                        <a:pt x="464" y="179"/>
                        <a:pt x="463" y="181"/>
                        <a:pt x="463" y="183"/>
                      </a:cubicBezTo>
                      <a:cubicBezTo>
                        <a:pt x="463" y="183"/>
                        <a:pt x="464" y="184"/>
                        <a:pt x="464" y="184"/>
                      </a:cubicBezTo>
                      <a:close/>
                      <a:moveTo>
                        <a:pt x="604" y="75"/>
                      </a:moveTo>
                      <a:cubicBezTo>
                        <a:pt x="667" y="75"/>
                        <a:pt x="718" y="126"/>
                        <a:pt x="718" y="188"/>
                      </a:cubicBezTo>
                      <a:cubicBezTo>
                        <a:pt x="718" y="251"/>
                        <a:pt x="667" y="302"/>
                        <a:pt x="604" y="302"/>
                      </a:cubicBezTo>
                      <a:cubicBezTo>
                        <a:pt x="541" y="302"/>
                        <a:pt x="490" y="251"/>
                        <a:pt x="490" y="188"/>
                      </a:cubicBezTo>
                      <a:cubicBezTo>
                        <a:pt x="490" y="126"/>
                        <a:pt x="541" y="75"/>
                        <a:pt x="604" y="75"/>
                      </a:cubicBezTo>
                      <a:close/>
                      <a:moveTo>
                        <a:pt x="262" y="81"/>
                      </a:moveTo>
                      <a:cubicBezTo>
                        <a:pt x="262" y="126"/>
                        <a:pt x="226" y="163"/>
                        <a:pt x="181" y="163"/>
                      </a:cubicBezTo>
                      <a:cubicBezTo>
                        <a:pt x="136" y="163"/>
                        <a:pt x="99" y="126"/>
                        <a:pt x="99" y="81"/>
                      </a:cubicBezTo>
                      <a:cubicBezTo>
                        <a:pt x="99" y="36"/>
                        <a:pt x="136" y="0"/>
                        <a:pt x="181" y="0"/>
                      </a:cubicBezTo>
                      <a:cubicBezTo>
                        <a:pt x="226" y="0"/>
                        <a:pt x="262" y="36"/>
                        <a:pt x="262" y="81"/>
                      </a:cubicBezTo>
                      <a:close/>
                      <a:moveTo>
                        <a:pt x="31" y="529"/>
                      </a:moveTo>
                      <a:cubicBezTo>
                        <a:pt x="32" y="529"/>
                        <a:pt x="32" y="529"/>
                        <a:pt x="33" y="529"/>
                      </a:cubicBezTo>
                      <a:cubicBezTo>
                        <a:pt x="49" y="528"/>
                        <a:pt x="61" y="515"/>
                        <a:pt x="60" y="499"/>
                      </a:cubicBezTo>
                      <a:cubicBezTo>
                        <a:pt x="58" y="475"/>
                        <a:pt x="58" y="453"/>
                        <a:pt x="58" y="433"/>
                      </a:cubicBezTo>
                      <a:cubicBezTo>
                        <a:pt x="58" y="345"/>
                        <a:pt x="71" y="296"/>
                        <a:pt x="83" y="271"/>
                      </a:cubicBezTo>
                      <a:lnTo>
                        <a:pt x="83" y="813"/>
                      </a:lnTo>
                      <a:cubicBezTo>
                        <a:pt x="83" y="838"/>
                        <a:pt x="103" y="858"/>
                        <a:pt x="128" y="858"/>
                      </a:cubicBezTo>
                      <a:cubicBezTo>
                        <a:pt x="152" y="858"/>
                        <a:pt x="172" y="838"/>
                        <a:pt x="172" y="813"/>
                      </a:cubicBezTo>
                      <a:lnTo>
                        <a:pt x="172" y="487"/>
                      </a:lnTo>
                      <a:lnTo>
                        <a:pt x="189" y="487"/>
                      </a:lnTo>
                      <a:lnTo>
                        <a:pt x="189" y="813"/>
                      </a:lnTo>
                      <a:cubicBezTo>
                        <a:pt x="189" y="838"/>
                        <a:pt x="209" y="858"/>
                        <a:pt x="234" y="858"/>
                      </a:cubicBezTo>
                      <a:cubicBezTo>
                        <a:pt x="259" y="858"/>
                        <a:pt x="279" y="838"/>
                        <a:pt x="279" y="813"/>
                      </a:cubicBezTo>
                      <a:lnTo>
                        <a:pt x="279" y="278"/>
                      </a:lnTo>
                      <a:lnTo>
                        <a:pt x="247" y="283"/>
                      </a:lnTo>
                      <a:cubicBezTo>
                        <a:pt x="244" y="294"/>
                        <a:pt x="239" y="308"/>
                        <a:pt x="229" y="325"/>
                      </a:cubicBezTo>
                      <a:cubicBezTo>
                        <a:pt x="123" y="317"/>
                        <a:pt x="150" y="267"/>
                        <a:pt x="166" y="259"/>
                      </a:cubicBezTo>
                      <a:cubicBezTo>
                        <a:pt x="182" y="250"/>
                        <a:pt x="194" y="260"/>
                        <a:pt x="194" y="260"/>
                      </a:cubicBezTo>
                      <a:cubicBezTo>
                        <a:pt x="194" y="260"/>
                        <a:pt x="192" y="245"/>
                        <a:pt x="208" y="236"/>
                      </a:cubicBezTo>
                      <a:cubicBezTo>
                        <a:pt x="218" y="230"/>
                        <a:pt x="246" y="230"/>
                        <a:pt x="250" y="258"/>
                      </a:cubicBezTo>
                      <a:lnTo>
                        <a:pt x="322" y="230"/>
                      </a:lnTo>
                      <a:cubicBezTo>
                        <a:pt x="322" y="229"/>
                        <a:pt x="321" y="228"/>
                        <a:pt x="320" y="227"/>
                      </a:cubicBezTo>
                      <a:cubicBezTo>
                        <a:pt x="308" y="209"/>
                        <a:pt x="295" y="198"/>
                        <a:pt x="282" y="191"/>
                      </a:cubicBezTo>
                      <a:cubicBezTo>
                        <a:pt x="269" y="185"/>
                        <a:pt x="258" y="183"/>
                        <a:pt x="252" y="183"/>
                      </a:cubicBezTo>
                      <a:cubicBezTo>
                        <a:pt x="251" y="183"/>
                        <a:pt x="251" y="183"/>
                        <a:pt x="251" y="183"/>
                      </a:cubicBezTo>
                      <a:lnTo>
                        <a:pt x="111" y="183"/>
                      </a:lnTo>
                      <a:cubicBezTo>
                        <a:pt x="111" y="183"/>
                        <a:pt x="110" y="183"/>
                        <a:pt x="110" y="183"/>
                      </a:cubicBezTo>
                      <a:cubicBezTo>
                        <a:pt x="103" y="183"/>
                        <a:pt x="92" y="185"/>
                        <a:pt x="80" y="191"/>
                      </a:cubicBezTo>
                      <a:cubicBezTo>
                        <a:pt x="61" y="201"/>
                        <a:pt x="40" y="222"/>
                        <a:pt x="25" y="259"/>
                      </a:cubicBezTo>
                      <a:cubicBezTo>
                        <a:pt x="10" y="297"/>
                        <a:pt x="0" y="351"/>
                        <a:pt x="0" y="433"/>
                      </a:cubicBezTo>
                      <a:cubicBezTo>
                        <a:pt x="0" y="454"/>
                        <a:pt x="1" y="477"/>
                        <a:pt x="2" y="502"/>
                      </a:cubicBezTo>
                      <a:cubicBezTo>
                        <a:pt x="3" y="518"/>
                        <a:pt x="16" y="529"/>
                        <a:pt x="31" y="529"/>
                      </a:cubicBezTo>
                      <a:close/>
                    </a:path>
                  </a:pathLst>
                </a:custGeom>
                <a:solidFill>
                  <a:srgbClr val="071D4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03" name="Freeform 7">
                  <a:extLst>
                    <a:ext uri="{FF2B5EF4-FFF2-40B4-BE49-F238E27FC236}">
                      <a16:creationId xmlns:a16="http://schemas.microsoft.com/office/drawing/2014/main" id="{A9E47C11-853D-46CC-BA79-3025E9112C79}"/>
                    </a:ext>
                  </a:extLst>
                </p:cNvPr>
                <p:cNvSpPr>
                  <a:spLocks noEditPoints="1"/>
                </p:cNvSpPr>
                <p:nvPr/>
              </p:nvSpPr>
              <p:spPr bwMode="auto">
                <a:xfrm>
                  <a:off x="11673319" y="4117777"/>
                  <a:ext cx="124678" cy="101075"/>
                </a:xfrm>
                <a:custGeom>
                  <a:avLst/>
                  <a:gdLst>
                    <a:gd name="T0" fmla="*/ 185 w 191"/>
                    <a:gd name="T1" fmla="*/ 10 h 155"/>
                    <a:gd name="T2" fmla="*/ 175 w 191"/>
                    <a:gd name="T3" fmla="*/ 20 h 155"/>
                    <a:gd name="T4" fmla="*/ 165 w 191"/>
                    <a:gd name="T5" fmla="*/ 10 h 155"/>
                    <a:gd name="T6" fmla="*/ 175 w 191"/>
                    <a:gd name="T7" fmla="*/ 0 h 155"/>
                    <a:gd name="T8" fmla="*/ 185 w 191"/>
                    <a:gd name="T9" fmla="*/ 10 h 155"/>
                    <a:gd name="T10" fmla="*/ 19 w 191"/>
                    <a:gd name="T11" fmla="*/ 105 h 155"/>
                    <a:gd name="T12" fmla="*/ 10 w 191"/>
                    <a:gd name="T13" fmla="*/ 115 h 155"/>
                    <a:gd name="T14" fmla="*/ 0 w 191"/>
                    <a:gd name="T15" fmla="*/ 105 h 155"/>
                    <a:gd name="T16" fmla="*/ 10 w 191"/>
                    <a:gd name="T17" fmla="*/ 96 h 155"/>
                    <a:gd name="T18" fmla="*/ 19 w 191"/>
                    <a:gd name="T19" fmla="*/ 105 h 155"/>
                    <a:gd name="T20" fmla="*/ 71 w 191"/>
                    <a:gd name="T21" fmla="*/ 88 h 155"/>
                    <a:gd name="T22" fmla="*/ 61 w 191"/>
                    <a:gd name="T23" fmla="*/ 98 h 155"/>
                    <a:gd name="T24" fmla="*/ 51 w 191"/>
                    <a:gd name="T25" fmla="*/ 88 h 155"/>
                    <a:gd name="T26" fmla="*/ 61 w 191"/>
                    <a:gd name="T27" fmla="*/ 78 h 155"/>
                    <a:gd name="T28" fmla="*/ 71 w 191"/>
                    <a:gd name="T29" fmla="*/ 88 h 155"/>
                    <a:gd name="T30" fmla="*/ 97 w 191"/>
                    <a:gd name="T31" fmla="*/ 96 h 155"/>
                    <a:gd name="T32" fmla="*/ 87 w 191"/>
                    <a:gd name="T33" fmla="*/ 105 h 155"/>
                    <a:gd name="T34" fmla="*/ 77 w 191"/>
                    <a:gd name="T35" fmla="*/ 96 h 155"/>
                    <a:gd name="T36" fmla="*/ 87 w 191"/>
                    <a:gd name="T37" fmla="*/ 86 h 155"/>
                    <a:gd name="T38" fmla="*/ 97 w 191"/>
                    <a:gd name="T39" fmla="*/ 96 h 155"/>
                    <a:gd name="T40" fmla="*/ 151 w 191"/>
                    <a:gd name="T41" fmla="*/ 58 h 155"/>
                    <a:gd name="T42" fmla="*/ 142 w 191"/>
                    <a:gd name="T43" fmla="*/ 68 h 155"/>
                    <a:gd name="T44" fmla="*/ 132 w 191"/>
                    <a:gd name="T45" fmla="*/ 58 h 155"/>
                    <a:gd name="T46" fmla="*/ 142 w 191"/>
                    <a:gd name="T47" fmla="*/ 49 h 155"/>
                    <a:gd name="T48" fmla="*/ 151 w 191"/>
                    <a:gd name="T49" fmla="*/ 58 h 155"/>
                    <a:gd name="T50" fmla="*/ 178 w 191"/>
                    <a:gd name="T51" fmla="*/ 91 h 155"/>
                    <a:gd name="T52" fmla="*/ 160 w 191"/>
                    <a:gd name="T53" fmla="*/ 109 h 155"/>
                    <a:gd name="T54" fmla="*/ 142 w 191"/>
                    <a:gd name="T55" fmla="*/ 91 h 155"/>
                    <a:gd name="T56" fmla="*/ 160 w 191"/>
                    <a:gd name="T57" fmla="*/ 73 h 155"/>
                    <a:gd name="T58" fmla="*/ 178 w 191"/>
                    <a:gd name="T59" fmla="*/ 91 h 155"/>
                    <a:gd name="T60" fmla="*/ 191 w 191"/>
                    <a:gd name="T61" fmla="*/ 46 h 155"/>
                    <a:gd name="T62" fmla="*/ 173 w 191"/>
                    <a:gd name="T63" fmla="*/ 65 h 155"/>
                    <a:gd name="T64" fmla="*/ 154 w 191"/>
                    <a:gd name="T65" fmla="*/ 46 h 155"/>
                    <a:gd name="T66" fmla="*/ 173 w 191"/>
                    <a:gd name="T67" fmla="*/ 27 h 155"/>
                    <a:gd name="T68" fmla="*/ 191 w 191"/>
                    <a:gd name="T69" fmla="*/ 46 h 155"/>
                    <a:gd name="T70" fmla="*/ 135 w 191"/>
                    <a:gd name="T71" fmla="*/ 82 h 155"/>
                    <a:gd name="T72" fmla="*/ 118 w 191"/>
                    <a:gd name="T73" fmla="*/ 100 h 155"/>
                    <a:gd name="T74" fmla="*/ 100 w 191"/>
                    <a:gd name="T75" fmla="*/ 82 h 155"/>
                    <a:gd name="T76" fmla="*/ 118 w 191"/>
                    <a:gd name="T77" fmla="*/ 65 h 155"/>
                    <a:gd name="T78" fmla="*/ 135 w 191"/>
                    <a:gd name="T79" fmla="*/ 82 h 155"/>
                    <a:gd name="T80" fmla="*/ 152 w 191"/>
                    <a:gd name="T81" fmla="*/ 122 h 155"/>
                    <a:gd name="T82" fmla="*/ 134 w 191"/>
                    <a:gd name="T83" fmla="*/ 140 h 155"/>
                    <a:gd name="T84" fmla="*/ 116 w 191"/>
                    <a:gd name="T85" fmla="*/ 122 h 155"/>
                    <a:gd name="T86" fmla="*/ 134 w 191"/>
                    <a:gd name="T87" fmla="*/ 104 h 155"/>
                    <a:gd name="T88" fmla="*/ 152 w 191"/>
                    <a:gd name="T89" fmla="*/ 122 h 155"/>
                    <a:gd name="T90" fmla="*/ 64 w 191"/>
                    <a:gd name="T91" fmla="*/ 121 h 155"/>
                    <a:gd name="T92" fmla="*/ 43 w 191"/>
                    <a:gd name="T93" fmla="*/ 142 h 155"/>
                    <a:gd name="T94" fmla="*/ 22 w 191"/>
                    <a:gd name="T95" fmla="*/ 121 h 155"/>
                    <a:gd name="T96" fmla="*/ 43 w 191"/>
                    <a:gd name="T97" fmla="*/ 100 h 155"/>
                    <a:gd name="T98" fmla="*/ 64 w 191"/>
                    <a:gd name="T99" fmla="*/ 121 h 155"/>
                    <a:gd name="T100" fmla="*/ 110 w 191"/>
                    <a:gd name="T101" fmla="*/ 134 h 155"/>
                    <a:gd name="T102" fmla="*/ 89 w 191"/>
                    <a:gd name="T103" fmla="*/ 155 h 155"/>
                    <a:gd name="T104" fmla="*/ 69 w 191"/>
                    <a:gd name="T105" fmla="*/ 134 h 155"/>
                    <a:gd name="T106" fmla="*/ 89 w 191"/>
                    <a:gd name="T107" fmla="*/ 113 h 155"/>
                    <a:gd name="T108" fmla="*/ 110 w 191"/>
                    <a:gd name="T109" fmla="*/ 134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91" h="155">
                      <a:moveTo>
                        <a:pt x="185" y="10"/>
                      </a:moveTo>
                      <a:cubicBezTo>
                        <a:pt x="185" y="15"/>
                        <a:pt x="180" y="20"/>
                        <a:pt x="175" y="20"/>
                      </a:cubicBezTo>
                      <a:cubicBezTo>
                        <a:pt x="170" y="20"/>
                        <a:pt x="165" y="15"/>
                        <a:pt x="165" y="10"/>
                      </a:cubicBezTo>
                      <a:cubicBezTo>
                        <a:pt x="165" y="5"/>
                        <a:pt x="170" y="0"/>
                        <a:pt x="175" y="0"/>
                      </a:cubicBezTo>
                      <a:cubicBezTo>
                        <a:pt x="180" y="0"/>
                        <a:pt x="185" y="5"/>
                        <a:pt x="185" y="10"/>
                      </a:cubicBezTo>
                      <a:close/>
                      <a:moveTo>
                        <a:pt x="19" y="105"/>
                      </a:moveTo>
                      <a:cubicBezTo>
                        <a:pt x="19" y="111"/>
                        <a:pt x="15" y="115"/>
                        <a:pt x="10" y="115"/>
                      </a:cubicBezTo>
                      <a:cubicBezTo>
                        <a:pt x="4" y="115"/>
                        <a:pt x="0" y="111"/>
                        <a:pt x="0" y="105"/>
                      </a:cubicBezTo>
                      <a:cubicBezTo>
                        <a:pt x="0" y="100"/>
                        <a:pt x="4" y="96"/>
                        <a:pt x="10" y="96"/>
                      </a:cubicBezTo>
                      <a:cubicBezTo>
                        <a:pt x="15" y="96"/>
                        <a:pt x="19" y="100"/>
                        <a:pt x="19" y="105"/>
                      </a:cubicBezTo>
                      <a:close/>
                      <a:moveTo>
                        <a:pt x="71" y="88"/>
                      </a:moveTo>
                      <a:cubicBezTo>
                        <a:pt x="71" y="93"/>
                        <a:pt x="66" y="98"/>
                        <a:pt x="61" y="98"/>
                      </a:cubicBezTo>
                      <a:cubicBezTo>
                        <a:pt x="56" y="98"/>
                        <a:pt x="51" y="93"/>
                        <a:pt x="51" y="88"/>
                      </a:cubicBezTo>
                      <a:cubicBezTo>
                        <a:pt x="51" y="83"/>
                        <a:pt x="56" y="78"/>
                        <a:pt x="61" y="78"/>
                      </a:cubicBezTo>
                      <a:cubicBezTo>
                        <a:pt x="66" y="78"/>
                        <a:pt x="71" y="83"/>
                        <a:pt x="71" y="88"/>
                      </a:cubicBezTo>
                      <a:close/>
                      <a:moveTo>
                        <a:pt x="97" y="96"/>
                      </a:moveTo>
                      <a:cubicBezTo>
                        <a:pt x="97" y="101"/>
                        <a:pt x="92" y="105"/>
                        <a:pt x="87" y="105"/>
                      </a:cubicBezTo>
                      <a:cubicBezTo>
                        <a:pt x="82" y="105"/>
                        <a:pt x="77" y="101"/>
                        <a:pt x="77" y="96"/>
                      </a:cubicBezTo>
                      <a:cubicBezTo>
                        <a:pt x="77" y="90"/>
                        <a:pt x="82" y="86"/>
                        <a:pt x="87" y="86"/>
                      </a:cubicBezTo>
                      <a:cubicBezTo>
                        <a:pt x="92" y="86"/>
                        <a:pt x="97" y="90"/>
                        <a:pt x="97" y="96"/>
                      </a:cubicBezTo>
                      <a:close/>
                      <a:moveTo>
                        <a:pt x="151" y="58"/>
                      </a:moveTo>
                      <a:cubicBezTo>
                        <a:pt x="151" y="64"/>
                        <a:pt x="147" y="68"/>
                        <a:pt x="142" y="68"/>
                      </a:cubicBezTo>
                      <a:cubicBezTo>
                        <a:pt x="136" y="68"/>
                        <a:pt x="132" y="64"/>
                        <a:pt x="132" y="58"/>
                      </a:cubicBezTo>
                      <a:cubicBezTo>
                        <a:pt x="132" y="53"/>
                        <a:pt x="136" y="49"/>
                        <a:pt x="142" y="49"/>
                      </a:cubicBezTo>
                      <a:cubicBezTo>
                        <a:pt x="147" y="49"/>
                        <a:pt x="151" y="53"/>
                        <a:pt x="151" y="58"/>
                      </a:cubicBezTo>
                      <a:close/>
                      <a:moveTo>
                        <a:pt x="178" y="91"/>
                      </a:moveTo>
                      <a:cubicBezTo>
                        <a:pt x="178" y="101"/>
                        <a:pt x="170" y="109"/>
                        <a:pt x="160" y="109"/>
                      </a:cubicBezTo>
                      <a:cubicBezTo>
                        <a:pt x="150" y="109"/>
                        <a:pt x="142" y="101"/>
                        <a:pt x="142" y="91"/>
                      </a:cubicBezTo>
                      <a:cubicBezTo>
                        <a:pt x="142" y="81"/>
                        <a:pt x="150" y="73"/>
                        <a:pt x="160" y="73"/>
                      </a:cubicBezTo>
                      <a:cubicBezTo>
                        <a:pt x="170" y="73"/>
                        <a:pt x="178" y="81"/>
                        <a:pt x="178" y="91"/>
                      </a:cubicBezTo>
                      <a:close/>
                      <a:moveTo>
                        <a:pt x="191" y="46"/>
                      </a:moveTo>
                      <a:cubicBezTo>
                        <a:pt x="191" y="57"/>
                        <a:pt x="183" y="65"/>
                        <a:pt x="173" y="65"/>
                      </a:cubicBezTo>
                      <a:cubicBezTo>
                        <a:pt x="162" y="65"/>
                        <a:pt x="154" y="57"/>
                        <a:pt x="154" y="46"/>
                      </a:cubicBezTo>
                      <a:cubicBezTo>
                        <a:pt x="154" y="36"/>
                        <a:pt x="162" y="27"/>
                        <a:pt x="173" y="27"/>
                      </a:cubicBezTo>
                      <a:cubicBezTo>
                        <a:pt x="183" y="27"/>
                        <a:pt x="191" y="36"/>
                        <a:pt x="191" y="46"/>
                      </a:cubicBezTo>
                      <a:close/>
                      <a:moveTo>
                        <a:pt x="135" y="82"/>
                      </a:moveTo>
                      <a:cubicBezTo>
                        <a:pt x="135" y="92"/>
                        <a:pt x="127" y="100"/>
                        <a:pt x="118" y="100"/>
                      </a:cubicBezTo>
                      <a:cubicBezTo>
                        <a:pt x="108" y="100"/>
                        <a:pt x="100" y="92"/>
                        <a:pt x="100" y="82"/>
                      </a:cubicBezTo>
                      <a:cubicBezTo>
                        <a:pt x="100" y="73"/>
                        <a:pt x="108" y="65"/>
                        <a:pt x="118" y="65"/>
                      </a:cubicBezTo>
                      <a:cubicBezTo>
                        <a:pt x="127" y="65"/>
                        <a:pt x="135" y="73"/>
                        <a:pt x="135" y="82"/>
                      </a:cubicBezTo>
                      <a:close/>
                      <a:moveTo>
                        <a:pt x="152" y="122"/>
                      </a:moveTo>
                      <a:cubicBezTo>
                        <a:pt x="152" y="132"/>
                        <a:pt x="144" y="140"/>
                        <a:pt x="134" y="140"/>
                      </a:cubicBezTo>
                      <a:cubicBezTo>
                        <a:pt x="124" y="140"/>
                        <a:pt x="116" y="132"/>
                        <a:pt x="116" y="122"/>
                      </a:cubicBezTo>
                      <a:cubicBezTo>
                        <a:pt x="116" y="112"/>
                        <a:pt x="124" y="104"/>
                        <a:pt x="134" y="104"/>
                      </a:cubicBezTo>
                      <a:cubicBezTo>
                        <a:pt x="144" y="104"/>
                        <a:pt x="152" y="112"/>
                        <a:pt x="152" y="122"/>
                      </a:cubicBezTo>
                      <a:close/>
                      <a:moveTo>
                        <a:pt x="64" y="121"/>
                      </a:moveTo>
                      <a:cubicBezTo>
                        <a:pt x="64" y="132"/>
                        <a:pt x="54" y="142"/>
                        <a:pt x="43" y="142"/>
                      </a:cubicBezTo>
                      <a:cubicBezTo>
                        <a:pt x="31" y="142"/>
                        <a:pt x="22" y="132"/>
                        <a:pt x="22" y="121"/>
                      </a:cubicBezTo>
                      <a:cubicBezTo>
                        <a:pt x="22" y="109"/>
                        <a:pt x="31" y="100"/>
                        <a:pt x="43" y="100"/>
                      </a:cubicBezTo>
                      <a:cubicBezTo>
                        <a:pt x="54" y="100"/>
                        <a:pt x="64" y="109"/>
                        <a:pt x="64" y="121"/>
                      </a:cubicBezTo>
                      <a:close/>
                      <a:moveTo>
                        <a:pt x="110" y="134"/>
                      </a:moveTo>
                      <a:cubicBezTo>
                        <a:pt x="110" y="145"/>
                        <a:pt x="101" y="155"/>
                        <a:pt x="89" y="155"/>
                      </a:cubicBezTo>
                      <a:cubicBezTo>
                        <a:pt x="78" y="155"/>
                        <a:pt x="69" y="145"/>
                        <a:pt x="69" y="134"/>
                      </a:cubicBezTo>
                      <a:cubicBezTo>
                        <a:pt x="69" y="122"/>
                        <a:pt x="78" y="113"/>
                        <a:pt x="89" y="113"/>
                      </a:cubicBezTo>
                      <a:cubicBezTo>
                        <a:pt x="101" y="113"/>
                        <a:pt x="110" y="122"/>
                        <a:pt x="110" y="134"/>
                      </a:cubicBezTo>
                      <a:close/>
                    </a:path>
                  </a:pathLst>
                </a:custGeom>
                <a:solidFill>
                  <a:srgbClr val="071D4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04" name="Freeform 8">
                  <a:extLst>
                    <a:ext uri="{FF2B5EF4-FFF2-40B4-BE49-F238E27FC236}">
                      <a16:creationId xmlns:a16="http://schemas.microsoft.com/office/drawing/2014/main" id="{7027BDF1-2CA3-48A3-9099-AED7DEED1373}"/>
                    </a:ext>
                  </a:extLst>
                </p:cNvPr>
                <p:cNvSpPr>
                  <a:spLocks/>
                </p:cNvSpPr>
                <p:nvPr/>
              </p:nvSpPr>
              <p:spPr bwMode="auto">
                <a:xfrm>
                  <a:off x="11418514" y="4270902"/>
                  <a:ext cx="25420" cy="42366"/>
                </a:xfrm>
                <a:custGeom>
                  <a:avLst/>
                  <a:gdLst>
                    <a:gd name="T0" fmla="*/ 33 w 38"/>
                    <a:gd name="T1" fmla="*/ 40 h 65"/>
                    <a:gd name="T2" fmla="*/ 31 w 38"/>
                    <a:gd name="T3" fmla="*/ 33 h 65"/>
                    <a:gd name="T4" fmla="*/ 34 w 38"/>
                    <a:gd name="T5" fmla="*/ 27 h 65"/>
                    <a:gd name="T6" fmla="*/ 38 w 38"/>
                    <a:gd name="T7" fmla="*/ 15 h 65"/>
                    <a:gd name="T8" fmla="*/ 22 w 38"/>
                    <a:gd name="T9" fmla="*/ 0 h 65"/>
                    <a:gd name="T10" fmla="*/ 5 w 38"/>
                    <a:gd name="T11" fmla="*/ 11 h 65"/>
                    <a:gd name="T12" fmla="*/ 1 w 38"/>
                    <a:gd name="T13" fmla="*/ 30 h 65"/>
                    <a:gd name="T14" fmla="*/ 4 w 38"/>
                    <a:gd name="T15" fmla="*/ 50 h 65"/>
                    <a:gd name="T16" fmla="*/ 22 w 38"/>
                    <a:gd name="T17" fmla="*/ 65 h 65"/>
                    <a:gd name="T18" fmla="*/ 38 w 38"/>
                    <a:gd name="T19" fmla="*/ 50 h 65"/>
                    <a:gd name="T20" fmla="*/ 37 w 38"/>
                    <a:gd name="T21" fmla="*/ 46 h 65"/>
                    <a:gd name="T22" fmla="*/ 33 w 38"/>
                    <a:gd name="T23" fmla="*/ 4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65">
                      <a:moveTo>
                        <a:pt x="33" y="40"/>
                      </a:moveTo>
                      <a:cubicBezTo>
                        <a:pt x="32" y="39"/>
                        <a:pt x="31" y="37"/>
                        <a:pt x="31" y="33"/>
                      </a:cubicBezTo>
                      <a:cubicBezTo>
                        <a:pt x="31" y="30"/>
                        <a:pt x="32" y="29"/>
                        <a:pt x="34" y="27"/>
                      </a:cubicBezTo>
                      <a:cubicBezTo>
                        <a:pt x="37" y="25"/>
                        <a:pt x="38" y="20"/>
                        <a:pt x="38" y="15"/>
                      </a:cubicBezTo>
                      <a:cubicBezTo>
                        <a:pt x="38" y="7"/>
                        <a:pt x="31" y="0"/>
                        <a:pt x="22" y="0"/>
                      </a:cubicBezTo>
                      <a:cubicBezTo>
                        <a:pt x="14" y="0"/>
                        <a:pt x="7" y="7"/>
                        <a:pt x="5" y="11"/>
                      </a:cubicBezTo>
                      <a:cubicBezTo>
                        <a:pt x="3" y="15"/>
                        <a:pt x="1" y="22"/>
                        <a:pt x="1" y="30"/>
                      </a:cubicBezTo>
                      <a:cubicBezTo>
                        <a:pt x="0" y="38"/>
                        <a:pt x="2" y="44"/>
                        <a:pt x="4" y="50"/>
                      </a:cubicBezTo>
                      <a:cubicBezTo>
                        <a:pt x="6" y="57"/>
                        <a:pt x="13" y="65"/>
                        <a:pt x="22" y="65"/>
                      </a:cubicBezTo>
                      <a:cubicBezTo>
                        <a:pt x="31" y="65"/>
                        <a:pt x="38" y="59"/>
                        <a:pt x="38" y="50"/>
                      </a:cubicBezTo>
                      <a:cubicBezTo>
                        <a:pt x="38" y="49"/>
                        <a:pt x="38" y="47"/>
                        <a:pt x="37" y="46"/>
                      </a:cubicBezTo>
                      <a:cubicBezTo>
                        <a:pt x="37" y="45"/>
                        <a:pt x="35" y="42"/>
                        <a:pt x="33" y="40"/>
                      </a:cubicBezTo>
                      <a:close/>
                    </a:path>
                  </a:pathLst>
                </a:custGeom>
                <a:solidFill>
                  <a:srgbClr val="D0D3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05" name="Freeform 9">
                  <a:extLst>
                    <a:ext uri="{FF2B5EF4-FFF2-40B4-BE49-F238E27FC236}">
                      <a16:creationId xmlns:a16="http://schemas.microsoft.com/office/drawing/2014/main" id="{E1A7BFB2-8F29-42F1-B8EE-F060544EE6C2}"/>
                    </a:ext>
                  </a:extLst>
                </p:cNvPr>
                <p:cNvSpPr>
                  <a:spLocks/>
                </p:cNvSpPr>
                <p:nvPr/>
              </p:nvSpPr>
              <p:spPr bwMode="auto">
                <a:xfrm>
                  <a:off x="11459066" y="4270902"/>
                  <a:ext cx="25420" cy="42366"/>
                </a:xfrm>
                <a:custGeom>
                  <a:avLst/>
                  <a:gdLst>
                    <a:gd name="T0" fmla="*/ 1 w 38"/>
                    <a:gd name="T1" fmla="*/ 46 h 65"/>
                    <a:gd name="T2" fmla="*/ 0 w 38"/>
                    <a:gd name="T3" fmla="*/ 50 h 65"/>
                    <a:gd name="T4" fmla="*/ 17 w 38"/>
                    <a:gd name="T5" fmla="*/ 65 h 65"/>
                    <a:gd name="T6" fmla="*/ 35 w 38"/>
                    <a:gd name="T7" fmla="*/ 50 h 65"/>
                    <a:gd name="T8" fmla="*/ 38 w 38"/>
                    <a:gd name="T9" fmla="*/ 30 h 65"/>
                    <a:gd name="T10" fmla="*/ 33 w 38"/>
                    <a:gd name="T11" fmla="*/ 11 h 65"/>
                    <a:gd name="T12" fmla="*/ 17 w 38"/>
                    <a:gd name="T13" fmla="*/ 0 h 65"/>
                    <a:gd name="T14" fmla="*/ 0 w 38"/>
                    <a:gd name="T15" fmla="*/ 15 h 65"/>
                    <a:gd name="T16" fmla="*/ 5 w 38"/>
                    <a:gd name="T17" fmla="*/ 27 h 65"/>
                    <a:gd name="T18" fmla="*/ 7 w 38"/>
                    <a:gd name="T19" fmla="*/ 33 h 65"/>
                    <a:gd name="T20" fmla="*/ 5 w 38"/>
                    <a:gd name="T21" fmla="*/ 40 h 65"/>
                    <a:gd name="T22" fmla="*/ 1 w 38"/>
                    <a:gd name="T23" fmla="*/ 4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65">
                      <a:moveTo>
                        <a:pt x="1" y="46"/>
                      </a:moveTo>
                      <a:cubicBezTo>
                        <a:pt x="1" y="47"/>
                        <a:pt x="0" y="49"/>
                        <a:pt x="0" y="50"/>
                      </a:cubicBezTo>
                      <a:cubicBezTo>
                        <a:pt x="0" y="59"/>
                        <a:pt x="8" y="65"/>
                        <a:pt x="17" y="65"/>
                      </a:cubicBezTo>
                      <a:cubicBezTo>
                        <a:pt x="25" y="65"/>
                        <a:pt x="32" y="57"/>
                        <a:pt x="35" y="50"/>
                      </a:cubicBezTo>
                      <a:cubicBezTo>
                        <a:pt x="37" y="44"/>
                        <a:pt x="38" y="38"/>
                        <a:pt x="38" y="30"/>
                      </a:cubicBezTo>
                      <a:cubicBezTo>
                        <a:pt x="37" y="22"/>
                        <a:pt x="35" y="15"/>
                        <a:pt x="33" y="11"/>
                      </a:cubicBezTo>
                      <a:cubicBezTo>
                        <a:pt x="31" y="7"/>
                        <a:pt x="24" y="0"/>
                        <a:pt x="17" y="0"/>
                      </a:cubicBezTo>
                      <a:cubicBezTo>
                        <a:pt x="8" y="0"/>
                        <a:pt x="0" y="7"/>
                        <a:pt x="0" y="15"/>
                      </a:cubicBezTo>
                      <a:cubicBezTo>
                        <a:pt x="0" y="19"/>
                        <a:pt x="1" y="25"/>
                        <a:pt x="5" y="27"/>
                      </a:cubicBezTo>
                      <a:cubicBezTo>
                        <a:pt x="6" y="29"/>
                        <a:pt x="7" y="30"/>
                        <a:pt x="7" y="33"/>
                      </a:cubicBezTo>
                      <a:cubicBezTo>
                        <a:pt x="7" y="37"/>
                        <a:pt x="7" y="39"/>
                        <a:pt x="5" y="40"/>
                      </a:cubicBezTo>
                      <a:cubicBezTo>
                        <a:pt x="4" y="42"/>
                        <a:pt x="2" y="45"/>
                        <a:pt x="1" y="46"/>
                      </a:cubicBezTo>
                      <a:close/>
                    </a:path>
                  </a:pathLst>
                </a:custGeom>
                <a:solidFill>
                  <a:srgbClr val="D0D3D3"/>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06" name="Isosceles Triangle 43">
                  <a:extLst>
                    <a:ext uri="{FF2B5EF4-FFF2-40B4-BE49-F238E27FC236}">
                      <a16:creationId xmlns:a16="http://schemas.microsoft.com/office/drawing/2014/main" id="{221B5CC4-1829-404B-B9F1-FFFB2CBBF39D}"/>
                    </a:ext>
                  </a:extLst>
                </p:cNvPr>
                <p:cNvSpPr/>
                <p:nvPr/>
              </p:nvSpPr>
              <p:spPr>
                <a:xfrm rot="17460473">
                  <a:off x="11513224" y="4238158"/>
                  <a:ext cx="54266" cy="167089"/>
                </a:xfrm>
                <a:prstGeom prst="triangle">
                  <a:avLst/>
                </a:prstGeom>
                <a:noFill/>
                <a:ln w="12700" cap="flat" cmpd="sng" algn="ctr">
                  <a:solidFill>
                    <a:srgbClr val="D0D3D3"/>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FFFFFF"/>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07" name="Freeform 10">
                  <a:extLst>
                    <a:ext uri="{FF2B5EF4-FFF2-40B4-BE49-F238E27FC236}">
                      <a16:creationId xmlns:a16="http://schemas.microsoft.com/office/drawing/2014/main" id="{2E83BC84-B77C-468B-97A0-2399476B9320}"/>
                    </a:ext>
                  </a:extLst>
                </p:cNvPr>
                <p:cNvSpPr>
                  <a:spLocks noEditPoints="1"/>
                </p:cNvSpPr>
                <p:nvPr/>
              </p:nvSpPr>
              <p:spPr bwMode="auto">
                <a:xfrm>
                  <a:off x="11470266" y="4289421"/>
                  <a:ext cx="357695" cy="212438"/>
                </a:xfrm>
                <a:custGeom>
                  <a:avLst/>
                  <a:gdLst>
                    <a:gd name="T0" fmla="*/ 467 w 547"/>
                    <a:gd name="T1" fmla="*/ 45 h 325"/>
                    <a:gd name="T2" fmla="*/ 270 w 547"/>
                    <a:gd name="T3" fmla="*/ 73 h 325"/>
                    <a:gd name="T4" fmla="*/ 267 w 547"/>
                    <a:gd name="T5" fmla="*/ 78 h 325"/>
                    <a:gd name="T6" fmla="*/ 266 w 547"/>
                    <a:gd name="T7" fmla="*/ 79 h 325"/>
                    <a:gd name="T8" fmla="*/ 0 w 547"/>
                    <a:gd name="T9" fmla="*/ 9 h 325"/>
                    <a:gd name="T10" fmla="*/ 243 w 547"/>
                    <a:gd name="T11" fmla="*/ 131 h 325"/>
                    <a:gd name="T12" fmla="*/ 242 w 547"/>
                    <a:gd name="T13" fmla="*/ 138 h 325"/>
                    <a:gd name="T14" fmla="*/ 300 w 547"/>
                    <a:gd name="T15" fmla="*/ 279 h 325"/>
                    <a:gd name="T16" fmla="*/ 501 w 547"/>
                    <a:gd name="T17" fmla="*/ 245 h 325"/>
                    <a:gd name="T18" fmla="*/ 467 w 547"/>
                    <a:gd name="T19" fmla="*/ 45 h 325"/>
                    <a:gd name="T20" fmla="*/ 444 w 547"/>
                    <a:gd name="T21" fmla="*/ 72 h 325"/>
                    <a:gd name="T22" fmla="*/ 470 w 547"/>
                    <a:gd name="T23" fmla="*/ 230 h 325"/>
                    <a:gd name="T24" fmla="*/ 311 w 547"/>
                    <a:gd name="T25" fmla="*/ 257 h 325"/>
                    <a:gd name="T26" fmla="*/ 285 w 547"/>
                    <a:gd name="T27" fmla="*/ 98 h 325"/>
                    <a:gd name="T28" fmla="*/ 444 w 547"/>
                    <a:gd name="T29" fmla="*/ 72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47" h="325">
                      <a:moveTo>
                        <a:pt x="467" y="45"/>
                      </a:moveTo>
                      <a:cubicBezTo>
                        <a:pt x="404" y="0"/>
                        <a:pt x="317" y="13"/>
                        <a:pt x="270" y="73"/>
                      </a:cubicBezTo>
                      <a:cubicBezTo>
                        <a:pt x="269" y="75"/>
                        <a:pt x="268" y="76"/>
                        <a:pt x="267" y="78"/>
                      </a:cubicBezTo>
                      <a:cubicBezTo>
                        <a:pt x="266" y="78"/>
                        <a:pt x="266" y="79"/>
                        <a:pt x="266" y="79"/>
                      </a:cubicBezTo>
                      <a:lnTo>
                        <a:pt x="0" y="9"/>
                      </a:lnTo>
                      <a:lnTo>
                        <a:pt x="243" y="131"/>
                      </a:lnTo>
                      <a:cubicBezTo>
                        <a:pt x="243" y="133"/>
                        <a:pt x="242" y="136"/>
                        <a:pt x="242" y="138"/>
                      </a:cubicBezTo>
                      <a:cubicBezTo>
                        <a:pt x="233" y="191"/>
                        <a:pt x="254" y="246"/>
                        <a:pt x="300" y="279"/>
                      </a:cubicBezTo>
                      <a:cubicBezTo>
                        <a:pt x="365" y="325"/>
                        <a:pt x="454" y="310"/>
                        <a:pt x="501" y="245"/>
                      </a:cubicBezTo>
                      <a:cubicBezTo>
                        <a:pt x="547" y="180"/>
                        <a:pt x="532" y="91"/>
                        <a:pt x="467" y="45"/>
                      </a:cubicBezTo>
                      <a:close/>
                      <a:moveTo>
                        <a:pt x="444" y="72"/>
                      </a:moveTo>
                      <a:cubicBezTo>
                        <a:pt x="495" y="108"/>
                        <a:pt x="507" y="179"/>
                        <a:pt x="470" y="230"/>
                      </a:cubicBezTo>
                      <a:cubicBezTo>
                        <a:pt x="434" y="282"/>
                        <a:pt x="362" y="293"/>
                        <a:pt x="311" y="257"/>
                      </a:cubicBezTo>
                      <a:cubicBezTo>
                        <a:pt x="260" y="220"/>
                        <a:pt x="248" y="149"/>
                        <a:pt x="285" y="98"/>
                      </a:cubicBezTo>
                      <a:cubicBezTo>
                        <a:pt x="321" y="47"/>
                        <a:pt x="393" y="35"/>
                        <a:pt x="444" y="72"/>
                      </a:cubicBezTo>
                      <a:close/>
                    </a:path>
                  </a:pathLst>
                </a:custGeom>
                <a:solidFill>
                  <a:srgbClr val="071D4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08" name="Freeform 11">
                  <a:extLst>
                    <a:ext uri="{FF2B5EF4-FFF2-40B4-BE49-F238E27FC236}">
                      <a16:creationId xmlns:a16="http://schemas.microsoft.com/office/drawing/2014/main" id="{2436C3E1-91BE-4D03-9902-CA6FD1B53199}"/>
                    </a:ext>
                  </a:extLst>
                </p:cNvPr>
                <p:cNvSpPr>
                  <a:spLocks noEditPoints="1"/>
                </p:cNvSpPr>
                <p:nvPr/>
              </p:nvSpPr>
              <p:spPr bwMode="auto">
                <a:xfrm>
                  <a:off x="11648205" y="4330577"/>
                  <a:ext cx="82918" cy="136178"/>
                </a:xfrm>
                <a:custGeom>
                  <a:avLst/>
                  <a:gdLst>
                    <a:gd name="T0" fmla="*/ 114 w 127"/>
                    <a:gd name="T1" fmla="*/ 206 h 208"/>
                    <a:gd name="T2" fmla="*/ 107 w 127"/>
                    <a:gd name="T3" fmla="*/ 194 h 208"/>
                    <a:gd name="T4" fmla="*/ 119 w 127"/>
                    <a:gd name="T5" fmla="*/ 188 h 208"/>
                    <a:gd name="T6" fmla="*/ 126 w 127"/>
                    <a:gd name="T7" fmla="*/ 200 h 208"/>
                    <a:gd name="T8" fmla="*/ 114 w 127"/>
                    <a:gd name="T9" fmla="*/ 206 h 208"/>
                    <a:gd name="T10" fmla="*/ 71 w 127"/>
                    <a:gd name="T11" fmla="*/ 20 h 208"/>
                    <a:gd name="T12" fmla="*/ 65 w 127"/>
                    <a:gd name="T13" fmla="*/ 8 h 208"/>
                    <a:gd name="T14" fmla="*/ 77 w 127"/>
                    <a:gd name="T15" fmla="*/ 2 h 208"/>
                    <a:gd name="T16" fmla="*/ 83 w 127"/>
                    <a:gd name="T17" fmla="*/ 14 h 208"/>
                    <a:gd name="T18" fmla="*/ 71 w 127"/>
                    <a:gd name="T19" fmla="*/ 20 h 208"/>
                    <a:gd name="T20" fmla="*/ 73 w 127"/>
                    <a:gd name="T21" fmla="*/ 74 h 208"/>
                    <a:gd name="T22" fmla="*/ 67 w 127"/>
                    <a:gd name="T23" fmla="*/ 62 h 208"/>
                    <a:gd name="T24" fmla="*/ 79 w 127"/>
                    <a:gd name="T25" fmla="*/ 56 h 208"/>
                    <a:gd name="T26" fmla="*/ 85 w 127"/>
                    <a:gd name="T27" fmla="*/ 68 h 208"/>
                    <a:gd name="T28" fmla="*/ 73 w 127"/>
                    <a:gd name="T29" fmla="*/ 74 h 208"/>
                    <a:gd name="T30" fmla="*/ 58 w 127"/>
                    <a:gd name="T31" fmla="*/ 97 h 208"/>
                    <a:gd name="T32" fmla="*/ 51 w 127"/>
                    <a:gd name="T33" fmla="*/ 85 h 208"/>
                    <a:gd name="T34" fmla="*/ 64 w 127"/>
                    <a:gd name="T35" fmla="*/ 79 h 208"/>
                    <a:gd name="T36" fmla="*/ 70 w 127"/>
                    <a:gd name="T37" fmla="*/ 91 h 208"/>
                    <a:gd name="T38" fmla="*/ 58 w 127"/>
                    <a:gd name="T39" fmla="*/ 97 h 208"/>
                    <a:gd name="T40" fmla="*/ 77 w 127"/>
                    <a:gd name="T41" fmla="*/ 160 h 208"/>
                    <a:gd name="T42" fmla="*/ 71 w 127"/>
                    <a:gd name="T43" fmla="*/ 148 h 208"/>
                    <a:gd name="T44" fmla="*/ 83 w 127"/>
                    <a:gd name="T45" fmla="*/ 142 h 208"/>
                    <a:gd name="T46" fmla="*/ 89 w 127"/>
                    <a:gd name="T47" fmla="*/ 154 h 208"/>
                    <a:gd name="T48" fmla="*/ 77 w 127"/>
                    <a:gd name="T49" fmla="*/ 160 h 208"/>
                    <a:gd name="T50" fmla="*/ 39 w 127"/>
                    <a:gd name="T51" fmla="*/ 176 h 208"/>
                    <a:gd name="T52" fmla="*/ 27 w 127"/>
                    <a:gd name="T53" fmla="*/ 154 h 208"/>
                    <a:gd name="T54" fmla="*/ 49 w 127"/>
                    <a:gd name="T55" fmla="*/ 142 h 208"/>
                    <a:gd name="T56" fmla="*/ 61 w 127"/>
                    <a:gd name="T57" fmla="*/ 164 h 208"/>
                    <a:gd name="T58" fmla="*/ 39 w 127"/>
                    <a:gd name="T59" fmla="*/ 176 h 208"/>
                    <a:gd name="T60" fmla="*/ 77 w 127"/>
                    <a:gd name="T61" fmla="*/ 202 h 208"/>
                    <a:gd name="T62" fmla="*/ 65 w 127"/>
                    <a:gd name="T63" fmla="*/ 178 h 208"/>
                    <a:gd name="T64" fmla="*/ 88 w 127"/>
                    <a:gd name="T65" fmla="*/ 166 h 208"/>
                    <a:gd name="T66" fmla="*/ 101 w 127"/>
                    <a:gd name="T67" fmla="*/ 190 h 208"/>
                    <a:gd name="T68" fmla="*/ 77 w 127"/>
                    <a:gd name="T69" fmla="*/ 202 h 208"/>
                    <a:gd name="T70" fmla="*/ 59 w 127"/>
                    <a:gd name="T71" fmla="*/ 138 h 208"/>
                    <a:gd name="T72" fmla="*/ 47 w 127"/>
                    <a:gd name="T73" fmla="*/ 116 h 208"/>
                    <a:gd name="T74" fmla="*/ 70 w 127"/>
                    <a:gd name="T75" fmla="*/ 104 h 208"/>
                    <a:gd name="T76" fmla="*/ 81 w 127"/>
                    <a:gd name="T77" fmla="*/ 126 h 208"/>
                    <a:gd name="T78" fmla="*/ 59 w 127"/>
                    <a:gd name="T79" fmla="*/ 138 h 208"/>
                    <a:gd name="T80" fmla="*/ 16 w 127"/>
                    <a:gd name="T81" fmla="*/ 142 h 208"/>
                    <a:gd name="T82" fmla="*/ 5 w 127"/>
                    <a:gd name="T83" fmla="*/ 120 h 208"/>
                    <a:gd name="T84" fmla="*/ 27 w 127"/>
                    <a:gd name="T85" fmla="*/ 108 h 208"/>
                    <a:gd name="T86" fmla="*/ 39 w 127"/>
                    <a:gd name="T87" fmla="*/ 130 h 208"/>
                    <a:gd name="T88" fmla="*/ 16 w 127"/>
                    <a:gd name="T89" fmla="*/ 142 h 208"/>
                    <a:gd name="T90" fmla="*/ 44 w 127"/>
                    <a:gd name="T91" fmla="*/ 58 h 208"/>
                    <a:gd name="T92" fmla="*/ 30 w 127"/>
                    <a:gd name="T93" fmla="*/ 32 h 208"/>
                    <a:gd name="T94" fmla="*/ 56 w 127"/>
                    <a:gd name="T95" fmla="*/ 18 h 208"/>
                    <a:gd name="T96" fmla="*/ 70 w 127"/>
                    <a:gd name="T97" fmla="*/ 44 h 208"/>
                    <a:gd name="T98" fmla="*/ 44 w 127"/>
                    <a:gd name="T99" fmla="*/ 58 h 208"/>
                    <a:gd name="T100" fmla="*/ 17 w 127"/>
                    <a:gd name="T101" fmla="*/ 99 h 208"/>
                    <a:gd name="T102" fmla="*/ 4 w 127"/>
                    <a:gd name="T103" fmla="*/ 73 h 208"/>
                    <a:gd name="T104" fmla="*/ 30 w 127"/>
                    <a:gd name="T105" fmla="*/ 59 h 208"/>
                    <a:gd name="T106" fmla="*/ 43 w 127"/>
                    <a:gd name="T107" fmla="*/ 85 h 208"/>
                    <a:gd name="T108" fmla="*/ 17 w 127"/>
                    <a:gd name="T109" fmla="*/ 99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7" h="208">
                      <a:moveTo>
                        <a:pt x="114" y="206"/>
                      </a:moveTo>
                      <a:cubicBezTo>
                        <a:pt x="109" y="205"/>
                        <a:pt x="106" y="199"/>
                        <a:pt x="107" y="194"/>
                      </a:cubicBezTo>
                      <a:cubicBezTo>
                        <a:pt x="109" y="189"/>
                        <a:pt x="114" y="186"/>
                        <a:pt x="119" y="188"/>
                      </a:cubicBezTo>
                      <a:cubicBezTo>
                        <a:pt x="125" y="189"/>
                        <a:pt x="127" y="195"/>
                        <a:pt x="126" y="200"/>
                      </a:cubicBezTo>
                      <a:cubicBezTo>
                        <a:pt x="124" y="205"/>
                        <a:pt x="119" y="208"/>
                        <a:pt x="114" y="206"/>
                      </a:cubicBezTo>
                      <a:close/>
                      <a:moveTo>
                        <a:pt x="71" y="20"/>
                      </a:moveTo>
                      <a:cubicBezTo>
                        <a:pt x="66" y="19"/>
                        <a:pt x="63" y="13"/>
                        <a:pt x="65" y="8"/>
                      </a:cubicBezTo>
                      <a:cubicBezTo>
                        <a:pt x="66" y="3"/>
                        <a:pt x="72" y="0"/>
                        <a:pt x="77" y="2"/>
                      </a:cubicBezTo>
                      <a:cubicBezTo>
                        <a:pt x="82" y="4"/>
                        <a:pt x="85" y="9"/>
                        <a:pt x="83" y="14"/>
                      </a:cubicBezTo>
                      <a:cubicBezTo>
                        <a:pt x="82" y="19"/>
                        <a:pt x="76" y="22"/>
                        <a:pt x="71" y="20"/>
                      </a:cubicBezTo>
                      <a:close/>
                      <a:moveTo>
                        <a:pt x="73" y="74"/>
                      </a:moveTo>
                      <a:cubicBezTo>
                        <a:pt x="68" y="73"/>
                        <a:pt x="65" y="68"/>
                        <a:pt x="67" y="62"/>
                      </a:cubicBezTo>
                      <a:cubicBezTo>
                        <a:pt x="68" y="57"/>
                        <a:pt x="74" y="54"/>
                        <a:pt x="79" y="56"/>
                      </a:cubicBezTo>
                      <a:cubicBezTo>
                        <a:pt x="84" y="58"/>
                        <a:pt x="87" y="63"/>
                        <a:pt x="85" y="68"/>
                      </a:cubicBezTo>
                      <a:cubicBezTo>
                        <a:pt x="83" y="73"/>
                        <a:pt x="78" y="76"/>
                        <a:pt x="73" y="74"/>
                      </a:cubicBezTo>
                      <a:close/>
                      <a:moveTo>
                        <a:pt x="58" y="97"/>
                      </a:moveTo>
                      <a:cubicBezTo>
                        <a:pt x="53" y="95"/>
                        <a:pt x="50" y="90"/>
                        <a:pt x="51" y="85"/>
                      </a:cubicBezTo>
                      <a:cubicBezTo>
                        <a:pt x="53" y="80"/>
                        <a:pt x="58" y="77"/>
                        <a:pt x="64" y="79"/>
                      </a:cubicBezTo>
                      <a:cubicBezTo>
                        <a:pt x="69" y="80"/>
                        <a:pt x="71" y="85"/>
                        <a:pt x="70" y="91"/>
                      </a:cubicBezTo>
                      <a:cubicBezTo>
                        <a:pt x="68" y="96"/>
                        <a:pt x="63" y="99"/>
                        <a:pt x="58" y="97"/>
                      </a:cubicBezTo>
                      <a:close/>
                      <a:moveTo>
                        <a:pt x="77" y="160"/>
                      </a:moveTo>
                      <a:cubicBezTo>
                        <a:pt x="72" y="159"/>
                        <a:pt x="69" y="153"/>
                        <a:pt x="71" y="148"/>
                      </a:cubicBezTo>
                      <a:cubicBezTo>
                        <a:pt x="73" y="143"/>
                        <a:pt x="78" y="140"/>
                        <a:pt x="83" y="142"/>
                      </a:cubicBezTo>
                      <a:cubicBezTo>
                        <a:pt x="88" y="143"/>
                        <a:pt x="91" y="149"/>
                        <a:pt x="89" y="154"/>
                      </a:cubicBezTo>
                      <a:cubicBezTo>
                        <a:pt x="88" y="159"/>
                        <a:pt x="83" y="162"/>
                        <a:pt x="77" y="160"/>
                      </a:cubicBezTo>
                      <a:close/>
                      <a:moveTo>
                        <a:pt x="39" y="176"/>
                      </a:moveTo>
                      <a:cubicBezTo>
                        <a:pt x="29" y="173"/>
                        <a:pt x="24" y="163"/>
                        <a:pt x="27" y="154"/>
                      </a:cubicBezTo>
                      <a:cubicBezTo>
                        <a:pt x="30" y="144"/>
                        <a:pt x="40" y="139"/>
                        <a:pt x="49" y="142"/>
                      </a:cubicBezTo>
                      <a:cubicBezTo>
                        <a:pt x="58" y="145"/>
                        <a:pt x="64" y="155"/>
                        <a:pt x="61" y="164"/>
                      </a:cubicBezTo>
                      <a:cubicBezTo>
                        <a:pt x="58" y="173"/>
                        <a:pt x="48" y="179"/>
                        <a:pt x="39" y="176"/>
                      </a:cubicBezTo>
                      <a:close/>
                      <a:moveTo>
                        <a:pt x="77" y="202"/>
                      </a:moveTo>
                      <a:cubicBezTo>
                        <a:pt x="67" y="199"/>
                        <a:pt x="62" y="188"/>
                        <a:pt x="65" y="178"/>
                      </a:cubicBezTo>
                      <a:cubicBezTo>
                        <a:pt x="68" y="168"/>
                        <a:pt x="78" y="163"/>
                        <a:pt x="88" y="166"/>
                      </a:cubicBezTo>
                      <a:cubicBezTo>
                        <a:pt x="98" y="169"/>
                        <a:pt x="104" y="180"/>
                        <a:pt x="101" y="190"/>
                      </a:cubicBezTo>
                      <a:cubicBezTo>
                        <a:pt x="98" y="200"/>
                        <a:pt x="87" y="205"/>
                        <a:pt x="77" y="202"/>
                      </a:cubicBezTo>
                      <a:close/>
                      <a:moveTo>
                        <a:pt x="59" y="138"/>
                      </a:moveTo>
                      <a:cubicBezTo>
                        <a:pt x="50" y="135"/>
                        <a:pt x="44" y="125"/>
                        <a:pt x="47" y="116"/>
                      </a:cubicBezTo>
                      <a:cubicBezTo>
                        <a:pt x="50" y="106"/>
                        <a:pt x="60" y="101"/>
                        <a:pt x="70" y="104"/>
                      </a:cubicBezTo>
                      <a:cubicBezTo>
                        <a:pt x="79" y="107"/>
                        <a:pt x="84" y="117"/>
                        <a:pt x="81" y="126"/>
                      </a:cubicBezTo>
                      <a:cubicBezTo>
                        <a:pt x="78" y="136"/>
                        <a:pt x="68" y="141"/>
                        <a:pt x="59" y="138"/>
                      </a:cubicBezTo>
                      <a:close/>
                      <a:moveTo>
                        <a:pt x="16" y="142"/>
                      </a:moveTo>
                      <a:cubicBezTo>
                        <a:pt x="7" y="139"/>
                        <a:pt x="2" y="129"/>
                        <a:pt x="5" y="120"/>
                      </a:cubicBezTo>
                      <a:cubicBezTo>
                        <a:pt x="7" y="110"/>
                        <a:pt x="17" y="105"/>
                        <a:pt x="27" y="108"/>
                      </a:cubicBezTo>
                      <a:cubicBezTo>
                        <a:pt x="36" y="111"/>
                        <a:pt x="41" y="121"/>
                        <a:pt x="39" y="130"/>
                      </a:cubicBezTo>
                      <a:cubicBezTo>
                        <a:pt x="36" y="139"/>
                        <a:pt x="26" y="145"/>
                        <a:pt x="16" y="142"/>
                      </a:cubicBezTo>
                      <a:close/>
                      <a:moveTo>
                        <a:pt x="44" y="58"/>
                      </a:moveTo>
                      <a:cubicBezTo>
                        <a:pt x="33" y="55"/>
                        <a:pt x="26" y="43"/>
                        <a:pt x="30" y="32"/>
                      </a:cubicBezTo>
                      <a:cubicBezTo>
                        <a:pt x="33" y="21"/>
                        <a:pt x="45" y="15"/>
                        <a:pt x="56" y="18"/>
                      </a:cubicBezTo>
                      <a:cubicBezTo>
                        <a:pt x="67" y="22"/>
                        <a:pt x="73" y="33"/>
                        <a:pt x="70" y="44"/>
                      </a:cubicBezTo>
                      <a:cubicBezTo>
                        <a:pt x="66" y="55"/>
                        <a:pt x="55" y="62"/>
                        <a:pt x="44" y="58"/>
                      </a:cubicBezTo>
                      <a:close/>
                      <a:moveTo>
                        <a:pt x="17" y="99"/>
                      </a:moveTo>
                      <a:cubicBezTo>
                        <a:pt x="6" y="95"/>
                        <a:pt x="0" y="84"/>
                        <a:pt x="4" y="73"/>
                      </a:cubicBezTo>
                      <a:cubicBezTo>
                        <a:pt x="7" y="62"/>
                        <a:pt x="19" y="56"/>
                        <a:pt x="30" y="59"/>
                      </a:cubicBezTo>
                      <a:cubicBezTo>
                        <a:pt x="40" y="62"/>
                        <a:pt x="47" y="74"/>
                        <a:pt x="43" y="85"/>
                      </a:cubicBezTo>
                      <a:cubicBezTo>
                        <a:pt x="40" y="96"/>
                        <a:pt x="28" y="102"/>
                        <a:pt x="17" y="99"/>
                      </a:cubicBezTo>
                      <a:close/>
                    </a:path>
                  </a:pathLst>
                </a:custGeom>
                <a:solidFill>
                  <a:srgbClr val="071D4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grpSp>
          <p:sp>
            <p:nvSpPr>
              <p:cNvPr id="100" name="Freeform 13">
                <a:extLst>
                  <a:ext uri="{FF2B5EF4-FFF2-40B4-BE49-F238E27FC236}">
                    <a16:creationId xmlns:a16="http://schemas.microsoft.com/office/drawing/2014/main" id="{3D337E28-5AFF-451D-BF45-335191A2F105}"/>
                  </a:ext>
                </a:extLst>
              </p:cNvPr>
              <p:cNvSpPr>
                <a:spLocks noEditPoints="1"/>
              </p:cNvSpPr>
              <p:nvPr/>
            </p:nvSpPr>
            <p:spPr bwMode="auto">
              <a:xfrm>
                <a:off x="9756830" y="2578868"/>
                <a:ext cx="518900" cy="515616"/>
              </a:xfrm>
              <a:custGeom>
                <a:avLst/>
                <a:gdLst>
                  <a:gd name="T0" fmla="*/ 711 w 1204"/>
                  <a:gd name="T1" fmla="*/ 950 h 1195"/>
                  <a:gd name="T2" fmla="*/ 161 w 1204"/>
                  <a:gd name="T3" fmla="*/ 1182 h 1195"/>
                  <a:gd name="T4" fmla="*/ 115 w 1204"/>
                  <a:gd name="T5" fmla="*/ 933 h 1195"/>
                  <a:gd name="T6" fmla="*/ 966 w 1204"/>
                  <a:gd name="T7" fmla="*/ 750 h 1195"/>
                  <a:gd name="T8" fmla="*/ 932 w 1204"/>
                  <a:gd name="T9" fmla="*/ 562 h 1195"/>
                  <a:gd name="T10" fmla="*/ 1181 w 1204"/>
                  <a:gd name="T11" fmla="*/ 808 h 1195"/>
                  <a:gd name="T12" fmla="*/ 1057 w 1204"/>
                  <a:gd name="T13" fmla="*/ 889 h 1195"/>
                  <a:gd name="T14" fmla="*/ 1005 w 1204"/>
                  <a:gd name="T15" fmla="*/ 857 h 1195"/>
                  <a:gd name="T16" fmla="*/ 769 w 1204"/>
                  <a:gd name="T17" fmla="*/ 1116 h 1195"/>
                  <a:gd name="T18" fmla="*/ 876 w 1204"/>
                  <a:gd name="T19" fmla="*/ 783 h 1195"/>
                  <a:gd name="T20" fmla="*/ 601 w 1204"/>
                  <a:gd name="T21" fmla="*/ 1048 h 1195"/>
                  <a:gd name="T22" fmla="*/ 573 w 1204"/>
                  <a:gd name="T23" fmla="*/ 899 h 1195"/>
                  <a:gd name="T24" fmla="*/ 351 w 1204"/>
                  <a:gd name="T25" fmla="*/ 1095 h 1195"/>
                  <a:gd name="T26" fmla="*/ 979 w 1204"/>
                  <a:gd name="T27" fmla="*/ 842 h 1195"/>
                  <a:gd name="T28" fmla="*/ 902 w 1204"/>
                  <a:gd name="T29" fmla="*/ 797 h 1195"/>
                  <a:gd name="T30" fmla="*/ 905 w 1204"/>
                  <a:gd name="T31" fmla="*/ 971 h 1195"/>
                  <a:gd name="T32" fmla="*/ 1082 w 1204"/>
                  <a:gd name="T33" fmla="*/ 873 h 1195"/>
                  <a:gd name="T34" fmla="*/ 1157 w 1204"/>
                  <a:gd name="T35" fmla="*/ 824 h 1195"/>
                  <a:gd name="T36" fmla="*/ 1001 w 1204"/>
                  <a:gd name="T37" fmla="*/ 748 h 1195"/>
                  <a:gd name="T38" fmla="*/ 265 w 1204"/>
                  <a:gd name="T39" fmla="*/ 290 h 1195"/>
                  <a:gd name="T40" fmla="*/ 11 w 1204"/>
                  <a:gd name="T41" fmla="*/ 568 h 1195"/>
                  <a:gd name="T42" fmla="*/ 315 w 1204"/>
                  <a:gd name="T43" fmla="*/ 290 h 1195"/>
                  <a:gd name="T44" fmla="*/ 315 w 1204"/>
                  <a:gd name="T45" fmla="*/ 846 h 1195"/>
                  <a:gd name="T46" fmla="*/ 635 w 1204"/>
                  <a:gd name="T47" fmla="*/ 554 h 1195"/>
                  <a:gd name="T48" fmla="*/ 614 w 1204"/>
                  <a:gd name="T49" fmla="*/ 698 h 1195"/>
                  <a:gd name="T50" fmla="*/ 651 w 1204"/>
                  <a:gd name="T51" fmla="*/ 543 h 1195"/>
                  <a:gd name="T52" fmla="*/ 772 w 1204"/>
                  <a:gd name="T53" fmla="*/ 721 h 1195"/>
                  <a:gd name="T54" fmla="*/ 1001 w 1204"/>
                  <a:gd name="T55" fmla="*/ 364 h 1195"/>
                  <a:gd name="T56" fmla="*/ 717 w 1204"/>
                  <a:gd name="T57" fmla="*/ 463 h 1195"/>
                  <a:gd name="T58" fmla="*/ 703 w 1204"/>
                  <a:gd name="T59" fmla="*/ 393 h 1195"/>
                  <a:gd name="T60" fmla="*/ 765 w 1204"/>
                  <a:gd name="T61" fmla="*/ 66 h 1195"/>
                  <a:gd name="T62" fmla="*/ 992 w 1204"/>
                  <a:gd name="T63" fmla="*/ 338 h 1195"/>
                  <a:gd name="T64" fmla="*/ 703 w 1204"/>
                  <a:gd name="T65" fmla="*/ 393 h 1195"/>
                  <a:gd name="T66" fmla="*/ 525 w 1204"/>
                  <a:gd name="T67" fmla="*/ 359 h 1195"/>
                  <a:gd name="T68" fmla="*/ 737 w 1204"/>
                  <a:gd name="T69" fmla="*/ 47 h 1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04" h="1195">
                    <a:moveTo>
                      <a:pt x="563" y="849"/>
                    </a:moveTo>
                    <a:cubicBezTo>
                      <a:pt x="632" y="836"/>
                      <a:pt x="698" y="881"/>
                      <a:pt x="711" y="950"/>
                    </a:cubicBezTo>
                    <a:cubicBezTo>
                      <a:pt x="724" y="1019"/>
                      <a:pt x="679" y="1085"/>
                      <a:pt x="610" y="1098"/>
                    </a:cubicBezTo>
                    <a:lnTo>
                      <a:pt x="161" y="1182"/>
                    </a:lnTo>
                    <a:cubicBezTo>
                      <a:pt x="92" y="1195"/>
                      <a:pt x="26" y="1149"/>
                      <a:pt x="13" y="1080"/>
                    </a:cubicBezTo>
                    <a:cubicBezTo>
                      <a:pt x="0" y="1012"/>
                      <a:pt x="46" y="945"/>
                      <a:pt x="115" y="933"/>
                    </a:cubicBezTo>
                    <a:lnTo>
                      <a:pt x="563" y="849"/>
                    </a:lnTo>
                    <a:close/>
                    <a:moveTo>
                      <a:pt x="966" y="750"/>
                    </a:moveTo>
                    <a:lnTo>
                      <a:pt x="911" y="665"/>
                    </a:lnTo>
                    <a:cubicBezTo>
                      <a:pt x="888" y="631"/>
                      <a:pt x="898" y="585"/>
                      <a:pt x="932" y="562"/>
                    </a:cubicBezTo>
                    <a:cubicBezTo>
                      <a:pt x="967" y="540"/>
                      <a:pt x="1013" y="550"/>
                      <a:pt x="1035" y="584"/>
                    </a:cubicBezTo>
                    <a:lnTo>
                      <a:pt x="1181" y="808"/>
                    </a:lnTo>
                    <a:cubicBezTo>
                      <a:pt x="1204" y="842"/>
                      <a:pt x="1194" y="888"/>
                      <a:pt x="1160" y="911"/>
                    </a:cubicBezTo>
                    <a:cubicBezTo>
                      <a:pt x="1125" y="933"/>
                      <a:pt x="1079" y="923"/>
                      <a:pt x="1057" y="889"/>
                    </a:cubicBezTo>
                    <a:lnTo>
                      <a:pt x="1014" y="824"/>
                    </a:lnTo>
                    <a:cubicBezTo>
                      <a:pt x="1014" y="835"/>
                      <a:pt x="1011" y="847"/>
                      <a:pt x="1005" y="857"/>
                    </a:cubicBezTo>
                    <a:lnTo>
                      <a:pt x="871" y="1089"/>
                    </a:lnTo>
                    <a:cubicBezTo>
                      <a:pt x="850" y="1124"/>
                      <a:pt x="805" y="1136"/>
                      <a:pt x="769" y="1116"/>
                    </a:cubicBezTo>
                    <a:cubicBezTo>
                      <a:pt x="734" y="1095"/>
                      <a:pt x="722" y="1050"/>
                      <a:pt x="742" y="1014"/>
                    </a:cubicBezTo>
                    <a:lnTo>
                      <a:pt x="876" y="783"/>
                    </a:lnTo>
                    <a:cubicBezTo>
                      <a:pt x="894" y="751"/>
                      <a:pt x="933" y="738"/>
                      <a:pt x="966" y="750"/>
                    </a:cubicBezTo>
                    <a:close/>
                    <a:moveTo>
                      <a:pt x="601" y="1048"/>
                    </a:moveTo>
                    <a:cubicBezTo>
                      <a:pt x="642" y="1041"/>
                      <a:pt x="669" y="1001"/>
                      <a:pt x="661" y="960"/>
                    </a:cubicBezTo>
                    <a:cubicBezTo>
                      <a:pt x="654" y="918"/>
                      <a:pt x="614" y="891"/>
                      <a:pt x="573" y="899"/>
                    </a:cubicBezTo>
                    <a:lnTo>
                      <a:pt x="323" y="945"/>
                    </a:lnTo>
                    <a:lnTo>
                      <a:pt x="351" y="1095"/>
                    </a:lnTo>
                    <a:lnTo>
                      <a:pt x="601" y="1048"/>
                    </a:lnTo>
                    <a:close/>
                    <a:moveTo>
                      <a:pt x="979" y="842"/>
                    </a:moveTo>
                    <a:cubicBezTo>
                      <a:pt x="991" y="821"/>
                      <a:pt x="984" y="794"/>
                      <a:pt x="963" y="781"/>
                    </a:cubicBezTo>
                    <a:cubicBezTo>
                      <a:pt x="941" y="769"/>
                      <a:pt x="914" y="776"/>
                      <a:pt x="902" y="797"/>
                    </a:cubicBezTo>
                    <a:lnTo>
                      <a:pt x="827" y="926"/>
                    </a:lnTo>
                    <a:lnTo>
                      <a:pt x="905" y="971"/>
                    </a:lnTo>
                    <a:lnTo>
                      <a:pt x="979" y="842"/>
                    </a:lnTo>
                    <a:close/>
                    <a:moveTo>
                      <a:pt x="1082" y="873"/>
                    </a:moveTo>
                    <a:cubicBezTo>
                      <a:pt x="1095" y="893"/>
                      <a:pt x="1123" y="899"/>
                      <a:pt x="1144" y="886"/>
                    </a:cubicBezTo>
                    <a:cubicBezTo>
                      <a:pt x="1164" y="872"/>
                      <a:pt x="1170" y="845"/>
                      <a:pt x="1157" y="824"/>
                    </a:cubicBezTo>
                    <a:lnTo>
                      <a:pt x="1075" y="700"/>
                    </a:lnTo>
                    <a:lnTo>
                      <a:pt x="1001" y="748"/>
                    </a:lnTo>
                    <a:lnTo>
                      <a:pt x="1082" y="873"/>
                    </a:lnTo>
                    <a:close/>
                    <a:moveTo>
                      <a:pt x="265" y="290"/>
                    </a:moveTo>
                    <a:lnTo>
                      <a:pt x="265" y="846"/>
                    </a:lnTo>
                    <a:cubicBezTo>
                      <a:pt x="123" y="833"/>
                      <a:pt x="11" y="713"/>
                      <a:pt x="11" y="568"/>
                    </a:cubicBezTo>
                    <a:cubicBezTo>
                      <a:pt x="11" y="423"/>
                      <a:pt x="123" y="303"/>
                      <a:pt x="265" y="290"/>
                    </a:cubicBezTo>
                    <a:close/>
                    <a:moveTo>
                      <a:pt x="315" y="290"/>
                    </a:moveTo>
                    <a:cubicBezTo>
                      <a:pt x="457" y="303"/>
                      <a:pt x="569" y="423"/>
                      <a:pt x="569" y="568"/>
                    </a:cubicBezTo>
                    <a:cubicBezTo>
                      <a:pt x="569" y="713"/>
                      <a:pt x="457" y="833"/>
                      <a:pt x="315" y="846"/>
                    </a:cubicBezTo>
                    <a:lnTo>
                      <a:pt x="315" y="290"/>
                    </a:lnTo>
                    <a:close/>
                    <a:moveTo>
                      <a:pt x="635" y="554"/>
                    </a:moveTo>
                    <a:lnTo>
                      <a:pt x="756" y="732"/>
                    </a:lnTo>
                    <a:cubicBezTo>
                      <a:pt x="707" y="759"/>
                      <a:pt x="646" y="745"/>
                      <a:pt x="614" y="698"/>
                    </a:cubicBezTo>
                    <a:cubicBezTo>
                      <a:pt x="582" y="652"/>
                      <a:pt x="592" y="589"/>
                      <a:pt x="635" y="554"/>
                    </a:cubicBezTo>
                    <a:close/>
                    <a:moveTo>
                      <a:pt x="651" y="543"/>
                    </a:moveTo>
                    <a:cubicBezTo>
                      <a:pt x="699" y="516"/>
                      <a:pt x="760" y="530"/>
                      <a:pt x="792" y="577"/>
                    </a:cubicBezTo>
                    <a:cubicBezTo>
                      <a:pt x="824" y="623"/>
                      <a:pt x="814" y="685"/>
                      <a:pt x="772" y="721"/>
                    </a:cubicBezTo>
                    <a:lnTo>
                      <a:pt x="651" y="543"/>
                    </a:lnTo>
                    <a:close/>
                    <a:moveTo>
                      <a:pt x="1001" y="364"/>
                    </a:moveTo>
                    <a:cubicBezTo>
                      <a:pt x="1020" y="440"/>
                      <a:pt x="978" y="518"/>
                      <a:pt x="904" y="544"/>
                    </a:cubicBezTo>
                    <a:cubicBezTo>
                      <a:pt x="830" y="570"/>
                      <a:pt x="748" y="534"/>
                      <a:pt x="717" y="463"/>
                    </a:cubicBezTo>
                    <a:lnTo>
                      <a:pt x="1001" y="364"/>
                    </a:lnTo>
                    <a:close/>
                    <a:moveTo>
                      <a:pt x="703" y="393"/>
                    </a:moveTo>
                    <a:cubicBezTo>
                      <a:pt x="655" y="409"/>
                      <a:pt x="601" y="405"/>
                      <a:pt x="554" y="379"/>
                    </a:cubicBezTo>
                    <a:lnTo>
                      <a:pt x="765" y="66"/>
                    </a:lnTo>
                    <a:cubicBezTo>
                      <a:pt x="821" y="112"/>
                      <a:pt x="845" y="184"/>
                      <a:pt x="831" y="251"/>
                    </a:cubicBezTo>
                    <a:cubicBezTo>
                      <a:pt x="897" y="241"/>
                      <a:pt x="964" y="276"/>
                      <a:pt x="992" y="338"/>
                    </a:cubicBezTo>
                    <a:lnTo>
                      <a:pt x="708" y="437"/>
                    </a:lnTo>
                    <a:cubicBezTo>
                      <a:pt x="704" y="423"/>
                      <a:pt x="703" y="408"/>
                      <a:pt x="703" y="393"/>
                    </a:cubicBezTo>
                    <a:close/>
                    <a:moveTo>
                      <a:pt x="737" y="47"/>
                    </a:moveTo>
                    <a:lnTo>
                      <a:pt x="525" y="359"/>
                    </a:lnTo>
                    <a:cubicBezTo>
                      <a:pt x="450" y="298"/>
                      <a:pt x="433" y="188"/>
                      <a:pt x="488" y="106"/>
                    </a:cubicBezTo>
                    <a:cubicBezTo>
                      <a:pt x="543" y="24"/>
                      <a:pt x="652" y="0"/>
                      <a:pt x="737" y="47"/>
                    </a:cubicBezTo>
                    <a:close/>
                  </a:path>
                </a:pathLst>
              </a:custGeom>
              <a:solidFill>
                <a:srgbClr val="071D49"/>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srgbClr val="000000"/>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grpSp>
        <p:sp>
          <p:nvSpPr>
            <p:cNvPr id="109" name="文本框 108">
              <a:extLst>
                <a:ext uri="{FF2B5EF4-FFF2-40B4-BE49-F238E27FC236}">
                  <a16:creationId xmlns:a16="http://schemas.microsoft.com/office/drawing/2014/main" id="{BDE6433F-180B-4288-BB68-0F1316A079C7}"/>
                </a:ext>
              </a:extLst>
            </p:cNvPr>
            <p:cNvSpPr txBox="1"/>
            <p:nvPr/>
          </p:nvSpPr>
          <p:spPr>
            <a:xfrm>
              <a:off x="453496" y="4760182"/>
              <a:ext cx="2247499" cy="235360"/>
            </a:xfrm>
            <a:prstGeom prst="rect">
              <a:avLst/>
            </a:prstGeom>
            <a:noFill/>
          </p:spPr>
          <p:txBody>
            <a:bodyPr wrap="square">
              <a:spAutoFit/>
            </a:bodyPr>
            <a:lstStyle/>
            <a:p>
              <a:endParaRPr lang="en-US" sz="7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11" name="文本框 110">
              <a:extLst>
                <a:ext uri="{FF2B5EF4-FFF2-40B4-BE49-F238E27FC236}">
                  <a16:creationId xmlns:a16="http://schemas.microsoft.com/office/drawing/2014/main" id="{86BD1FCA-3971-450E-9B91-0FEB87C87548}"/>
                </a:ext>
              </a:extLst>
            </p:cNvPr>
            <p:cNvSpPr txBox="1"/>
            <p:nvPr/>
          </p:nvSpPr>
          <p:spPr>
            <a:xfrm>
              <a:off x="4939748" y="4867904"/>
              <a:ext cx="2248849" cy="235360"/>
            </a:xfrm>
            <a:prstGeom prst="rect">
              <a:avLst/>
            </a:prstGeom>
            <a:noFill/>
          </p:spPr>
          <p:txBody>
            <a:bodyPr wrap="square">
              <a:spAutoFit/>
            </a:bodyPr>
            <a:lstStyle/>
            <a:p>
              <a:pPr marR="0" lvl="0" algn="l" defTabSz="914400" rtl="0" eaLnBrk="1" fontAlgn="auto" latinLnBrk="0" hangingPunct="1">
                <a:lnSpc>
                  <a:spcPct val="100000"/>
                </a:lnSpc>
                <a:spcBef>
                  <a:spcPts val="300"/>
                </a:spcBef>
                <a:spcAft>
                  <a:spcPts val="0"/>
                </a:spcAft>
                <a:buClr>
                  <a:srgbClr val="C10562"/>
                </a:buClr>
                <a:buSzTx/>
                <a:tabLst/>
                <a:defRPr/>
              </a:pPr>
              <a:endParaRPr kumimoji="1" lang="zh-CN" altLang="en-US" sz="70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endParaRPr>
            </a:p>
          </p:txBody>
        </p:sp>
      </p:grpSp>
      <p:sp>
        <p:nvSpPr>
          <p:cNvPr id="120" name="文本框 119">
            <a:extLst>
              <a:ext uri="{FF2B5EF4-FFF2-40B4-BE49-F238E27FC236}">
                <a16:creationId xmlns:a16="http://schemas.microsoft.com/office/drawing/2014/main" id="{850B32B0-6A0F-4A50-8555-E30B21630B15}"/>
              </a:ext>
            </a:extLst>
          </p:cNvPr>
          <p:cNvSpPr txBox="1"/>
          <p:nvPr/>
        </p:nvSpPr>
        <p:spPr>
          <a:xfrm>
            <a:off x="8536329" y="2199521"/>
            <a:ext cx="3655671" cy="988412"/>
          </a:xfrm>
          <a:prstGeom prst="rect">
            <a:avLst/>
          </a:prstGeom>
          <a:noFill/>
        </p:spPr>
        <p:txBody>
          <a:bodyPr wrap="square" rtlCol="0">
            <a:spAutoFit/>
          </a:bodyPr>
          <a:lstStyle/>
          <a:p>
            <a:pPr marL="171450" indent="-171450" defTabSz="457200">
              <a:lnSpc>
                <a:spcPct val="150000"/>
              </a:lnSpc>
              <a:buFont typeface="Arial" panose="020B0604020202020204" pitchFamily="34" charset="0"/>
              <a:buChar char="•"/>
            </a:pPr>
            <a:r>
              <a:rPr kumimoji="1" lang="zh-CN" altLang="en-US" sz="100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rPr>
              <a:t>接受抗病毒治疗</a:t>
            </a:r>
            <a:r>
              <a:rPr kumimoji="1" lang="en-US" altLang="zh-CN" sz="100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rPr>
              <a:t>HIV</a:t>
            </a:r>
            <a:r>
              <a:rPr kumimoji="1" lang="zh-CN" altLang="en-US" sz="100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rPr>
              <a:t>感染者比未接受治疗者具有更高的血脂水平。血脂异常是心血管事件的主要危险因素，</a:t>
            </a:r>
            <a:r>
              <a:rPr kumimoji="1" lang="en-US" altLang="zh-CN" sz="100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rPr>
              <a:t>HIV</a:t>
            </a:r>
            <a:r>
              <a:rPr kumimoji="1" lang="zh-CN" altLang="en-US" sz="100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rPr>
              <a:t>感染者相比非</a:t>
            </a:r>
            <a:r>
              <a:rPr kumimoji="1" lang="en-US" altLang="zh-CN" sz="100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rPr>
              <a:t>HIV</a:t>
            </a:r>
            <a:r>
              <a:rPr kumimoji="1" lang="zh-CN" altLang="en-US" sz="100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rPr>
              <a:t>感染者的心血管疾病和全因死亡风险分别升高</a:t>
            </a:r>
            <a:r>
              <a:rPr kumimoji="1" lang="en-US" altLang="zh-CN" sz="1000" dirty="0">
                <a:latin typeface="Times New Roman" panose="02020603050405020304" pitchFamily="18" charset="0"/>
                <a:ea typeface="微软雅黑" panose="020B0503020204020204" pitchFamily="34" charset="-122"/>
                <a:cs typeface="Times New Roman" panose="02020603050405020304" pitchFamily="18" charset="0"/>
              </a:rPr>
              <a:t>54%</a:t>
            </a:r>
            <a:r>
              <a:rPr kumimoji="1" lang="zh-CN" altLang="en-US" sz="1000" dirty="0">
                <a:latin typeface="Times New Roman" panose="02020603050405020304" pitchFamily="18" charset="0"/>
                <a:ea typeface="微软雅黑" panose="020B0503020204020204" pitchFamily="34" charset="-122"/>
                <a:cs typeface="Times New Roman" panose="02020603050405020304" pitchFamily="18" charset="0"/>
              </a:rPr>
              <a:t>和</a:t>
            </a:r>
            <a:r>
              <a:rPr kumimoji="1" lang="en-US" altLang="zh-CN" sz="1000" dirty="0">
                <a:latin typeface="Times New Roman" panose="02020603050405020304" pitchFamily="18" charset="0"/>
                <a:ea typeface="微软雅黑" panose="020B0503020204020204" pitchFamily="34" charset="-122"/>
                <a:cs typeface="Times New Roman" panose="02020603050405020304" pitchFamily="18" charset="0"/>
              </a:rPr>
              <a:t>168%</a:t>
            </a:r>
            <a:r>
              <a:rPr lang="en-US" altLang="zh-CN" sz="1000" baseline="30000" dirty="0">
                <a:latin typeface="Times New Roman" panose="02020603050405020304" pitchFamily="18" charset="0"/>
                <a:ea typeface="微软雅黑" panose="020B0503020204020204" pitchFamily="34" charset="-122"/>
                <a:cs typeface="Times New Roman" panose="02020603050405020304" pitchFamily="18" charset="0"/>
              </a:rPr>
              <a:t> 7 </a:t>
            </a:r>
            <a:r>
              <a:rPr kumimoji="1" lang="zh-CN" altLang="en-US" sz="100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rPr>
              <a:t>。</a:t>
            </a:r>
            <a:endParaRPr kumimoji="1" lang="zh-CN" altLang="en-US" sz="1000" baseline="30000" dirty="0">
              <a:solidFill>
                <a:prstClr val="black"/>
              </a:solidFill>
              <a:latin typeface="Times New Roman" panose="02020603050405020304" pitchFamily="18" charset="0"/>
              <a:ea typeface="微软雅黑" panose="020B0503020204020204" pitchFamily="34" charset="-122"/>
              <a:cs typeface="Times New Roman" panose="02020603050405020304" pitchFamily="18" charset="0"/>
            </a:endParaRPr>
          </a:p>
        </p:txBody>
      </p:sp>
      <p:grpSp>
        <p:nvGrpSpPr>
          <p:cNvPr id="12" name="组合 11">
            <a:extLst>
              <a:ext uri="{FF2B5EF4-FFF2-40B4-BE49-F238E27FC236}">
                <a16:creationId xmlns:a16="http://schemas.microsoft.com/office/drawing/2014/main" id="{B324D941-9268-44AA-9461-AE7A669E7BAF}"/>
              </a:ext>
            </a:extLst>
          </p:cNvPr>
          <p:cNvGrpSpPr/>
          <p:nvPr/>
        </p:nvGrpSpPr>
        <p:grpSpPr>
          <a:xfrm>
            <a:off x="852074" y="2247603"/>
            <a:ext cx="2069719" cy="1513221"/>
            <a:chOff x="1838069" y="1399965"/>
            <a:chExt cx="1790609" cy="1242264"/>
          </a:xfrm>
        </p:grpSpPr>
        <p:graphicFrame>
          <p:nvGraphicFramePr>
            <p:cNvPr id="132" name="图表 131">
              <a:extLst>
                <a:ext uri="{FF2B5EF4-FFF2-40B4-BE49-F238E27FC236}">
                  <a16:creationId xmlns:a16="http://schemas.microsoft.com/office/drawing/2014/main" id="{46C6D8C9-C541-4DBC-BC1F-7440F9EE57F4}"/>
                </a:ext>
              </a:extLst>
            </p:cNvPr>
            <p:cNvGraphicFramePr/>
            <p:nvPr/>
          </p:nvGraphicFramePr>
          <p:xfrm>
            <a:off x="1873667" y="1399965"/>
            <a:ext cx="1755011" cy="124226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33" name="图表 132">
              <a:extLst>
                <a:ext uri="{FF2B5EF4-FFF2-40B4-BE49-F238E27FC236}">
                  <a16:creationId xmlns:a16="http://schemas.microsoft.com/office/drawing/2014/main" id="{6C32BD43-6C02-4D68-AF26-0778B727B080}"/>
                </a:ext>
              </a:extLst>
            </p:cNvPr>
            <p:cNvGraphicFramePr/>
            <p:nvPr/>
          </p:nvGraphicFramePr>
          <p:xfrm>
            <a:off x="1838069" y="1417183"/>
            <a:ext cx="1790609" cy="1207930"/>
          </p:xfrm>
          <a:graphic>
            <a:graphicData uri="http://schemas.openxmlformats.org/drawingml/2006/chart">
              <c:chart xmlns:c="http://schemas.openxmlformats.org/drawingml/2006/chart" xmlns:r="http://schemas.openxmlformats.org/officeDocument/2006/relationships" r:id="rId4"/>
            </a:graphicData>
          </a:graphic>
        </p:graphicFrame>
        <p:sp>
          <p:nvSpPr>
            <p:cNvPr id="134" name="文本框 133">
              <a:extLst>
                <a:ext uri="{FF2B5EF4-FFF2-40B4-BE49-F238E27FC236}">
                  <a16:creationId xmlns:a16="http://schemas.microsoft.com/office/drawing/2014/main" id="{50EB0831-63EF-40C0-A155-4098D1A3627A}"/>
                </a:ext>
              </a:extLst>
            </p:cNvPr>
            <p:cNvSpPr txBox="1"/>
            <p:nvPr/>
          </p:nvSpPr>
          <p:spPr>
            <a:xfrm>
              <a:off x="2063153" y="1788853"/>
              <a:ext cx="1325256" cy="227400"/>
            </a:xfrm>
            <a:prstGeom prst="rect">
              <a:avLst/>
            </a:prstGeom>
            <a:noFill/>
          </p:spPr>
          <p:txBody>
            <a:bodyPr wrap="square" rtlCol="0">
              <a:spAutoFit/>
            </a:bodyPr>
            <a:lstStyle/>
            <a:p>
              <a:pPr algn="ctr"/>
              <a:r>
                <a:rPr kumimoji="1" lang="en-US" altLang="zh-CN" sz="1200" b="1" dirty="0">
                  <a:solidFill>
                    <a:srgbClr val="C10562"/>
                  </a:solidFill>
                  <a:latin typeface="Times New Roman" panose="02020603050405020304" pitchFamily="18" charset="0"/>
                  <a:ea typeface="微软雅黑" panose="020B0503020204020204" pitchFamily="34" charset="-122"/>
                  <a:cs typeface="Times New Roman" panose="02020603050405020304" pitchFamily="18" charset="0"/>
                </a:rPr>
                <a:t>35.7%</a:t>
              </a:r>
              <a:endParaRPr kumimoji="1" lang="zh-CN" altLang="en-US" sz="1200" b="1" dirty="0">
                <a:solidFill>
                  <a:srgbClr val="C10562"/>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35" name="文本框 134">
              <a:extLst>
                <a:ext uri="{FF2B5EF4-FFF2-40B4-BE49-F238E27FC236}">
                  <a16:creationId xmlns:a16="http://schemas.microsoft.com/office/drawing/2014/main" id="{4A0E7C52-37DA-4953-8718-FCA1C1B3AECE}"/>
                </a:ext>
              </a:extLst>
            </p:cNvPr>
            <p:cNvSpPr txBox="1"/>
            <p:nvPr/>
          </p:nvSpPr>
          <p:spPr>
            <a:xfrm>
              <a:off x="2288464" y="2049565"/>
              <a:ext cx="902774" cy="176867"/>
            </a:xfrm>
            <a:prstGeom prst="rect">
              <a:avLst/>
            </a:prstGeom>
            <a:noFill/>
          </p:spPr>
          <p:txBody>
            <a:bodyPr wrap="square" rtlCol="0">
              <a:spAutoFit/>
            </a:bodyPr>
            <a:lstStyle/>
            <a:p>
              <a:pPr algn="ctr"/>
              <a:r>
                <a:rPr kumimoji="1" lang="zh-CN" altLang="en-US" sz="1200" b="1" baseline="300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希望减少药物数量</a:t>
              </a:r>
            </a:p>
          </p:txBody>
        </p:sp>
      </p:grpSp>
      <p:sp>
        <p:nvSpPr>
          <p:cNvPr id="137" name="文本框 136">
            <a:extLst>
              <a:ext uri="{FF2B5EF4-FFF2-40B4-BE49-F238E27FC236}">
                <a16:creationId xmlns:a16="http://schemas.microsoft.com/office/drawing/2014/main" id="{31349802-4DD7-4F5A-B2C6-F7D85D182753}"/>
              </a:ext>
            </a:extLst>
          </p:cNvPr>
          <p:cNvSpPr txBox="1"/>
          <p:nvPr/>
        </p:nvSpPr>
        <p:spPr>
          <a:xfrm>
            <a:off x="267368" y="1052981"/>
            <a:ext cx="11657263" cy="307777"/>
          </a:xfrm>
          <a:prstGeom prst="rect">
            <a:avLst/>
          </a:prstGeom>
          <a:noFill/>
        </p:spPr>
        <p:txBody>
          <a:bodyPr wrap="square">
            <a:spAutoFit/>
          </a:bodyPr>
          <a:lstStyle/>
          <a:p>
            <a:pPr marL="285750" indent="-285750">
              <a:buFont typeface="Wingdings" panose="05000000000000000000" pitchFamily="2" charset="2"/>
              <a:buChar char="q"/>
            </a:pPr>
            <a:r>
              <a:rPr kumimoji="1" lang="zh-CN" altLang="en-US" sz="1400" b="1" dirty="0">
                <a:latin typeface="Times New Roman" panose="02020603050405020304" pitchFamily="18" charset="0"/>
                <a:ea typeface="微软雅黑" panose="020B0503020204020204" pitchFamily="34" charset="-122"/>
                <a:cs typeface="Times New Roman" panose="02020603050405020304" pitchFamily="18" charset="0"/>
              </a:rPr>
              <a:t>随着</a:t>
            </a:r>
            <a:r>
              <a:rPr kumimoji="1" lang="en-US" altLang="zh-CN" sz="1400" b="1" dirty="0">
                <a:latin typeface="Times New Roman" panose="02020603050405020304" pitchFamily="18" charset="0"/>
                <a:ea typeface="微软雅黑" panose="020B0503020204020204" pitchFamily="34" charset="-122"/>
                <a:cs typeface="Times New Roman" panose="02020603050405020304" pitchFamily="18" charset="0"/>
              </a:rPr>
              <a:t>HIV</a:t>
            </a:r>
            <a:r>
              <a:rPr kumimoji="1" lang="zh-CN" altLang="en-US" sz="1400" b="1" dirty="0">
                <a:latin typeface="Times New Roman" panose="02020603050405020304" pitchFamily="18" charset="0"/>
                <a:ea typeface="微软雅黑" panose="020B0503020204020204" pitchFamily="34" charset="-122"/>
                <a:cs typeface="Times New Roman" panose="02020603050405020304" pitchFamily="18" charset="0"/>
              </a:rPr>
              <a:t>感染者生存期的延长，与年龄相关的慢性疾病逐渐增多。长期服药会带来药物相互作用、血脂异常等问题，需要转换用药</a:t>
            </a:r>
            <a:endParaRPr kumimoji="1" lang="en-US" altLang="zh-CN" sz="1400" b="1" dirty="0">
              <a:latin typeface="Times New Roman" panose="02020603050405020304" pitchFamily="18" charset="0"/>
              <a:ea typeface="微软雅黑" panose="020B0503020204020204" pitchFamily="34" charset="-122"/>
              <a:cs typeface="Times New Roman" panose="02020603050405020304" pitchFamily="18" charset="0"/>
            </a:endParaRPr>
          </a:p>
        </p:txBody>
      </p:sp>
      <p:graphicFrame>
        <p:nvGraphicFramePr>
          <p:cNvPr id="8" name="表格 8">
            <a:extLst>
              <a:ext uri="{FF2B5EF4-FFF2-40B4-BE49-F238E27FC236}">
                <a16:creationId xmlns:a16="http://schemas.microsoft.com/office/drawing/2014/main" id="{08726CF0-1AA9-40DD-8197-E283BAC7B4AC}"/>
              </a:ext>
            </a:extLst>
          </p:cNvPr>
          <p:cNvGraphicFramePr>
            <a:graphicFrameLocks noGrp="1"/>
          </p:cNvGraphicFramePr>
          <p:nvPr>
            <p:extLst>
              <p:ext uri="{D42A27DB-BD31-4B8C-83A1-F6EECF244321}">
                <p14:modId xmlns:p14="http://schemas.microsoft.com/office/powerpoint/2010/main" val="212773780"/>
              </p:ext>
            </p:extLst>
          </p:nvPr>
        </p:nvGraphicFramePr>
        <p:xfrm>
          <a:off x="148093" y="4477616"/>
          <a:ext cx="11954479" cy="1667239"/>
        </p:xfrm>
        <a:graphic>
          <a:graphicData uri="http://schemas.openxmlformats.org/drawingml/2006/table">
            <a:tbl>
              <a:tblPr firstRow="1" bandRow="1">
                <a:tableStyleId>{5C22544A-7EE6-4342-B048-85BDC9FD1C3A}</a:tableStyleId>
              </a:tblPr>
              <a:tblGrid>
                <a:gridCol w="1817342">
                  <a:extLst>
                    <a:ext uri="{9D8B030D-6E8A-4147-A177-3AD203B41FA5}">
                      <a16:colId xmlns:a16="http://schemas.microsoft.com/office/drawing/2014/main" val="3269219622"/>
                    </a:ext>
                  </a:extLst>
                </a:gridCol>
                <a:gridCol w="2157612">
                  <a:extLst>
                    <a:ext uri="{9D8B030D-6E8A-4147-A177-3AD203B41FA5}">
                      <a16:colId xmlns:a16="http://schemas.microsoft.com/office/drawing/2014/main" val="2118339392"/>
                    </a:ext>
                  </a:extLst>
                </a:gridCol>
                <a:gridCol w="3798545">
                  <a:extLst>
                    <a:ext uri="{9D8B030D-6E8A-4147-A177-3AD203B41FA5}">
                      <a16:colId xmlns:a16="http://schemas.microsoft.com/office/drawing/2014/main" val="3984250714"/>
                    </a:ext>
                  </a:extLst>
                </a:gridCol>
                <a:gridCol w="4180980">
                  <a:extLst>
                    <a:ext uri="{9D8B030D-6E8A-4147-A177-3AD203B41FA5}">
                      <a16:colId xmlns:a16="http://schemas.microsoft.com/office/drawing/2014/main" val="2693501143"/>
                    </a:ext>
                  </a:extLst>
                </a:gridCol>
              </a:tblGrid>
              <a:tr h="495768">
                <a:tc>
                  <a:txBody>
                    <a:bodyPr/>
                    <a:lstStyle/>
                    <a:p>
                      <a:pPr algn="ctr"/>
                      <a:r>
                        <a:rPr lang="zh-CN" altLang="en-US" sz="1400" dirty="0">
                          <a:latin typeface="Times New Roman" panose="02020603050405020304" pitchFamily="18" charset="0"/>
                          <a:ea typeface="微软雅黑" panose="020B0503020204020204" pitchFamily="34" charset="-122"/>
                          <a:cs typeface="Times New Roman" panose="02020603050405020304" pitchFamily="18" charset="0"/>
                        </a:rPr>
                        <a:t>同类药品比较</a:t>
                      </a:r>
                      <a:endParaRPr lang="en-US" sz="140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solidFill>
                      <a:srgbClr val="C10562"/>
                    </a:solidFill>
                  </a:tcPr>
                </a:tc>
                <a:tc>
                  <a:txBody>
                    <a:bodyPr/>
                    <a:lstStyle/>
                    <a:p>
                      <a:pPr algn="ct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药物数量</a:t>
                      </a:r>
                      <a:endParaRPr lang="en-US" sz="120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solidFill>
                      <a:srgbClr val="C10562"/>
                    </a:solidFill>
                  </a:tcPr>
                </a:tc>
                <a:tc>
                  <a:txBody>
                    <a:bodyPr/>
                    <a:lstStyle/>
                    <a:p>
                      <a:pPr algn="ct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药物相互作用风险</a:t>
                      </a:r>
                      <a:endParaRPr lang="en-US" altLang="zh-CN" sz="1200" dirty="0">
                        <a:latin typeface="Times New Roman" panose="02020603050405020304" pitchFamily="18" charset="0"/>
                        <a:ea typeface="微软雅黑" panose="020B0503020204020204" pitchFamily="34" charset="-122"/>
                        <a:cs typeface="Times New Roman" panose="02020603050405020304" pitchFamily="18" charset="0"/>
                      </a:endParaRPr>
                    </a:p>
                    <a:p>
                      <a:pPr algn="ctr"/>
                      <a:r>
                        <a:rPr lang="zh-CN" altLang="en-US" sz="1050" dirty="0">
                          <a:latin typeface="Times New Roman" panose="02020603050405020304" pitchFamily="18" charset="0"/>
                          <a:ea typeface="微软雅黑" panose="020B0503020204020204" pitchFamily="34" charset="-122"/>
                          <a:cs typeface="Times New Roman" panose="02020603050405020304" pitchFamily="18" charset="0"/>
                        </a:rPr>
                        <a:t>（每年≥</a:t>
                      </a:r>
                      <a:r>
                        <a:rPr lang="en-US" altLang="zh-CN" sz="1050" dirty="0">
                          <a:latin typeface="Times New Roman" panose="02020603050405020304" pitchFamily="18" charset="0"/>
                          <a:ea typeface="微软雅黑" panose="020B0503020204020204" pitchFamily="34" charset="-122"/>
                          <a:cs typeface="Times New Roman" panose="02020603050405020304" pitchFamily="18" charset="0"/>
                        </a:rPr>
                        <a:t>1</a:t>
                      </a:r>
                      <a:r>
                        <a:rPr lang="zh-CN" altLang="en-US" sz="1050" dirty="0">
                          <a:latin typeface="Times New Roman" panose="02020603050405020304" pitchFamily="18" charset="0"/>
                          <a:ea typeface="微软雅黑" panose="020B0503020204020204" pitchFamily="34" charset="-122"/>
                          <a:cs typeface="Times New Roman" panose="02020603050405020304" pitchFamily="18" charset="0"/>
                        </a:rPr>
                        <a:t>次药物相互作用的发生率）</a:t>
                      </a:r>
                      <a:endParaRPr lang="en-US" sz="105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solidFill>
                      <a:srgbClr val="C10562"/>
                    </a:solidFill>
                  </a:tcPr>
                </a:tc>
                <a:tc>
                  <a:txBody>
                    <a:bodyPr/>
                    <a:lstStyle/>
                    <a:p>
                      <a:pPr algn="ctr"/>
                      <a:r>
                        <a:rPr lang="zh-CN" altLang="en-US" sz="1200" dirty="0">
                          <a:latin typeface="Times New Roman" panose="02020603050405020304" pitchFamily="18" charset="0"/>
                          <a:ea typeface="微软雅黑" panose="020B0503020204020204" pitchFamily="34" charset="-122"/>
                          <a:cs typeface="Times New Roman" panose="02020603050405020304" pitchFamily="18" charset="0"/>
                        </a:rPr>
                        <a:t>血脂升高风险</a:t>
                      </a:r>
                      <a:endParaRPr lang="en-US" sz="120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solidFill>
                      <a:srgbClr val="C10562"/>
                    </a:solidFill>
                  </a:tcPr>
                </a:tc>
                <a:extLst>
                  <a:ext uri="{0D108BD9-81ED-4DB2-BD59-A6C34878D82A}">
                    <a16:rowId xmlns:a16="http://schemas.microsoft.com/office/drawing/2014/main" val="3115221132"/>
                  </a:ext>
                </a:extLst>
              </a:tr>
              <a:tr h="561871">
                <a:tc>
                  <a:txBody>
                    <a:bodyPr/>
                    <a:lstStyle/>
                    <a:p>
                      <a:pPr algn="ctr"/>
                      <a:r>
                        <a:rPr kumimoji="1" lang="zh-CN" altLang="en-US" sz="1400" b="1" kern="1200" dirty="0">
                          <a:solidFill>
                            <a:srgbClr val="D25E97"/>
                          </a:solidFill>
                          <a:latin typeface="Times New Roman" panose="02020603050405020304" pitchFamily="18" charset="0"/>
                          <a:ea typeface="微软雅黑" panose="020B0503020204020204" pitchFamily="34" charset="-122"/>
                          <a:cs typeface="Times New Roman" panose="02020603050405020304" pitchFamily="18" charset="0"/>
                        </a:rPr>
                        <a:t>拉米夫定多替拉韦片</a:t>
                      </a:r>
                      <a:endParaRPr kumimoji="1" lang="en-US" sz="1200" b="1" kern="1200" dirty="0">
                        <a:solidFill>
                          <a:srgbClr val="D25E97"/>
                        </a:solidFill>
                        <a:latin typeface="Times New Roman" panose="02020603050405020304" pitchFamily="18" charset="0"/>
                        <a:ea typeface="微软雅黑" panose="020B0503020204020204" pitchFamily="34" charset="-122"/>
                        <a:cs typeface="Times New Roman" panose="02020603050405020304" pitchFamily="18" charset="0"/>
                      </a:endParaRPr>
                    </a:p>
                  </a:txBody>
                  <a:tcPr anchor="ctr">
                    <a:solidFill>
                      <a:schemeClr val="bg1">
                        <a:lumMod val="95000"/>
                      </a:schemeClr>
                    </a:solidFill>
                  </a:tcPr>
                </a:tc>
                <a:tc>
                  <a:txBody>
                    <a:bodyPr/>
                    <a:lstStyle/>
                    <a:p>
                      <a:pPr algn="ctr"/>
                      <a:r>
                        <a:rPr kumimoji="1" lang="en-US" sz="1800" b="1" kern="1200" dirty="0">
                          <a:solidFill>
                            <a:srgbClr val="D25E97"/>
                          </a:solidFill>
                          <a:latin typeface="Times New Roman" panose="02020603050405020304" pitchFamily="18" charset="0"/>
                          <a:ea typeface="微软雅黑" panose="020B0503020204020204" pitchFamily="34" charset="-122"/>
                          <a:cs typeface="Times New Roman" panose="02020603050405020304" pitchFamily="18" charset="0"/>
                        </a:rPr>
                        <a:t>2</a:t>
                      </a:r>
                      <a:r>
                        <a:rPr kumimoji="1" lang="zh-CN" altLang="en-US" sz="1400" b="1" kern="1200" dirty="0">
                          <a:solidFill>
                            <a:srgbClr val="D25E97"/>
                          </a:solidFill>
                          <a:latin typeface="Times New Roman" panose="02020603050405020304" pitchFamily="18" charset="0"/>
                          <a:ea typeface="微软雅黑" panose="020B0503020204020204" pitchFamily="34" charset="-122"/>
                          <a:cs typeface="Times New Roman" panose="02020603050405020304" pitchFamily="18" charset="0"/>
                        </a:rPr>
                        <a:t>个</a:t>
                      </a:r>
                      <a:r>
                        <a:rPr kumimoji="1" lang="en-US" altLang="zh-CN" sz="1200" b="1" kern="1200" baseline="300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8</a:t>
                      </a:r>
                    </a:p>
                    <a:p>
                      <a:pPr marL="0" indent="0" algn="ctr">
                        <a:buFont typeface="Arial" panose="020B0604020202020204" pitchFamily="34" charset="0"/>
                        <a:buNone/>
                      </a:pPr>
                      <a:r>
                        <a:rPr lang="zh-CN" altLang="en-US" sz="1000" kern="1200" baseline="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多替拉韦，拉米夫定</a:t>
                      </a:r>
                      <a:endParaRPr lang="en-US" sz="1000" kern="1200" baseline="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400" b="1" kern="1200" dirty="0">
                          <a:solidFill>
                            <a:srgbClr val="D25E97"/>
                          </a:solidFill>
                          <a:latin typeface="Times New Roman" panose="02020603050405020304" pitchFamily="18" charset="0"/>
                          <a:ea typeface="微软雅黑" panose="020B0503020204020204" pitchFamily="34" charset="-122"/>
                          <a:cs typeface="Times New Roman" panose="02020603050405020304" pitchFamily="18" charset="0"/>
                        </a:rPr>
                        <a:t>13.7%</a:t>
                      </a:r>
                      <a:r>
                        <a:rPr kumimoji="1" lang="en-US" sz="1400" b="0" kern="1200" baseline="300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10</a:t>
                      </a:r>
                      <a:endParaRPr kumimoji="1" lang="en-US" sz="1400" b="1" kern="1200" dirty="0">
                        <a:solidFill>
                          <a:srgbClr val="D25E97"/>
                        </a:solidFill>
                        <a:latin typeface="Times New Roman" panose="02020603050405020304" pitchFamily="18" charset="0"/>
                        <a:ea typeface="微软雅黑" panose="020B0503020204020204" pitchFamily="34" charset="-122"/>
                        <a:cs typeface="Times New Roman" panose="02020603050405020304" pitchFamily="18" charset="0"/>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1400" b="1" kern="1200" dirty="0">
                          <a:solidFill>
                            <a:srgbClr val="D25E97"/>
                          </a:solidFill>
                          <a:latin typeface="Times New Roman" panose="02020603050405020304" pitchFamily="18" charset="0"/>
                          <a:ea typeface="微软雅黑" panose="020B0503020204020204" pitchFamily="34" charset="-122"/>
                          <a:cs typeface="Times New Roman" panose="02020603050405020304" pitchFamily="18" charset="0"/>
                        </a:rPr>
                        <a:t>不含丙酚替诺福韦</a:t>
                      </a:r>
                      <a:r>
                        <a:rPr kumimoji="1" lang="en-US" altLang="zh-CN" sz="1400" b="1" kern="1200" dirty="0">
                          <a:solidFill>
                            <a:srgbClr val="D25E97"/>
                          </a:solidFill>
                          <a:latin typeface="Times New Roman" panose="02020603050405020304" pitchFamily="18" charset="0"/>
                          <a:ea typeface="微软雅黑" panose="020B0503020204020204" pitchFamily="34" charset="-122"/>
                          <a:cs typeface="Times New Roman" panose="02020603050405020304" pitchFamily="18" charset="0"/>
                        </a:rPr>
                        <a:t>(TAF)</a:t>
                      </a:r>
                      <a:r>
                        <a:rPr kumimoji="1" lang="zh-CN" altLang="en-US" sz="1400" b="1" kern="1200" dirty="0">
                          <a:solidFill>
                            <a:srgbClr val="D25E97"/>
                          </a:solidFill>
                          <a:latin typeface="Times New Roman" panose="02020603050405020304" pitchFamily="18" charset="0"/>
                          <a:ea typeface="微软雅黑" panose="020B0503020204020204" pitchFamily="34" charset="-122"/>
                          <a:cs typeface="Times New Roman" panose="02020603050405020304" pitchFamily="18" charset="0"/>
                        </a:rPr>
                        <a:t>成分，有利于血脂代谢</a:t>
                      </a:r>
                      <a:r>
                        <a:rPr kumimoji="1" lang="en-US" altLang="zh-CN" sz="1400" b="0" kern="1200" baseline="300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11,12</a:t>
                      </a:r>
                      <a:endParaRPr kumimoji="1" lang="en-US" sz="1400" b="0" kern="1200" baseline="300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a:txBody>
                  <a:tcPr anchor="ctr">
                    <a:solidFill>
                      <a:schemeClr val="bg1">
                        <a:lumMod val="95000"/>
                      </a:schemeClr>
                    </a:solidFill>
                  </a:tcPr>
                </a:tc>
                <a:extLst>
                  <a:ext uri="{0D108BD9-81ED-4DB2-BD59-A6C34878D82A}">
                    <a16:rowId xmlns:a16="http://schemas.microsoft.com/office/drawing/2014/main" val="1398928838"/>
                  </a:ext>
                </a:extLst>
              </a:tr>
              <a:tr h="561871">
                <a:tc>
                  <a:txBody>
                    <a:bodyPr/>
                    <a:lstStyle/>
                    <a:p>
                      <a:pPr algn="ctr"/>
                      <a:r>
                        <a:rPr lang="zh-CN" altLang="en-US" sz="1100" dirty="0">
                          <a:latin typeface="Times New Roman" panose="02020603050405020304" pitchFamily="18" charset="0"/>
                          <a:ea typeface="微软雅黑" panose="020B0503020204020204" pitchFamily="34" charset="-122"/>
                          <a:cs typeface="Times New Roman" panose="02020603050405020304" pitchFamily="18" charset="0"/>
                        </a:rPr>
                        <a:t>艾考恩丙替片</a:t>
                      </a:r>
                      <a:endParaRPr lang="en-US" sz="1100" dirty="0">
                        <a:latin typeface="Times New Roman" panose="02020603050405020304" pitchFamily="18" charset="0"/>
                        <a:ea typeface="微软雅黑" panose="020B0503020204020204" pitchFamily="34" charset="-122"/>
                        <a:cs typeface="Times New Roman" panose="02020603050405020304" pitchFamily="18" charset="0"/>
                      </a:endParaRPr>
                    </a:p>
                  </a:txBody>
                  <a:tcPr anchor="ctr">
                    <a:solidFill>
                      <a:schemeClr val="bg1">
                        <a:lumMod val="95000"/>
                      </a:schemeClr>
                    </a:solidFill>
                  </a:tcPr>
                </a:tc>
                <a:tc>
                  <a:txBody>
                    <a:bodyPr/>
                    <a:lstStyle/>
                    <a:p>
                      <a:pPr algn="ctr"/>
                      <a:r>
                        <a:rPr lang="en-US" sz="14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4</a:t>
                      </a:r>
                      <a:r>
                        <a:rPr lang="zh-CN" altLang="en-US" sz="12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个</a:t>
                      </a:r>
                      <a:r>
                        <a:rPr lang="en-US" altLang="zh-CN" sz="1200" baseline="300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9</a:t>
                      </a:r>
                    </a:p>
                    <a:p>
                      <a:pPr marL="0" indent="0" algn="ctr">
                        <a:buFont typeface="Arial" panose="020B0604020202020204" pitchFamily="34" charset="0"/>
                        <a:buNone/>
                      </a:pPr>
                      <a:r>
                        <a:rPr lang="zh-CN" altLang="en-US" sz="1000" baseline="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艾维雷韦，考比司他，</a:t>
                      </a:r>
                      <a:endParaRPr lang="en-US" altLang="zh-CN" sz="1000" baseline="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a:p>
                      <a:pPr marL="0" indent="0" algn="ctr">
                        <a:buFont typeface="Arial" panose="020B0604020202020204" pitchFamily="34" charset="0"/>
                        <a:buNone/>
                      </a:pPr>
                      <a:r>
                        <a:rPr lang="zh-CN" altLang="en-US" sz="1000" kern="1200" baseline="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恩曲他</a:t>
                      </a:r>
                      <a:r>
                        <a:rPr lang="zh-CN" altLang="en-US" sz="1000" baseline="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滨，丙酚替诺福韦</a:t>
                      </a:r>
                      <a:endParaRPr lang="en-US" sz="1200" baseline="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sz="1200" b="0" kern="12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48.2%</a:t>
                      </a:r>
                      <a:r>
                        <a:rPr kumimoji="1" lang="en-US" sz="1200" b="0" kern="1200" baseline="300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10</a:t>
                      </a:r>
                    </a:p>
                  </a:txBody>
                  <a:tcPr anchor="c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CN" altLang="en-US" sz="1200" b="0" kern="12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含</a:t>
                      </a:r>
                      <a:r>
                        <a:rPr kumimoji="1" lang="en-US" altLang="zh-CN" sz="1200" b="0" kern="12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TAF</a:t>
                      </a:r>
                      <a:r>
                        <a:rPr kumimoji="1" lang="zh-CN" altLang="en-US" sz="1200" b="0" kern="12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成分，会显著升高血脂</a:t>
                      </a:r>
                      <a:r>
                        <a:rPr kumimoji="1" lang="en-US" altLang="zh-CN" sz="1200" b="0" kern="1200" baseline="300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rPr>
                        <a:t>13</a:t>
                      </a:r>
                      <a:endParaRPr kumimoji="1" lang="en-US" sz="1200" b="0" kern="1200" baseline="30000"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a:txBody>
                  <a:tcPr anchor="ctr">
                    <a:solidFill>
                      <a:schemeClr val="bg1">
                        <a:lumMod val="95000"/>
                      </a:schemeClr>
                    </a:solidFill>
                  </a:tcPr>
                </a:tc>
                <a:extLst>
                  <a:ext uri="{0D108BD9-81ED-4DB2-BD59-A6C34878D82A}">
                    <a16:rowId xmlns:a16="http://schemas.microsoft.com/office/drawing/2014/main" val="2539674647"/>
                  </a:ext>
                </a:extLst>
              </a:tr>
            </a:tbl>
          </a:graphicData>
        </a:graphic>
      </p:graphicFrame>
      <p:sp>
        <p:nvSpPr>
          <p:cNvPr id="74" name="箭头: 下 73">
            <a:extLst>
              <a:ext uri="{FF2B5EF4-FFF2-40B4-BE49-F238E27FC236}">
                <a16:creationId xmlns:a16="http://schemas.microsoft.com/office/drawing/2014/main" id="{F8988501-30A4-4E93-9621-E5F7CEB76574}"/>
              </a:ext>
            </a:extLst>
          </p:cNvPr>
          <p:cNvSpPr/>
          <p:nvPr/>
        </p:nvSpPr>
        <p:spPr>
          <a:xfrm>
            <a:off x="5724580" y="3676819"/>
            <a:ext cx="716860" cy="462212"/>
          </a:xfrm>
          <a:prstGeom prst="downArrow">
            <a:avLst/>
          </a:prstGeom>
          <a:solidFill>
            <a:srgbClr val="C1056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Times New Roman" panose="02020603050405020304" pitchFamily="18" charset="0"/>
              <a:ea typeface="微软雅黑" panose="020B0503020204020204" pitchFamily="34" charset="-122"/>
              <a:cs typeface="Times New Roman" panose="02020603050405020304" pitchFamily="18" charset="0"/>
            </a:endParaRPr>
          </a:p>
        </p:txBody>
      </p:sp>
      <p:grpSp>
        <p:nvGrpSpPr>
          <p:cNvPr id="76" name="Group 2">
            <a:extLst>
              <a:ext uri="{FF2B5EF4-FFF2-40B4-BE49-F238E27FC236}">
                <a16:creationId xmlns:a16="http://schemas.microsoft.com/office/drawing/2014/main" id="{DC521964-5D2D-4C68-AEA1-D8FA2C4C9B74}"/>
              </a:ext>
            </a:extLst>
          </p:cNvPr>
          <p:cNvGrpSpPr/>
          <p:nvPr/>
        </p:nvGrpSpPr>
        <p:grpSpPr>
          <a:xfrm>
            <a:off x="1224950" y="-30133"/>
            <a:ext cx="9609827" cy="594701"/>
            <a:chOff x="1224950" y="264034"/>
            <a:chExt cx="9609827" cy="594701"/>
          </a:xfrm>
        </p:grpSpPr>
        <p:sp>
          <p:nvSpPr>
            <p:cNvPr id="77" name="文本框 17">
              <a:extLst>
                <a:ext uri="{FF2B5EF4-FFF2-40B4-BE49-F238E27FC236}">
                  <a16:creationId xmlns:a16="http://schemas.microsoft.com/office/drawing/2014/main" id="{ADDDE4BD-B92F-4EC5-8674-CDF6E3C8CDE8}"/>
                </a:ext>
              </a:extLst>
            </p:cNvPr>
            <p:cNvSpPr txBox="1"/>
            <p:nvPr/>
          </p:nvSpPr>
          <p:spPr>
            <a:xfrm>
              <a:off x="3305714" y="264034"/>
              <a:ext cx="544830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gradFill>
                      <a:gsLst>
                        <a:gs pos="0">
                          <a:srgbClr val="E4401D"/>
                        </a:gs>
                        <a:gs pos="88000">
                          <a:srgbClr val="F9C235">
                            <a:alpha val="0"/>
                          </a:srgbClr>
                        </a:gs>
                      </a:gsLst>
                      <a:lin ang="5400000" scaled="1"/>
                    </a:gradFill>
                  </a:ln>
                  <a:solidFill>
                    <a:srgbClr val="B8075F"/>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01</a:t>
              </a:r>
              <a:endParaRPr kumimoji="0" lang="zh-CN" altLang="en-US" sz="2000" b="1" i="0" u="none" strike="noStrike" kern="1200" cap="none" spc="0" normalizeH="0" baseline="0" noProof="0" dirty="0">
                <a:ln>
                  <a:gradFill>
                    <a:gsLst>
                      <a:gs pos="0">
                        <a:srgbClr val="E4401D"/>
                      </a:gs>
                      <a:gs pos="88000">
                        <a:srgbClr val="F9C235">
                          <a:alpha val="0"/>
                        </a:srgbClr>
                      </a:gs>
                    </a:gsLst>
                    <a:lin ang="5400000" scaled="1"/>
                  </a:gradFill>
                </a:ln>
                <a:solidFill>
                  <a:srgbClr val="B8075F"/>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p:txBody>
        </p:sp>
        <p:grpSp>
          <p:nvGrpSpPr>
            <p:cNvPr id="78" name="组合 77">
              <a:extLst>
                <a:ext uri="{FF2B5EF4-FFF2-40B4-BE49-F238E27FC236}">
                  <a16:creationId xmlns:a16="http://schemas.microsoft.com/office/drawing/2014/main" id="{57FCD3C9-5787-4BE8-BC63-2B256C58931C}"/>
                </a:ext>
              </a:extLst>
            </p:cNvPr>
            <p:cNvGrpSpPr/>
            <p:nvPr/>
          </p:nvGrpSpPr>
          <p:grpSpPr>
            <a:xfrm>
              <a:off x="1224950" y="612514"/>
              <a:ext cx="9609827" cy="246221"/>
              <a:chOff x="607784" y="3416099"/>
              <a:chExt cx="10976432" cy="246221"/>
            </a:xfrm>
          </p:grpSpPr>
          <p:sp>
            <p:nvSpPr>
              <p:cNvPr id="80" name="文本框 14">
                <a:extLst>
                  <a:ext uri="{FF2B5EF4-FFF2-40B4-BE49-F238E27FC236}">
                    <a16:creationId xmlns:a16="http://schemas.microsoft.com/office/drawing/2014/main" id="{B8BDE123-4323-4EFA-B76A-F178674523D4}"/>
                  </a:ext>
                </a:extLst>
              </p:cNvPr>
              <p:cNvSpPr txBox="1"/>
              <p:nvPr/>
            </p:nvSpPr>
            <p:spPr>
              <a:xfrm>
                <a:off x="5421399" y="3416099"/>
                <a:ext cx="1391533" cy="246221"/>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600" b="1" spc="300" dirty="0">
                    <a:solidFill>
                      <a:srgbClr val="B8075F"/>
                    </a:solidFill>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rPr>
                  <a:t>未满足需求</a:t>
                </a:r>
                <a:endParaRPr kumimoji="0" lang="zh-CN" altLang="en-US" sz="1600" b="1" i="0" u="none" strike="noStrike" kern="1200" cap="none" spc="300" normalizeH="0" baseline="0" noProof="0" dirty="0">
                  <a:ln>
                    <a:noFill/>
                  </a:ln>
                  <a:solidFill>
                    <a:srgbClr val="B8075F"/>
                  </a:solidFill>
                  <a:effectLst/>
                  <a:uLnTx/>
                  <a:uFillTx/>
                  <a:latin typeface="Times New Roman" panose="02020603050405020304" pitchFamily="18" charset="0"/>
                  <a:ea typeface="微软雅黑" panose="020B0503020204020204" pitchFamily="34" charset="-122"/>
                  <a:cs typeface="Times New Roman" panose="02020603050405020304" pitchFamily="18" charset="0"/>
                  <a:sym typeface="微软雅黑" panose="020B0503020204020204" pitchFamily="34" charset="-122"/>
                </a:endParaRPr>
              </a:p>
            </p:txBody>
          </p:sp>
          <p:cxnSp>
            <p:nvCxnSpPr>
              <p:cNvPr id="87" name="直接连接符 18">
                <a:extLst>
                  <a:ext uri="{FF2B5EF4-FFF2-40B4-BE49-F238E27FC236}">
                    <a16:creationId xmlns:a16="http://schemas.microsoft.com/office/drawing/2014/main" id="{D614C206-3412-4F4C-897E-EC74B463F22A}"/>
                  </a:ext>
                </a:extLst>
              </p:cNvPr>
              <p:cNvCxnSpPr>
                <a:cxnSpLocks/>
              </p:cNvCxnSpPr>
              <p:nvPr/>
            </p:nvCxnSpPr>
            <p:spPr>
              <a:xfrm>
                <a:off x="8506916" y="3571981"/>
                <a:ext cx="3077300" cy="0"/>
              </a:xfrm>
              <a:prstGeom prst="line">
                <a:avLst/>
              </a:prstGeom>
              <a:ln w="15875">
                <a:solidFill>
                  <a:srgbClr val="E4401D"/>
                </a:solidFill>
              </a:ln>
            </p:spPr>
            <p:style>
              <a:lnRef idx="1">
                <a:schemeClr val="accent1"/>
              </a:lnRef>
              <a:fillRef idx="0">
                <a:schemeClr val="accent1"/>
              </a:fillRef>
              <a:effectRef idx="0">
                <a:schemeClr val="accent1"/>
              </a:effectRef>
              <a:fontRef idx="minor">
                <a:schemeClr val="tx1"/>
              </a:fontRef>
            </p:style>
          </p:cxnSp>
          <p:cxnSp>
            <p:nvCxnSpPr>
              <p:cNvPr id="89" name="直接连接符 19">
                <a:extLst>
                  <a:ext uri="{FF2B5EF4-FFF2-40B4-BE49-F238E27FC236}">
                    <a16:creationId xmlns:a16="http://schemas.microsoft.com/office/drawing/2014/main" id="{F4C46A9F-489C-4069-9B82-1E09C0E7D463}"/>
                  </a:ext>
                </a:extLst>
              </p:cNvPr>
              <p:cNvCxnSpPr>
                <a:cxnSpLocks/>
              </p:cNvCxnSpPr>
              <p:nvPr/>
            </p:nvCxnSpPr>
            <p:spPr>
              <a:xfrm>
                <a:off x="607784" y="3571981"/>
                <a:ext cx="2929046" cy="0"/>
              </a:xfrm>
              <a:prstGeom prst="line">
                <a:avLst/>
              </a:prstGeom>
              <a:ln w="15875">
                <a:solidFill>
                  <a:srgbClr val="E4401D"/>
                </a:solidFill>
              </a:ln>
            </p:spPr>
            <p:style>
              <a:lnRef idx="1">
                <a:schemeClr val="accent1"/>
              </a:lnRef>
              <a:fillRef idx="0">
                <a:schemeClr val="accent1"/>
              </a:fillRef>
              <a:effectRef idx="0">
                <a:schemeClr val="accent1"/>
              </a:effectRef>
              <a:fontRef idx="minor">
                <a:schemeClr val="tx1"/>
              </a:fontRef>
            </p:style>
          </p:cxnSp>
        </p:grpSp>
      </p:grpSp>
      <p:pic>
        <p:nvPicPr>
          <p:cNvPr id="90" name="图片 89">
            <a:extLst>
              <a:ext uri="{FF2B5EF4-FFF2-40B4-BE49-F238E27FC236}">
                <a16:creationId xmlns:a16="http://schemas.microsoft.com/office/drawing/2014/main" id="{6674727B-FD38-446D-BC71-2C1D925EFB55}"/>
              </a:ext>
            </a:extLst>
          </p:cNvPr>
          <p:cNvPicPr>
            <a:picLocks noChangeAspect="1"/>
          </p:cNvPicPr>
          <p:nvPr/>
        </p:nvPicPr>
        <p:blipFill>
          <a:blip r:embed="rId5"/>
          <a:stretch>
            <a:fillRect/>
          </a:stretch>
        </p:blipFill>
        <p:spPr>
          <a:xfrm>
            <a:off x="129686" y="578760"/>
            <a:ext cx="530157" cy="541202"/>
          </a:xfrm>
          <a:prstGeom prst="rect">
            <a:avLst/>
          </a:prstGeom>
        </p:spPr>
      </p:pic>
      <p:sp>
        <p:nvSpPr>
          <p:cNvPr id="65" name="文本框 64">
            <a:extLst>
              <a:ext uri="{FF2B5EF4-FFF2-40B4-BE49-F238E27FC236}">
                <a16:creationId xmlns:a16="http://schemas.microsoft.com/office/drawing/2014/main" id="{E838B45B-42E5-4E72-B065-C6D8513DC530}"/>
              </a:ext>
            </a:extLst>
          </p:cNvPr>
          <p:cNvSpPr txBox="1"/>
          <p:nvPr/>
        </p:nvSpPr>
        <p:spPr>
          <a:xfrm>
            <a:off x="267368" y="4100333"/>
            <a:ext cx="10695272" cy="377283"/>
          </a:xfrm>
          <a:prstGeom prst="rect">
            <a:avLst/>
          </a:prstGeom>
          <a:noFill/>
        </p:spPr>
        <p:txBody>
          <a:bodyPr wrap="square">
            <a:spAutoFit/>
          </a:bodyPr>
          <a:lstStyle/>
          <a:p>
            <a:pPr marL="285750" marR="0" lvl="0" indent="-285750" defTabSz="914400" rtl="0" eaLnBrk="1" fontAlgn="auto" latinLnBrk="0" hangingPunct="1">
              <a:lnSpc>
                <a:spcPct val="150000"/>
              </a:lnSpc>
              <a:spcBef>
                <a:spcPts val="0"/>
              </a:spcBef>
              <a:spcAft>
                <a:spcPts val="0"/>
              </a:spcAft>
              <a:buClrTx/>
              <a:buSzTx/>
              <a:buFont typeface="Wingdings" panose="05000000000000000000" pitchFamily="2" charset="2"/>
              <a:buChar char="q"/>
              <a:tabLst/>
              <a:defRPr/>
            </a:pPr>
            <a:r>
              <a:rPr kumimoji="1" lang="zh-CN" altLang="en-US" sz="1400" b="1" i="0" u="none" strike="noStrike" kern="1200" cap="none" spc="0" normalizeH="0" baseline="0" noProof="0" dirty="0">
                <a:ln>
                  <a:noFill/>
                </a:ln>
                <a:effectLst/>
                <a:uLnTx/>
                <a:uFillTx/>
                <a:latin typeface="Times New Roman" panose="02020603050405020304" pitchFamily="18" charset="0"/>
                <a:ea typeface="微软雅黑" panose="020B0503020204020204" pitchFamily="34" charset="-122"/>
                <a:cs typeface="Times New Roman" panose="02020603050405020304" pitchFamily="18" charset="0"/>
              </a:rPr>
              <a:t>本品药物暴露少、药物相互作用风险小、有利于血脂代谢，能够满足合并基础疾病或血脂异常的感染者转换用药的需求</a:t>
            </a:r>
            <a:endParaRPr kumimoji="1" lang="en-US" altLang="zh-CN" sz="1400" b="1" i="0" u="none" strike="noStrike" kern="1200" cap="none" spc="0" normalizeH="0" baseline="0" noProof="0" dirty="0">
              <a:ln>
                <a:noFill/>
              </a:ln>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66" name="文本框 65">
            <a:extLst>
              <a:ext uri="{FF2B5EF4-FFF2-40B4-BE49-F238E27FC236}">
                <a16:creationId xmlns:a16="http://schemas.microsoft.com/office/drawing/2014/main" id="{95C817F0-8D13-4E30-A411-215AF6EBBB95}"/>
              </a:ext>
            </a:extLst>
          </p:cNvPr>
          <p:cNvSpPr txBox="1"/>
          <p:nvPr/>
        </p:nvSpPr>
        <p:spPr>
          <a:xfrm>
            <a:off x="-3537" y="6250141"/>
            <a:ext cx="4199318" cy="630942"/>
          </a:xfrm>
          <a:prstGeom prst="rect">
            <a:avLst/>
          </a:prstGeom>
          <a:noFill/>
        </p:spPr>
        <p:txBody>
          <a:bodyPr wrap="square">
            <a:spAutoFit/>
          </a:bodyPr>
          <a:lstStyle/>
          <a:p>
            <a:pPr marL="228600" indent="-228600">
              <a:buAutoNum type="arabicPeriod"/>
            </a:pPr>
            <a:r>
              <a:rPr lang="en-US" altLang="zh-CN" sz="700" b="0" dirty="0" err="1">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Okoli</a:t>
            </a:r>
            <a:r>
              <a:rPr lang="en-US" altLang="zh-CN" sz="7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 C, et al. </a:t>
            </a:r>
            <a:r>
              <a:rPr lang="en-US" altLang="zh-CN" sz="700" b="0" dirty="0" err="1">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Prev</a:t>
            </a:r>
            <a:r>
              <a:rPr lang="en-US" altLang="zh-CN" sz="7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 Chronic Dis . 2020;17:E22. </a:t>
            </a:r>
          </a:p>
          <a:p>
            <a:pPr marL="228600" indent="-228600">
              <a:buAutoNum type="arabicPeriod"/>
            </a:pPr>
            <a:r>
              <a:rPr lang="en-US" altLang="zh-CN" sz="7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Guaraldi G, et al. Clin Infect Dis. 2011;53(11):1120-1126.</a:t>
            </a:r>
          </a:p>
          <a:p>
            <a:pPr marL="228600" indent="-228600">
              <a:buAutoNum type="arabicPeriod"/>
            </a:pPr>
            <a:r>
              <a:rPr lang="en-US" altLang="zh-CN" sz="7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Smit M, et al. Lancet Infect Dis. 2015;15(7):810-818.</a:t>
            </a:r>
          </a:p>
          <a:p>
            <a:pPr marL="228600" indent="-228600">
              <a:buAutoNum type="arabicPeriod"/>
            </a:pPr>
            <a:r>
              <a:rPr lang="en-US" altLang="zh-CN" sz="7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Lopez-Centeno B, et al. Clin Infect Dis. 2019;71(2):353-362.</a:t>
            </a:r>
          </a:p>
          <a:p>
            <a:pPr marL="228600" indent="-228600">
              <a:buAutoNum type="arabicPeriod"/>
            </a:pPr>
            <a:r>
              <a:rPr lang="en-US" altLang="zh-CN" sz="700" b="0" dirty="0" err="1">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Okoli</a:t>
            </a:r>
            <a:r>
              <a:rPr lang="en-US" altLang="zh-CN" sz="7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 C, et al. [poster P263]. HIV Drug Therapy Glasgow; October 28-31, 2018; Glasgow, UK</a:t>
            </a:r>
          </a:p>
        </p:txBody>
      </p:sp>
      <p:sp>
        <p:nvSpPr>
          <p:cNvPr id="88" name="文本框 87">
            <a:extLst>
              <a:ext uri="{FF2B5EF4-FFF2-40B4-BE49-F238E27FC236}">
                <a16:creationId xmlns:a16="http://schemas.microsoft.com/office/drawing/2014/main" id="{DC49E4E2-5891-4283-A1EE-0A87789E9D4A}"/>
              </a:ext>
            </a:extLst>
          </p:cNvPr>
          <p:cNvSpPr txBox="1"/>
          <p:nvPr/>
        </p:nvSpPr>
        <p:spPr>
          <a:xfrm>
            <a:off x="4820784" y="6284898"/>
            <a:ext cx="5543380" cy="523220"/>
          </a:xfrm>
          <a:prstGeom prst="rect">
            <a:avLst/>
          </a:prstGeom>
          <a:noFill/>
        </p:spPr>
        <p:txBody>
          <a:bodyPr wrap="square">
            <a:spAutoFit/>
          </a:bodyPr>
          <a:lstStyle/>
          <a:p>
            <a:r>
              <a:rPr lang="en-US" altLang="zh-CN" sz="7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6. Dave JA, et al. </a:t>
            </a:r>
            <a:r>
              <a:rPr lang="en-US" altLang="zh-CN" sz="700" b="0" dirty="0" err="1">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PLoS</a:t>
            </a:r>
            <a:r>
              <a:rPr lang="en-US" altLang="zh-CN" sz="7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 One. 2016 Mar 17;11(3):e0151911. </a:t>
            </a:r>
          </a:p>
          <a:p>
            <a:r>
              <a:rPr lang="en-US" altLang="zh-CN" sz="7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7. Gooden T, et al. Presented at IAS 2021. Abstract OAA0103.</a:t>
            </a:r>
          </a:p>
          <a:p>
            <a:pPr marL="228600" indent="-228600">
              <a:buAutoNum type="arabicPeriod" startAt="8"/>
            </a:pPr>
            <a:r>
              <a:rPr lang="zh-CN" altLang="en-US" sz="7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拉米夫定多替拉韦片说明书</a:t>
            </a:r>
            <a:endParaRPr lang="en-US" altLang="zh-CN" sz="7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a:p>
            <a:pPr marL="228600" indent="-228600">
              <a:buAutoNum type="arabicPeriod" startAt="8"/>
            </a:pPr>
            <a:r>
              <a:rPr lang="zh-CN" altLang="en-US" sz="7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艾考恩丙替片说明书</a:t>
            </a:r>
            <a:endParaRPr lang="en-US" altLang="zh-CN" sz="7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94" name="文本框 93">
            <a:extLst>
              <a:ext uri="{FF2B5EF4-FFF2-40B4-BE49-F238E27FC236}">
                <a16:creationId xmlns:a16="http://schemas.microsoft.com/office/drawing/2014/main" id="{7D135CC2-65BC-42D3-A663-2812FE62886A}"/>
              </a:ext>
            </a:extLst>
          </p:cNvPr>
          <p:cNvSpPr txBox="1"/>
          <p:nvPr/>
        </p:nvSpPr>
        <p:spPr>
          <a:xfrm>
            <a:off x="8431398" y="6196280"/>
            <a:ext cx="3405002" cy="630942"/>
          </a:xfrm>
          <a:prstGeom prst="rect">
            <a:avLst/>
          </a:prstGeom>
          <a:noFill/>
        </p:spPr>
        <p:txBody>
          <a:bodyPr wrap="square">
            <a:spAutoFit/>
          </a:bodyPr>
          <a:lstStyle/>
          <a:p>
            <a:endParaRPr lang="en-US" altLang="zh-CN" sz="7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a:p>
            <a:r>
              <a:rPr lang="en-US" altLang="zh-CN" sz="7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10. </a:t>
            </a:r>
            <a:r>
              <a:rPr lang="nl-NL" altLang="zh-CN" sz="7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Lopes S, et al. Pharmacoepidemiol Drug Saf 2020, 29 (3), 270-278.</a:t>
            </a:r>
          </a:p>
          <a:p>
            <a:r>
              <a:rPr lang="nl-NL" altLang="zh-CN" sz="7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11. </a:t>
            </a:r>
            <a:r>
              <a:rPr lang="en-US" altLang="zh-CN" sz="7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van </a:t>
            </a:r>
            <a:r>
              <a:rPr lang="en-US" altLang="zh-CN" sz="700" b="0" dirty="0" err="1">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Wyk</a:t>
            </a:r>
            <a:r>
              <a:rPr lang="en-US" altLang="zh-CN" sz="7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 J, et al. Clin Infect Dis 2020, 71 (8), 1920-1929. </a:t>
            </a:r>
          </a:p>
          <a:p>
            <a:r>
              <a:rPr lang="en-US" altLang="zh-CN" sz="7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12. </a:t>
            </a:r>
            <a:r>
              <a:rPr lang="fr-FR" altLang="zh-CN" sz="700" b="0" dirty="0" err="1">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Osiyemi</a:t>
            </a:r>
            <a:r>
              <a:rPr lang="fr-FR" altLang="zh-CN" sz="7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 O, et al.. Clin Infect Dis  2022 Jan 25;ciac036. </a:t>
            </a:r>
          </a:p>
          <a:p>
            <a:r>
              <a:rPr lang="nl-NL" altLang="zh-CN" sz="7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13. Huang YS, et al. J Acquir Immune Defic Syndr 2021, 86 (4), 473-481.</a:t>
            </a:r>
          </a:p>
        </p:txBody>
      </p:sp>
      <p:sp>
        <p:nvSpPr>
          <p:cNvPr id="54" name="灯片编号占位符 3">
            <a:extLst>
              <a:ext uri="{FF2B5EF4-FFF2-40B4-BE49-F238E27FC236}">
                <a16:creationId xmlns:a16="http://schemas.microsoft.com/office/drawing/2014/main" id="{7FC356A0-E098-4924-863A-5F759757A033}"/>
              </a:ext>
            </a:extLst>
          </p:cNvPr>
          <p:cNvSpPr txBox="1">
            <a:spLocks/>
          </p:cNvSpPr>
          <p:nvPr/>
        </p:nvSpPr>
        <p:spPr>
          <a:xfrm>
            <a:off x="11673792" y="6356961"/>
            <a:ext cx="518208"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fld id="{D6F24B0C-7668-4973-8E6C-4D4CB7EF0CEB}" type="slidenum">
              <a:rPr lang="en-US" sz="1600" b="1" smtClean="0">
                <a:solidFill>
                  <a:schemeClr val="bg1"/>
                </a:solidFill>
                <a:latin typeface="Arial" panose="020B0604020202020204" pitchFamily="34" charset="0"/>
                <a:cs typeface="Arial" panose="020B0604020202020204" pitchFamily="34" charset="0"/>
              </a:rPr>
              <a:pPr algn="ctr" defTabSz="457200">
                <a:defRPr/>
              </a:pPr>
              <a:t>5</a:t>
            </a:fld>
            <a:endParaRPr lang="en-US" sz="16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41622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 name="矩形 128">
            <a:extLst>
              <a:ext uri="{FF2B5EF4-FFF2-40B4-BE49-F238E27FC236}">
                <a16:creationId xmlns:a16="http://schemas.microsoft.com/office/drawing/2014/main" id="{AAF4B3CA-499A-4C71-8101-90A4842760C8}"/>
              </a:ext>
            </a:extLst>
          </p:cNvPr>
          <p:cNvSpPr/>
          <p:nvPr/>
        </p:nvSpPr>
        <p:spPr>
          <a:xfrm>
            <a:off x="255701" y="4184974"/>
            <a:ext cx="11609494" cy="1710523"/>
          </a:xfrm>
          <a:prstGeom prst="rect">
            <a:avLst/>
          </a:prstGeom>
          <a:solidFill>
            <a:srgbClr val="A5A5A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128" name="矩形 127">
            <a:extLst>
              <a:ext uri="{FF2B5EF4-FFF2-40B4-BE49-F238E27FC236}">
                <a16:creationId xmlns:a16="http://schemas.microsoft.com/office/drawing/2014/main" id="{DF6BBA4C-9661-4C8B-B607-629CEDA0FD23}"/>
              </a:ext>
            </a:extLst>
          </p:cNvPr>
          <p:cNvSpPr/>
          <p:nvPr/>
        </p:nvSpPr>
        <p:spPr>
          <a:xfrm>
            <a:off x="6438137" y="1837857"/>
            <a:ext cx="5427059" cy="1944012"/>
          </a:xfrm>
          <a:prstGeom prst="rect">
            <a:avLst/>
          </a:prstGeom>
          <a:solidFill>
            <a:srgbClr val="A5A5A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127" name="矩形 126">
            <a:extLst>
              <a:ext uri="{FF2B5EF4-FFF2-40B4-BE49-F238E27FC236}">
                <a16:creationId xmlns:a16="http://schemas.microsoft.com/office/drawing/2014/main" id="{83B70A78-2A33-4870-B016-908790A21B49}"/>
              </a:ext>
            </a:extLst>
          </p:cNvPr>
          <p:cNvSpPr/>
          <p:nvPr/>
        </p:nvSpPr>
        <p:spPr>
          <a:xfrm>
            <a:off x="255701" y="1851849"/>
            <a:ext cx="5993646" cy="1930020"/>
          </a:xfrm>
          <a:prstGeom prst="rect">
            <a:avLst/>
          </a:prstGeom>
          <a:solidFill>
            <a:srgbClr val="A5A5A5">
              <a:lumMod val="20000"/>
              <a:lumOff val="80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1" lang="zh-CN" altLang="en-US" sz="1800" b="0" i="0" u="none" strike="noStrike" kern="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21" name="TextBox 20">
            <a:extLst>
              <a:ext uri="{FF2B5EF4-FFF2-40B4-BE49-F238E27FC236}">
                <a16:creationId xmlns:a16="http://schemas.microsoft.com/office/drawing/2014/main" id="{E556C82F-FADB-4207-939C-B7F38A821A55}"/>
              </a:ext>
            </a:extLst>
          </p:cNvPr>
          <p:cNvSpPr txBox="1"/>
          <p:nvPr/>
        </p:nvSpPr>
        <p:spPr>
          <a:xfrm>
            <a:off x="748978" y="571221"/>
            <a:ext cx="11412072" cy="707886"/>
          </a:xfrm>
          <a:prstGeom prst="rect">
            <a:avLst/>
          </a:prstGeom>
          <a:noFill/>
        </p:spPr>
        <p:txBody>
          <a:bodyPr wrap="square">
            <a:spAutoFit/>
          </a:bodyPr>
          <a:lstStyle/>
          <a:p>
            <a:pPr fontAlgn="base">
              <a:buClr>
                <a:srgbClr val="E43F1C"/>
              </a:buClr>
              <a:buSzPct val="100000"/>
              <a:defRPr/>
            </a:pPr>
            <a:r>
              <a:rPr lang="zh-CN" altLang="en-US" sz="2000" b="1" dirty="0">
                <a:solidFill>
                  <a:srgbClr val="612166"/>
                </a:solidFill>
                <a:latin typeface="微软雅黑" panose="020B0503020204020204" pitchFamily="34" charset="-122"/>
                <a:ea typeface="微软雅黑" panose="020B0503020204020204" pitchFamily="34" charset="-122"/>
              </a:rPr>
              <a:t>本品上市后未报告严重不良反应及死亡病例，常见不良反应（头痛和腹泻）和药物相互作用发生</a:t>
            </a:r>
            <a:endParaRPr lang="en-US" altLang="zh-CN" sz="2000" b="1" dirty="0">
              <a:solidFill>
                <a:srgbClr val="612166"/>
              </a:solidFill>
              <a:latin typeface="微软雅黑" panose="020B0503020204020204" pitchFamily="34" charset="-122"/>
              <a:ea typeface="微软雅黑" panose="020B0503020204020204" pitchFamily="34" charset="-122"/>
            </a:endParaRPr>
          </a:p>
          <a:p>
            <a:pPr fontAlgn="base">
              <a:buClr>
                <a:srgbClr val="E43F1C"/>
              </a:buClr>
              <a:buSzPct val="100000"/>
              <a:defRPr/>
            </a:pPr>
            <a:r>
              <a:rPr lang="zh-CN" altLang="en-US" sz="2000" b="1" dirty="0">
                <a:solidFill>
                  <a:srgbClr val="612166"/>
                </a:solidFill>
                <a:latin typeface="微软雅黑" panose="020B0503020204020204" pitchFamily="34" charset="-122"/>
                <a:ea typeface="微软雅黑" panose="020B0503020204020204" pitchFamily="34" charset="-122"/>
              </a:rPr>
              <a:t>风险低于艾考恩丙替片，且有利于血脂代谢</a:t>
            </a:r>
          </a:p>
        </p:txBody>
      </p:sp>
      <p:sp>
        <p:nvSpPr>
          <p:cNvPr id="60" name="文本框 59">
            <a:extLst>
              <a:ext uri="{FF2B5EF4-FFF2-40B4-BE49-F238E27FC236}">
                <a16:creationId xmlns:a16="http://schemas.microsoft.com/office/drawing/2014/main" id="{B587F4BC-6C21-4B0A-A70C-673E766EF52A}"/>
              </a:ext>
            </a:extLst>
          </p:cNvPr>
          <p:cNvSpPr txBox="1"/>
          <p:nvPr/>
        </p:nvSpPr>
        <p:spPr>
          <a:xfrm>
            <a:off x="50033" y="1468525"/>
            <a:ext cx="6404981" cy="369332"/>
          </a:xfrm>
          <a:prstGeom prst="rect">
            <a:avLst/>
          </a:prstGeom>
          <a:noFill/>
        </p:spPr>
        <p:txBody>
          <a:bodyPr wrap="square">
            <a:spAutoFit/>
          </a:bodyPr>
          <a:lstStyle/>
          <a:p>
            <a:pPr marL="285750" indent="-285750">
              <a:buFont typeface="Wingdings" panose="05000000000000000000" pitchFamily="2" charset="2"/>
              <a:buChar char="q"/>
            </a:pPr>
            <a:r>
              <a:rPr lang="zh-CN" altLang="en-US" sz="1600" b="1" dirty="0">
                <a:latin typeface="微软雅黑" panose="020B0503020204020204" pitchFamily="34" charset="-122"/>
                <a:ea typeface="微软雅黑" panose="020B0503020204020204" pitchFamily="34" charset="-122"/>
              </a:rPr>
              <a:t>据说明书</a:t>
            </a:r>
            <a:r>
              <a:rPr lang="en-US" altLang="zh-CN" sz="1600" b="1" baseline="30000" dirty="0">
                <a:latin typeface="微软雅黑" panose="020B0503020204020204" pitchFamily="34" charset="-122"/>
                <a:ea typeface="微软雅黑" panose="020B0503020204020204" pitchFamily="34" charset="-122"/>
              </a:rPr>
              <a:t>1,2</a:t>
            </a:r>
            <a:r>
              <a:rPr lang="zh-CN" altLang="en-US" sz="1600" b="1" dirty="0">
                <a:latin typeface="微软雅黑" panose="020B0503020204020204" pitchFamily="34" charset="-122"/>
                <a:ea typeface="微软雅黑" panose="020B0503020204020204" pitchFamily="34" charset="-122"/>
              </a:rPr>
              <a:t>，本品的</a:t>
            </a:r>
            <a:r>
              <a:rPr lang="zh-CN" altLang="en-US" b="1" dirty="0">
                <a:solidFill>
                  <a:srgbClr val="C10562"/>
                </a:solidFill>
                <a:latin typeface="微软雅黑" panose="020B0503020204020204" pitchFamily="34" charset="-122"/>
                <a:ea typeface="微软雅黑" panose="020B0503020204020204" pitchFamily="34" charset="-122"/>
              </a:rPr>
              <a:t>头痛和腹泻</a:t>
            </a:r>
            <a:r>
              <a:rPr lang="zh-CN" altLang="en-US" sz="1600" b="1" dirty="0">
                <a:latin typeface="微软雅黑" panose="020B0503020204020204" pitchFamily="34" charset="-122"/>
                <a:ea typeface="微软雅黑" panose="020B0503020204020204" pitchFamily="34" charset="-122"/>
              </a:rPr>
              <a:t>发生率</a:t>
            </a:r>
            <a:r>
              <a:rPr lang="zh-CN" altLang="en-US" b="1" dirty="0">
                <a:solidFill>
                  <a:srgbClr val="C10562"/>
                </a:solidFill>
                <a:latin typeface="微软雅黑" panose="020B0503020204020204" pitchFamily="34" charset="-122"/>
                <a:ea typeface="微软雅黑" panose="020B0503020204020204" pitchFamily="34" charset="-122"/>
              </a:rPr>
              <a:t>低于</a:t>
            </a:r>
            <a:r>
              <a:rPr lang="zh-CN" altLang="en-US" sz="1600" b="1" dirty="0">
                <a:latin typeface="微软雅黑" panose="020B0503020204020204" pitchFamily="34" charset="-122"/>
                <a:ea typeface="微软雅黑" panose="020B0503020204020204" pitchFamily="34" charset="-122"/>
              </a:rPr>
              <a:t>艾考恩丙替片</a:t>
            </a:r>
            <a:endParaRPr lang="en-US" altLang="zh-CN" sz="1600" b="1" dirty="0">
              <a:latin typeface="微软雅黑" panose="020B0503020204020204" pitchFamily="34" charset="-122"/>
              <a:ea typeface="微软雅黑" panose="020B0503020204020204" pitchFamily="34" charset="-122"/>
            </a:endParaRPr>
          </a:p>
        </p:txBody>
      </p:sp>
      <p:pic>
        <p:nvPicPr>
          <p:cNvPr id="6" name="图片 5">
            <a:extLst>
              <a:ext uri="{FF2B5EF4-FFF2-40B4-BE49-F238E27FC236}">
                <a16:creationId xmlns:a16="http://schemas.microsoft.com/office/drawing/2014/main" id="{9F65F58A-CA74-4D95-8B8B-228CEE8623D7}"/>
              </a:ext>
            </a:extLst>
          </p:cNvPr>
          <p:cNvPicPr>
            <a:picLocks noChangeAspect="1"/>
          </p:cNvPicPr>
          <p:nvPr/>
        </p:nvPicPr>
        <p:blipFill>
          <a:blip r:embed="rId3"/>
          <a:stretch>
            <a:fillRect/>
          </a:stretch>
        </p:blipFill>
        <p:spPr>
          <a:xfrm>
            <a:off x="282663" y="604303"/>
            <a:ext cx="497265" cy="507625"/>
          </a:xfrm>
          <a:prstGeom prst="rect">
            <a:avLst/>
          </a:prstGeom>
        </p:spPr>
      </p:pic>
      <p:graphicFrame>
        <p:nvGraphicFramePr>
          <p:cNvPr id="9" name="表格 9">
            <a:extLst>
              <a:ext uri="{FF2B5EF4-FFF2-40B4-BE49-F238E27FC236}">
                <a16:creationId xmlns:a16="http://schemas.microsoft.com/office/drawing/2014/main" id="{225716CB-8D44-4124-87EC-C61AF66B1971}"/>
              </a:ext>
            </a:extLst>
          </p:cNvPr>
          <p:cNvGraphicFramePr>
            <a:graphicFrameLocks noGrp="1"/>
          </p:cNvGraphicFramePr>
          <p:nvPr>
            <p:extLst>
              <p:ext uri="{D42A27DB-BD31-4B8C-83A1-F6EECF244321}">
                <p14:modId xmlns:p14="http://schemas.microsoft.com/office/powerpoint/2010/main" val="131990715"/>
              </p:ext>
            </p:extLst>
          </p:nvPr>
        </p:nvGraphicFramePr>
        <p:xfrm>
          <a:off x="388286" y="2267061"/>
          <a:ext cx="5707714" cy="1384250"/>
        </p:xfrm>
        <a:graphic>
          <a:graphicData uri="http://schemas.openxmlformats.org/drawingml/2006/table">
            <a:tbl>
              <a:tblPr firstRow="1" bandRow="1">
                <a:tableStyleId>{5202B0CA-FC54-4496-8BCA-5EF66A818D29}</a:tableStyleId>
              </a:tblPr>
              <a:tblGrid>
                <a:gridCol w="1038849">
                  <a:extLst>
                    <a:ext uri="{9D8B030D-6E8A-4147-A177-3AD203B41FA5}">
                      <a16:colId xmlns:a16="http://schemas.microsoft.com/office/drawing/2014/main" val="1904923187"/>
                    </a:ext>
                  </a:extLst>
                </a:gridCol>
                <a:gridCol w="2734539">
                  <a:extLst>
                    <a:ext uri="{9D8B030D-6E8A-4147-A177-3AD203B41FA5}">
                      <a16:colId xmlns:a16="http://schemas.microsoft.com/office/drawing/2014/main" val="973920898"/>
                    </a:ext>
                  </a:extLst>
                </a:gridCol>
                <a:gridCol w="1934326">
                  <a:extLst>
                    <a:ext uri="{9D8B030D-6E8A-4147-A177-3AD203B41FA5}">
                      <a16:colId xmlns:a16="http://schemas.microsoft.com/office/drawing/2014/main" val="713286733"/>
                    </a:ext>
                  </a:extLst>
                </a:gridCol>
              </a:tblGrid>
              <a:tr h="276850">
                <a:tc>
                  <a:txBody>
                    <a:bodyPr/>
                    <a:lstStyle/>
                    <a:p>
                      <a:pPr algn="ctr"/>
                      <a:endParaRPr lang="en-US" sz="1200" dirty="0"/>
                    </a:p>
                  </a:txBody>
                  <a:tcPr/>
                </a:tc>
                <a:tc>
                  <a:txBody>
                    <a:bodyPr/>
                    <a:lstStyle/>
                    <a:p>
                      <a:pPr algn="ctr"/>
                      <a:r>
                        <a:rPr lang="zh-CN" altLang="en-US" sz="1200" dirty="0"/>
                        <a:t>拉米夫定多替拉韦片</a:t>
                      </a:r>
                      <a:r>
                        <a:rPr lang="en-US" altLang="zh-CN" sz="1200" baseline="30000" dirty="0"/>
                        <a:t>1</a:t>
                      </a:r>
                      <a:endParaRPr lang="en-US" sz="1200" baseline="30000" dirty="0"/>
                    </a:p>
                  </a:txBody>
                  <a:tcPr/>
                </a:tc>
                <a:tc>
                  <a:txBody>
                    <a:bodyPr/>
                    <a:lstStyle/>
                    <a:p>
                      <a:pPr algn="ctr"/>
                      <a:r>
                        <a:rPr lang="zh-CN" altLang="en-US" sz="1200" dirty="0"/>
                        <a:t>艾考恩丙替片</a:t>
                      </a:r>
                      <a:r>
                        <a:rPr lang="en-US" altLang="zh-CN" sz="1200" baseline="30000" dirty="0"/>
                        <a:t>2</a:t>
                      </a:r>
                      <a:endParaRPr lang="en-US" sz="1200" baseline="30000" dirty="0"/>
                    </a:p>
                  </a:txBody>
                  <a:tcPr/>
                </a:tc>
                <a:extLst>
                  <a:ext uri="{0D108BD9-81ED-4DB2-BD59-A6C34878D82A}">
                    <a16:rowId xmlns:a16="http://schemas.microsoft.com/office/drawing/2014/main" val="1141275609"/>
                  </a:ext>
                </a:extLst>
              </a:tr>
              <a:tr h="276850">
                <a:tc>
                  <a:txBody>
                    <a:bodyPr/>
                    <a:lstStyle/>
                    <a:p>
                      <a:pPr algn="ctr"/>
                      <a:r>
                        <a:rPr lang="zh-CN" altLang="en-US" sz="1200" dirty="0"/>
                        <a:t>头痛</a:t>
                      </a:r>
                      <a:endParaRPr lang="en-US" sz="1200" dirty="0"/>
                    </a:p>
                  </a:txBody>
                  <a:tcPr/>
                </a:tc>
                <a:tc>
                  <a:txBody>
                    <a:bodyPr/>
                    <a:lstStyle/>
                    <a:p>
                      <a:pPr algn="ctr"/>
                      <a:r>
                        <a:rPr lang="en-US" sz="1200" dirty="0"/>
                        <a:t>3%</a:t>
                      </a:r>
                    </a:p>
                  </a:txBody>
                  <a:tcPr/>
                </a:tc>
                <a:tc>
                  <a:txBody>
                    <a:bodyPr/>
                    <a:lstStyle/>
                    <a:p>
                      <a:pPr algn="ctr"/>
                      <a:r>
                        <a:rPr lang="en-US" sz="1200" dirty="0"/>
                        <a:t>6%</a:t>
                      </a:r>
                    </a:p>
                  </a:txBody>
                  <a:tcPr/>
                </a:tc>
                <a:extLst>
                  <a:ext uri="{0D108BD9-81ED-4DB2-BD59-A6C34878D82A}">
                    <a16:rowId xmlns:a16="http://schemas.microsoft.com/office/drawing/2014/main" val="4065687055"/>
                  </a:ext>
                </a:extLst>
              </a:tr>
              <a:tr h="276850">
                <a:tc>
                  <a:txBody>
                    <a:bodyPr/>
                    <a:lstStyle/>
                    <a:p>
                      <a:pPr algn="ctr"/>
                      <a:r>
                        <a:rPr lang="zh-CN" altLang="en-US" sz="1200" dirty="0"/>
                        <a:t>腹泻</a:t>
                      </a:r>
                      <a:endParaRPr lang="en-US" sz="1200" dirty="0"/>
                    </a:p>
                  </a:txBody>
                  <a:tcPr/>
                </a:tc>
                <a:tc>
                  <a:txBody>
                    <a:bodyPr/>
                    <a:lstStyle/>
                    <a:p>
                      <a:pPr algn="ctr"/>
                      <a:r>
                        <a:rPr lang="en-US" sz="1200" dirty="0"/>
                        <a:t>2%</a:t>
                      </a:r>
                    </a:p>
                  </a:txBody>
                  <a:tcPr/>
                </a:tc>
                <a:tc>
                  <a:txBody>
                    <a:bodyPr/>
                    <a:lstStyle/>
                    <a:p>
                      <a:pPr algn="ctr"/>
                      <a:r>
                        <a:rPr lang="en-US" sz="1200" dirty="0"/>
                        <a:t>7%</a:t>
                      </a:r>
                    </a:p>
                  </a:txBody>
                  <a:tcPr/>
                </a:tc>
                <a:extLst>
                  <a:ext uri="{0D108BD9-81ED-4DB2-BD59-A6C34878D82A}">
                    <a16:rowId xmlns:a16="http://schemas.microsoft.com/office/drawing/2014/main" val="3069503474"/>
                  </a:ext>
                </a:extLst>
              </a:tr>
              <a:tr h="276850">
                <a:tc>
                  <a:txBody>
                    <a:bodyPr/>
                    <a:lstStyle/>
                    <a:p>
                      <a:pPr algn="ctr"/>
                      <a:r>
                        <a:rPr lang="zh-CN" altLang="en-US" sz="1200" dirty="0"/>
                        <a:t>头晕</a:t>
                      </a:r>
                      <a:endParaRPr lang="en-US" sz="1200" dirty="0"/>
                    </a:p>
                  </a:txBody>
                  <a:tcPr/>
                </a:tc>
                <a:tc>
                  <a:txBody>
                    <a:bodyPr/>
                    <a:lstStyle/>
                    <a:p>
                      <a:pPr algn="ctr"/>
                      <a:r>
                        <a:rPr lang="en-US" sz="1200" dirty="0"/>
                        <a:t>2%</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262626"/>
                          </a:solidFill>
                          <a:effectLst/>
                          <a:uLnTx/>
                          <a:uFillTx/>
                          <a:latin typeface="Calibri"/>
                          <a:ea typeface="+mn-ea"/>
                          <a:cs typeface="+mn-cs"/>
                        </a:rPr>
                        <a:t>常见</a:t>
                      </a:r>
                      <a:endParaRPr kumimoji="0" lang="en-US" sz="1200" b="0" i="0" u="none" strike="noStrike" kern="1200" cap="none" spc="0" normalizeH="0" baseline="0" noProof="0" dirty="0">
                        <a:ln>
                          <a:noFill/>
                        </a:ln>
                        <a:solidFill>
                          <a:srgbClr val="262626"/>
                        </a:solidFill>
                        <a:effectLst/>
                        <a:uLnTx/>
                        <a:uFillTx/>
                        <a:latin typeface="Calibri"/>
                        <a:ea typeface="+mn-ea"/>
                        <a:cs typeface="+mn-cs"/>
                      </a:endParaRPr>
                    </a:p>
                  </a:txBody>
                  <a:tcPr/>
                </a:tc>
                <a:extLst>
                  <a:ext uri="{0D108BD9-81ED-4DB2-BD59-A6C34878D82A}">
                    <a16:rowId xmlns:a16="http://schemas.microsoft.com/office/drawing/2014/main" val="1414972029"/>
                  </a:ext>
                </a:extLst>
              </a:tr>
              <a:tr h="276850">
                <a:tc>
                  <a:txBody>
                    <a:bodyPr/>
                    <a:lstStyle/>
                    <a:p>
                      <a:pPr algn="ctr"/>
                      <a:r>
                        <a:rPr lang="zh-CN" altLang="en-US" sz="1200" dirty="0"/>
                        <a:t>失眠</a:t>
                      </a:r>
                      <a:endParaRPr lang="en-US" sz="1200" dirty="0"/>
                    </a:p>
                  </a:txBody>
                  <a:tcPr/>
                </a:tc>
                <a:tc>
                  <a:txBody>
                    <a:bodyPr/>
                    <a:lstStyle/>
                    <a:p>
                      <a:pPr algn="ctr"/>
                      <a:r>
                        <a:rPr lang="en-US" sz="1200" dirty="0"/>
                        <a:t>2%</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srgbClr val="262626"/>
                          </a:solidFill>
                          <a:effectLst/>
                          <a:uLnTx/>
                          <a:uFillTx/>
                          <a:latin typeface="Calibri"/>
                          <a:ea typeface="+mn-ea"/>
                          <a:cs typeface="+mn-cs"/>
                        </a:rPr>
                        <a:t>未报道</a:t>
                      </a:r>
                      <a:endParaRPr kumimoji="0" lang="en-US" sz="1200" b="0" i="0" u="none" strike="noStrike" kern="1200" cap="none" spc="0" normalizeH="0" baseline="0" noProof="0" dirty="0">
                        <a:ln>
                          <a:noFill/>
                        </a:ln>
                        <a:solidFill>
                          <a:srgbClr val="262626"/>
                        </a:solidFill>
                        <a:effectLst/>
                        <a:uLnTx/>
                        <a:uFillTx/>
                        <a:latin typeface="Calibri"/>
                        <a:ea typeface="+mn-ea"/>
                        <a:cs typeface="+mn-cs"/>
                      </a:endParaRPr>
                    </a:p>
                  </a:txBody>
                  <a:tcPr/>
                </a:tc>
                <a:extLst>
                  <a:ext uri="{0D108BD9-81ED-4DB2-BD59-A6C34878D82A}">
                    <a16:rowId xmlns:a16="http://schemas.microsoft.com/office/drawing/2014/main" val="2535617163"/>
                  </a:ext>
                </a:extLst>
              </a:tr>
            </a:tbl>
          </a:graphicData>
        </a:graphic>
      </p:graphicFrame>
      <p:sp>
        <p:nvSpPr>
          <p:cNvPr id="63" name="文本框 62">
            <a:extLst>
              <a:ext uri="{FF2B5EF4-FFF2-40B4-BE49-F238E27FC236}">
                <a16:creationId xmlns:a16="http://schemas.microsoft.com/office/drawing/2014/main" id="{ED7C26E5-B21B-409F-804A-255BF7B6E47D}"/>
              </a:ext>
            </a:extLst>
          </p:cNvPr>
          <p:cNvSpPr txBox="1"/>
          <p:nvPr/>
        </p:nvSpPr>
        <p:spPr>
          <a:xfrm>
            <a:off x="6438137" y="3457493"/>
            <a:ext cx="5365577" cy="358688"/>
          </a:xfrm>
          <a:prstGeom prst="rect">
            <a:avLst/>
          </a:prstGeom>
          <a:noFill/>
        </p:spPr>
        <p:txBody>
          <a:bodyPr wrap="square">
            <a:spAutoFit/>
          </a:bodyPr>
          <a:lstStyle/>
          <a:p>
            <a:pPr marL="0" marR="0" lvl="0" indent="0" algn="l" defTabSz="914400" rtl="0" eaLnBrk="1" fontAlgn="auto" latinLnBrk="0" hangingPunct="1">
              <a:lnSpc>
                <a:spcPct val="130000"/>
              </a:lnSpc>
              <a:spcBef>
                <a:spcPts val="0"/>
              </a:spcBef>
              <a:spcAft>
                <a:spcPts val="0"/>
              </a:spcAft>
              <a:buClr>
                <a:srgbClr val="544F40"/>
              </a:buClr>
              <a:buSzTx/>
              <a:buFontTx/>
              <a:buNone/>
              <a:tabLst/>
              <a:defRPr/>
            </a:pPr>
            <a:r>
              <a:rPr kumimoji="0" lang="zh-CN" altLang="en-US" sz="700" b="0" i="0" u="none" strike="noStrike" kern="1200" cap="none" spc="0" normalizeH="0" baseline="0" noProof="0" dirty="0">
                <a:ln>
                  <a:noFill/>
                </a:ln>
                <a:solidFill>
                  <a:srgbClr val="544F4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一项基于德国医保数据库的回顾性横断面研究了，分析了</a:t>
            </a:r>
            <a:r>
              <a:rPr kumimoji="0" lang="en-US" altLang="zh-CN" sz="700" b="0" i="0" u="none" strike="noStrike" kern="1200" cap="none" spc="0" normalizeH="0" baseline="0" noProof="0" dirty="0">
                <a:ln>
                  <a:noFill/>
                </a:ln>
                <a:solidFill>
                  <a:srgbClr val="544F4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2680</a:t>
            </a:r>
            <a:r>
              <a:rPr kumimoji="0" lang="zh-CN" altLang="en-US" sz="700" b="0" i="0" u="none" strike="noStrike" kern="1200" cap="none" spc="0" normalizeH="0" baseline="0" noProof="0" dirty="0">
                <a:ln>
                  <a:noFill/>
                </a:ln>
                <a:solidFill>
                  <a:srgbClr val="544F4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名成年</a:t>
            </a:r>
            <a:r>
              <a:rPr kumimoji="0" lang="en-US" altLang="zh-CN" sz="700" b="0" i="0" u="none" strike="noStrike" kern="1200" cap="none" spc="0" normalizeH="0" baseline="0" noProof="0" dirty="0">
                <a:ln>
                  <a:noFill/>
                </a:ln>
                <a:solidFill>
                  <a:srgbClr val="544F4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HIV</a:t>
            </a:r>
            <a:r>
              <a:rPr kumimoji="0" lang="zh-CN" altLang="en-US" sz="700" b="0" i="0" u="none" strike="noStrike" kern="1200" cap="none" spc="0" normalizeH="0" baseline="0" noProof="0" dirty="0">
                <a:ln>
                  <a:noFill/>
                </a:ln>
                <a:solidFill>
                  <a:srgbClr val="544F4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感染者平均</a:t>
            </a:r>
            <a:r>
              <a:rPr kumimoji="0" lang="en-US" altLang="zh-CN" sz="700" b="0" i="0" u="none" strike="noStrike" kern="1200" cap="none" spc="0" normalizeH="0" baseline="0" noProof="0" dirty="0">
                <a:ln>
                  <a:noFill/>
                </a:ln>
                <a:solidFill>
                  <a:srgbClr val="544F4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5.5</a:t>
            </a:r>
            <a:r>
              <a:rPr kumimoji="0" lang="zh-CN" altLang="en-US" sz="700" b="0" i="0" u="none" strike="noStrike" kern="1200" cap="none" spc="0" normalizeH="0" baseline="0" noProof="0" dirty="0">
                <a:ln>
                  <a:noFill/>
                </a:ln>
                <a:solidFill>
                  <a:srgbClr val="544F40"/>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年内抗病毒治疗方案在真实世界中与其他合并用药的药物相互作用发生风险。</a:t>
            </a:r>
            <a:endParaRPr kumimoji="0" lang="en-US" sz="700" b="0" i="0" u="none" strike="noStrike" kern="1200" cap="none" spc="0" normalizeH="0" baseline="0" noProof="0" dirty="0" err="1">
              <a:ln>
                <a:noFill/>
              </a:ln>
              <a:solidFill>
                <a:srgbClr val="544F40"/>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p:txBody>
      </p:sp>
      <p:graphicFrame>
        <p:nvGraphicFramePr>
          <p:cNvPr id="67" name="图表 66">
            <a:extLst>
              <a:ext uri="{FF2B5EF4-FFF2-40B4-BE49-F238E27FC236}">
                <a16:creationId xmlns:a16="http://schemas.microsoft.com/office/drawing/2014/main" id="{5AAF060F-6D09-4326-A10A-A8AFEBBCB206}"/>
              </a:ext>
            </a:extLst>
          </p:cNvPr>
          <p:cNvGraphicFramePr/>
          <p:nvPr>
            <p:extLst>
              <p:ext uri="{D42A27DB-BD31-4B8C-83A1-F6EECF244321}">
                <p14:modId xmlns:p14="http://schemas.microsoft.com/office/powerpoint/2010/main" val="3501590749"/>
              </p:ext>
            </p:extLst>
          </p:nvPr>
        </p:nvGraphicFramePr>
        <p:xfrm>
          <a:off x="7403404" y="1990884"/>
          <a:ext cx="3785296" cy="1436180"/>
        </p:xfrm>
        <a:graphic>
          <a:graphicData uri="http://schemas.openxmlformats.org/drawingml/2006/chart">
            <c:chart xmlns:c="http://schemas.openxmlformats.org/drawingml/2006/chart" xmlns:r="http://schemas.openxmlformats.org/officeDocument/2006/relationships" r:id="rId4"/>
          </a:graphicData>
        </a:graphic>
      </p:graphicFrame>
      <p:sp>
        <p:nvSpPr>
          <p:cNvPr id="100" name="Text Placeholder 4">
            <a:extLst>
              <a:ext uri="{FF2B5EF4-FFF2-40B4-BE49-F238E27FC236}">
                <a16:creationId xmlns:a16="http://schemas.microsoft.com/office/drawing/2014/main" id="{8885DEAC-7F61-4FAC-AD27-D96FC8CA02B6}"/>
              </a:ext>
            </a:extLst>
          </p:cNvPr>
          <p:cNvSpPr txBox="1">
            <a:spLocks/>
          </p:cNvSpPr>
          <p:nvPr/>
        </p:nvSpPr>
        <p:spPr>
          <a:xfrm>
            <a:off x="50033" y="3889150"/>
            <a:ext cx="12277961" cy="275062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Font typeface="Wingdings" panose="05000000000000000000" pitchFamily="2" charset="2"/>
              <a:buChar char="q"/>
            </a:pPr>
            <a:r>
              <a:rPr lang="zh-CN" altLang="en-US" sz="1500" b="1" dirty="0">
                <a:latin typeface="微软雅黑" panose="020B0503020204020204" pitchFamily="34" charset="-122"/>
                <a:ea typeface="微软雅黑" panose="020B0503020204020204" pitchFamily="34" charset="-122"/>
                <a:sym typeface="Arial" panose="020B0604020202020204" pitchFamily="34" charset="0"/>
              </a:rPr>
              <a:t>本品治疗</a:t>
            </a:r>
            <a:r>
              <a:rPr lang="en-US" altLang="zh-CN" sz="1500" b="1" dirty="0">
                <a:latin typeface="微软雅黑" panose="020B0503020204020204" pitchFamily="34" charset="-122"/>
                <a:ea typeface="微软雅黑" panose="020B0503020204020204" pitchFamily="34" charset="-122"/>
                <a:sym typeface="Arial" panose="020B0604020202020204" pitchFamily="34" charset="0"/>
              </a:rPr>
              <a:t>144</a:t>
            </a:r>
            <a:r>
              <a:rPr lang="zh-CN" altLang="en-US" sz="1500" b="1" dirty="0">
                <a:latin typeface="微软雅黑" panose="020B0503020204020204" pitchFamily="34" charset="-122"/>
                <a:ea typeface="微软雅黑" panose="020B0503020204020204" pitchFamily="34" charset="-122"/>
                <a:sym typeface="Arial" panose="020B0604020202020204" pitchFamily="34" charset="0"/>
              </a:rPr>
              <a:t>周，血脂（总胆固醇、低密度脂蛋白和甘油三酯）自基线调整的平均变化均</a:t>
            </a:r>
            <a:r>
              <a:rPr lang="zh-CN" altLang="en-US" sz="1800" b="1" dirty="0">
                <a:solidFill>
                  <a:srgbClr val="C10562"/>
                </a:solidFill>
                <a:latin typeface="微软雅黑" panose="020B0503020204020204" pitchFamily="34" charset="-122"/>
                <a:ea typeface="微软雅黑" panose="020B0503020204020204" pitchFamily="34" charset="-122"/>
                <a:sym typeface="Arial" panose="020B0604020202020204" pitchFamily="34" charset="0"/>
              </a:rPr>
              <a:t>优于</a:t>
            </a:r>
            <a:r>
              <a:rPr lang="zh-CN" altLang="en-US" sz="1500" b="1" dirty="0">
                <a:latin typeface="微软雅黑" panose="020B0503020204020204" pitchFamily="34" charset="-122"/>
                <a:ea typeface="微软雅黑" panose="020B0503020204020204" pitchFamily="34" charset="-122"/>
                <a:sym typeface="Arial" panose="020B0604020202020204" pitchFamily="34" charset="0"/>
              </a:rPr>
              <a:t>以艾考恩丙替片为主的三药</a:t>
            </a:r>
            <a:r>
              <a:rPr lang="en-US" altLang="zh-CN" sz="1500" b="1" dirty="0">
                <a:latin typeface="微软雅黑" panose="020B0503020204020204" pitchFamily="34" charset="-122"/>
                <a:ea typeface="微软雅黑" panose="020B0503020204020204" pitchFamily="34" charset="-122"/>
                <a:sym typeface="Arial" panose="020B0604020202020204" pitchFamily="34" charset="0"/>
              </a:rPr>
              <a:t>/</a:t>
            </a:r>
            <a:r>
              <a:rPr lang="zh-CN" altLang="en-US" sz="1500" b="1" dirty="0">
                <a:latin typeface="微软雅黑" panose="020B0503020204020204" pitchFamily="34" charset="-122"/>
                <a:ea typeface="微软雅黑" panose="020B0503020204020204" pitchFamily="34" charset="-122"/>
                <a:sym typeface="Arial" panose="020B0604020202020204" pitchFamily="34" charset="0"/>
              </a:rPr>
              <a:t>四药方案</a:t>
            </a:r>
            <a:r>
              <a:rPr lang="en-US" altLang="zh-CN" sz="1100" b="1" baseline="30000" dirty="0">
                <a:latin typeface="微软雅黑" panose="020B0503020204020204" pitchFamily="34" charset="-122"/>
                <a:ea typeface="微软雅黑" panose="020B0503020204020204" pitchFamily="34" charset="-122"/>
                <a:sym typeface="Arial" panose="020B0604020202020204" pitchFamily="34" charset="0"/>
              </a:rPr>
              <a:t>4</a:t>
            </a:r>
            <a:endParaRPr lang="zh-CN" altLang="en-US" sz="1500" b="1" dirty="0">
              <a:latin typeface="微软雅黑" panose="020B0503020204020204" pitchFamily="34" charset="-122"/>
              <a:ea typeface="微软雅黑" panose="020B0503020204020204" pitchFamily="34" charset="-122"/>
              <a:sym typeface="Arial" panose="020B0604020202020204" pitchFamily="34" charset="0"/>
            </a:endParaRPr>
          </a:p>
        </p:txBody>
      </p:sp>
      <p:grpSp>
        <p:nvGrpSpPr>
          <p:cNvPr id="101" name="Group 1">
            <a:extLst>
              <a:ext uri="{FF2B5EF4-FFF2-40B4-BE49-F238E27FC236}">
                <a16:creationId xmlns:a16="http://schemas.microsoft.com/office/drawing/2014/main" id="{A152FB0F-A463-425A-9F66-51D608C3BE34}"/>
              </a:ext>
            </a:extLst>
          </p:cNvPr>
          <p:cNvGrpSpPr/>
          <p:nvPr/>
        </p:nvGrpSpPr>
        <p:grpSpPr>
          <a:xfrm>
            <a:off x="2336064" y="4184974"/>
            <a:ext cx="8578984" cy="1732158"/>
            <a:chOff x="2247794" y="2590816"/>
            <a:chExt cx="8369050" cy="3464167"/>
          </a:xfrm>
        </p:grpSpPr>
        <p:graphicFrame>
          <p:nvGraphicFramePr>
            <p:cNvPr id="102" name="图表 101">
              <a:extLst>
                <a:ext uri="{FF2B5EF4-FFF2-40B4-BE49-F238E27FC236}">
                  <a16:creationId xmlns:a16="http://schemas.microsoft.com/office/drawing/2014/main" id="{49278479-B1EB-458C-A451-0C634097CD1E}"/>
                </a:ext>
              </a:extLst>
            </p:cNvPr>
            <p:cNvGraphicFramePr/>
            <p:nvPr>
              <p:extLst>
                <p:ext uri="{D42A27DB-BD31-4B8C-83A1-F6EECF244321}">
                  <p14:modId xmlns:p14="http://schemas.microsoft.com/office/powerpoint/2010/main" val="1555382767"/>
                </p:ext>
              </p:extLst>
            </p:nvPr>
          </p:nvGraphicFramePr>
          <p:xfrm>
            <a:off x="2247794" y="2590816"/>
            <a:ext cx="8369050" cy="3464167"/>
          </p:xfrm>
          <a:graphic>
            <a:graphicData uri="http://schemas.openxmlformats.org/drawingml/2006/chart">
              <c:chart xmlns:c="http://schemas.openxmlformats.org/drawingml/2006/chart" xmlns:r="http://schemas.openxmlformats.org/officeDocument/2006/relationships" r:id="rId5"/>
            </a:graphicData>
          </a:graphic>
        </p:graphicFrame>
        <p:grpSp>
          <p:nvGrpSpPr>
            <p:cNvPr id="103" name="组合 102">
              <a:extLst>
                <a:ext uri="{FF2B5EF4-FFF2-40B4-BE49-F238E27FC236}">
                  <a16:creationId xmlns:a16="http://schemas.microsoft.com/office/drawing/2014/main" id="{02A846C9-4332-4649-85B6-7C8AE014F1A5}"/>
                </a:ext>
              </a:extLst>
            </p:cNvPr>
            <p:cNvGrpSpPr/>
            <p:nvPr/>
          </p:nvGrpSpPr>
          <p:grpSpPr>
            <a:xfrm>
              <a:off x="2825888" y="2699104"/>
              <a:ext cx="1372921" cy="954595"/>
              <a:chOff x="1767503" y="3404031"/>
              <a:chExt cx="672892" cy="2094264"/>
            </a:xfrm>
          </p:grpSpPr>
          <p:sp>
            <p:nvSpPr>
              <p:cNvPr id="115" name="TextBox 27">
                <a:extLst>
                  <a:ext uri="{FF2B5EF4-FFF2-40B4-BE49-F238E27FC236}">
                    <a16:creationId xmlns:a16="http://schemas.microsoft.com/office/drawing/2014/main" id="{214A6000-1AC6-4455-9A8A-78FDD283FAA8}"/>
                  </a:ext>
                </a:extLst>
              </p:cNvPr>
              <p:cNvSpPr txBox="1"/>
              <p:nvPr/>
            </p:nvSpPr>
            <p:spPr>
              <a:xfrm>
                <a:off x="1886552" y="3404031"/>
                <a:ext cx="485284" cy="253916"/>
              </a:xfrm>
              <a:prstGeom prst="rect">
                <a:avLst/>
              </a:prstGeom>
              <a:noFill/>
            </p:spPr>
            <p:txBody>
              <a:bodyPr wrap="none" rtlCol="0" anchor="ctr">
                <a:noAutofit/>
              </a:bodyPr>
              <a:lstStyle/>
              <a:p>
                <a:pPr algn="ctr">
                  <a:defRPr/>
                </a:pPr>
                <a:r>
                  <a:rPr lang="en-US" altLang="zh-CN" sz="800" b="1" dirty="0">
                    <a:solidFill>
                      <a:prstClr val="black">
                        <a:lumMod val="65000"/>
                        <a:lumOff val="35000"/>
                      </a:prstClr>
                    </a:solidFill>
                    <a:latin typeface="Microsoft YaHei" panose="020B0503020204020204" pitchFamily="34" charset="-122"/>
                    <a:ea typeface="Microsoft YaHei" panose="020B0503020204020204" pitchFamily="34" charset="-122"/>
                    <a:cs typeface="Arial" panose="020B0604020202020204" pitchFamily="34" charset="0"/>
                  </a:rPr>
                  <a:t>P&lt;0.001</a:t>
                </a:r>
                <a:endParaRPr lang="en-US" sz="800" b="1" dirty="0">
                  <a:solidFill>
                    <a:prstClr val="black">
                      <a:lumMod val="65000"/>
                      <a:lumOff val="35000"/>
                    </a:prstClr>
                  </a:solidFill>
                  <a:latin typeface="Microsoft YaHei" panose="020B0503020204020204" pitchFamily="34" charset="-122"/>
                  <a:ea typeface="Microsoft YaHei" panose="020B0503020204020204" pitchFamily="34" charset="-122"/>
                  <a:cs typeface="Arial" panose="020B0604020202020204" pitchFamily="34" charset="0"/>
                </a:endParaRPr>
              </a:p>
            </p:txBody>
          </p:sp>
          <p:cxnSp>
            <p:nvCxnSpPr>
              <p:cNvPr id="116" name="Connector: Elbow 28">
                <a:extLst>
                  <a:ext uri="{FF2B5EF4-FFF2-40B4-BE49-F238E27FC236}">
                    <a16:creationId xmlns:a16="http://schemas.microsoft.com/office/drawing/2014/main" id="{26349CB4-3CB4-44EA-851D-6865C3212368}"/>
                  </a:ext>
                </a:extLst>
              </p:cNvPr>
              <p:cNvCxnSpPr>
                <a:cxnSpLocks/>
                <a:stCxn id="115" idx="1"/>
              </p:cNvCxnSpPr>
              <p:nvPr/>
            </p:nvCxnSpPr>
            <p:spPr>
              <a:xfrm rot="10800000" flipV="1">
                <a:off x="1767503" y="3530986"/>
                <a:ext cx="119049" cy="1967309"/>
              </a:xfrm>
              <a:prstGeom prst="bentConnector2">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17" name="Connector: Elbow 29">
                <a:extLst>
                  <a:ext uri="{FF2B5EF4-FFF2-40B4-BE49-F238E27FC236}">
                    <a16:creationId xmlns:a16="http://schemas.microsoft.com/office/drawing/2014/main" id="{3D6E7B26-F210-4000-BC41-9DBCC10D25CA}"/>
                  </a:ext>
                </a:extLst>
              </p:cNvPr>
              <p:cNvCxnSpPr>
                <a:cxnSpLocks/>
                <a:stCxn id="115" idx="3"/>
              </p:cNvCxnSpPr>
              <p:nvPr/>
            </p:nvCxnSpPr>
            <p:spPr>
              <a:xfrm>
                <a:off x="2371836" y="3530990"/>
                <a:ext cx="68559" cy="542687"/>
              </a:xfrm>
              <a:prstGeom prst="bentConnector2">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nvGrpSpPr>
            <p:cNvPr id="104" name="组合 103">
              <a:extLst>
                <a:ext uri="{FF2B5EF4-FFF2-40B4-BE49-F238E27FC236}">
                  <a16:creationId xmlns:a16="http://schemas.microsoft.com/office/drawing/2014/main" id="{75C6F338-CBAC-4A8D-BFD1-3493D146FD03}"/>
                </a:ext>
              </a:extLst>
            </p:cNvPr>
            <p:cNvGrpSpPr/>
            <p:nvPr/>
          </p:nvGrpSpPr>
          <p:grpSpPr>
            <a:xfrm>
              <a:off x="5532486" y="2756972"/>
              <a:ext cx="1372921" cy="954595"/>
              <a:chOff x="1767503" y="3404031"/>
              <a:chExt cx="672892" cy="2094264"/>
            </a:xfrm>
          </p:grpSpPr>
          <p:sp>
            <p:nvSpPr>
              <p:cNvPr id="112" name="TextBox 27">
                <a:extLst>
                  <a:ext uri="{FF2B5EF4-FFF2-40B4-BE49-F238E27FC236}">
                    <a16:creationId xmlns:a16="http://schemas.microsoft.com/office/drawing/2014/main" id="{5B9EC281-8338-4F34-8313-9806A7A58DD9}"/>
                  </a:ext>
                </a:extLst>
              </p:cNvPr>
              <p:cNvSpPr txBox="1"/>
              <p:nvPr/>
            </p:nvSpPr>
            <p:spPr>
              <a:xfrm>
                <a:off x="1886552" y="3404031"/>
                <a:ext cx="485284" cy="253916"/>
              </a:xfrm>
              <a:prstGeom prst="rect">
                <a:avLst/>
              </a:prstGeom>
              <a:noFill/>
            </p:spPr>
            <p:txBody>
              <a:bodyPr wrap="none" rtlCol="0" anchor="ctr">
                <a:noAutofit/>
              </a:bodyPr>
              <a:lstStyle/>
              <a:p>
                <a:pPr algn="ctr">
                  <a:defRPr/>
                </a:pPr>
                <a:r>
                  <a:rPr lang="en-US" altLang="zh-CN" sz="800" b="1" dirty="0">
                    <a:solidFill>
                      <a:prstClr val="black">
                        <a:lumMod val="65000"/>
                        <a:lumOff val="35000"/>
                      </a:prstClr>
                    </a:solidFill>
                    <a:latin typeface="Microsoft YaHei" panose="020B0503020204020204" pitchFamily="34" charset="-122"/>
                    <a:ea typeface="Microsoft YaHei" panose="020B0503020204020204" pitchFamily="34" charset="-122"/>
                    <a:cs typeface="Arial" panose="020B0604020202020204" pitchFamily="34" charset="0"/>
                  </a:rPr>
                  <a:t>P&lt;0.001</a:t>
                </a:r>
                <a:endParaRPr lang="en-US" sz="800" b="1" dirty="0">
                  <a:solidFill>
                    <a:prstClr val="black">
                      <a:lumMod val="65000"/>
                      <a:lumOff val="35000"/>
                    </a:prstClr>
                  </a:solidFill>
                  <a:latin typeface="Microsoft YaHei" panose="020B0503020204020204" pitchFamily="34" charset="-122"/>
                  <a:ea typeface="Microsoft YaHei" panose="020B0503020204020204" pitchFamily="34" charset="-122"/>
                  <a:cs typeface="Arial" panose="020B0604020202020204" pitchFamily="34" charset="0"/>
                </a:endParaRPr>
              </a:p>
            </p:txBody>
          </p:sp>
          <p:cxnSp>
            <p:nvCxnSpPr>
              <p:cNvPr id="113" name="Connector: Elbow 28">
                <a:extLst>
                  <a:ext uri="{FF2B5EF4-FFF2-40B4-BE49-F238E27FC236}">
                    <a16:creationId xmlns:a16="http://schemas.microsoft.com/office/drawing/2014/main" id="{7450E091-8F51-45E4-AB1E-EC7E6BF85C74}"/>
                  </a:ext>
                </a:extLst>
              </p:cNvPr>
              <p:cNvCxnSpPr>
                <a:cxnSpLocks/>
                <a:stCxn id="112" idx="1"/>
              </p:cNvCxnSpPr>
              <p:nvPr/>
            </p:nvCxnSpPr>
            <p:spPr>
              <a:xfrm rot="10800000" flipV="1">
                <a:off x="1767503" y="3530986"/>
                <a:ext cx="119049" cy="1967309"/>
              </a:xfrm>
              <a:prstGeom prst="bentConnector2">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14" name="Connector: Elbow 29">
                <a:extLst>
                  <a:ext uri="{FF2B5EF4-FFF2-40B4-BE49-F238E27FC236}">
                    <a16:creationId xmlns:a16="http://schemas.microsoft.com/office/drawing/2014/main" id="{9D4C13A4-8674-4092-9FA8-867DFCD9197A}"/>
                  </a:ext>
                </a:extLst>
              </p:cNvPr>
              <p:cNvCxnSpPr>
                <a:cxnSpLocks/>
                <a:stCxn id="112" idx="3"/>
              </p:cNvCxnSpPr>
              <p:nvPr/>
            </p:nvCxnSpPr>
            <p:spPr>
              <a:xfrm>
                <a:off x="2371836" y="3530990"/>
                <a:ext cx="68559" cy="542687"/>
              </a:xfrm>
              <a:prstGeom prst="bentConnector2">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nvGrpSpPr>
            <p:cNvPr id="105" name="组合 104">
              <a:extLst>
                <a:ext uri="{FF2B5EF4-FFF2-40B4-BE49-F238E27FC236}">
                  <a16:creationId xmlns:a16="http://schemas.microsoft.com/office/drawing/2014/main" id="{B4A4E625-6D3E-49ED-8C9D-22348EAB6E4F}"/>
                </a:ext>
              </a:extLst>
            </p:cNvPr>
            <p:cNvGrpSpPr/>
            <p:nvPr/>
          </p:nvGrpSpPr>
          <p:grpSpPr>
            <a:xfrm>
              <a:off x="8239082" y="3195628"/>
              <a:ext cx="1334478" cy="592225"/>
              <a:chOff x="1786344" y="3404031"/>
              <a:chExt cx="654051" cy="1299268"/>
            </a:xfrm>
          </p:grpSpPr>
          <p:sp>
            <p:nvSpPr>
              <p:cNvPr id="109" name="TextBox 27">
                <a:extLst>
                  <a:ext uri="{FF2B5EF4-FFF2-40B4-BE49-F238E27FC236}">
                    <a16:creationId xmlns:a16="http://schemas.microsoft.com/office/drawing/2014/main" id="{6C10697E-26CB-429A-863A-5049C45DBD96}"/>
                  </a:ext>
                </a:extLst>
              </p:cNvPr>
              <p:cNvSpPr txBox="1"/>
              <p:nvPr/>
            </p:nvSpPr>
            <p:spPr>
              <a:xfrm>
                <a:off x="1886552" y="3404031"/>
                <a:ext cx="485284" cy="253916"/>
              </a:xfrm>
              <a:prstGeom prst="rect">
                <a:avLst/>
              </a:prstGeom>
              <a:noFill/>
            </p:spPr>
            <p:txBody>
              <a:bodyPr wrap="none" rtlCol="0" anchor="ctr">
                <a:noAutofit/>
              </a:bodyPr>
              <a:lstStyle/>
              <a:p>
                <a:pPr algn="ctr">
                  <a:defRPr/>
                </a:pPr>
                <a:r>
                  <a:rPr lang="en-US" altLang="zh-CN" sz="800" b="1" dirty="0">
                    <a:solidFill>
                      <a:prstClr val="black">
                        <a:lumMod val="65000"/>
                        <a:lumOff val="35000"/>
                      </a:prstClr>
                    </a:solidFill>
                    <a:latin typeface="Microsoft YaHei" panose="020B0503020204020204" pitchFamily="34" charset="-122"/>
                    <a:ea typeface="Microsoft YaHei" panose="020B0503020204020204" pitchFamily="34" charset="-122"/>
                    <a:cs typeface="Arial" panose="020B0604020202020204" pitchFamily="34" charset="0"/>
                  </a:rPr>
                  <a:t>P&lt;0.001</a:t>
                </a:r>
                <a:endParaRPr lang="en-US" sz="800" b="1" dirty="0">
                  <a:solidFill>
                    <a:prstClr val="black">
                      <a:lumMod val="65000"/>
                      <a:lumOff val="35000"/>
                    </a:prstClr>
                  </a:solidFill>
                  <a:latin typeface="Microsoft YaHei" panose="020B0503020204020204" pitchFamily="34" charset="-122"/>
                  <a:ea typeface="Microsoft YaHei" panose="020B0503020204020204" pitchFamily="34" charset="-122"/>
                  <a:cs typeface="Arial" panose="020B0604020202020204" pitchFamily="34" charset="0"/>
                </a:endParaRPr>
              </a:p>
            </p:txBody>
          </p:sp>
          <p:cxnSp>
            <p:nvCxnSpPr>
              <p:cNvPr id="110" name="Connector: Elbow 28">
                <a:extLst>
                  <a:ext uri="{FF2B5EF4-FFF2-40B4-BE49-F238E27FC236}">
                    <a16:creationId xmlns:a16="http://schemas.microsoft.com/office/drawing/2014/main" id="{CFFB6704-67CF-4447-A95F-E03B0D507225}"/>
                  </a:ext>
                </a:extLst>
              </p:cNvPr>
              <p:cNvCxnSpPr>
                <a:cxnSpLocks/>
                <a:stCxn id="109" idx="1"/>
              </p:cNvCxnSpPr>
              <p:nvPr/>
            </p:nvCxnSpPr>
            <p:spPr>
              <a:xfrm rot="10800000" flipV="1">
                <a:off x="1786344" y="3530988"/>
                <a:ext cx="100208" cy="1172311"/>
              </a:xfrm>
              <a:prstGeom prst="bentConnector2">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11" name="Connector: Elbow 29">
                <a:extLst>
                  <a:ext uri="{FF2B5EF4-FFF2-40B4-BE49-F238E27FC236}">
                    <a16:creationId xmlns:a16="http://schemas.microsoft.com/office/drawing/2014/main" id="{98F55A5F-F263-4A13-B694-4CB7267ED1DA}"/>
                  </a:ext>
                </a:extLst>
              </p:cNvPr>
              <p:cNvCxnSpPr>
                <a:cxnSpLocks/>
                <a:stCxn id="109" idx="3"/>
              </p:cNvCxnSpPr>
              <p:nvPr/>
            </p:nvCxnSpPr>
            <p:spPr>
              <a:xfrm>
                <a:off x="2371836" y="3530990"/>
                <a:ext cx="68559" cy="542687"/>
              </a:xfrm>
              <a:prstGeom prst="bentConnector2">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sp>
          <p:nvSpPr>
            <p:cNvPr id="106" name="文本框 45">
              <a:extLst>
                <a:ext uri="{FF2B5EF4-FFF2-40B4-BE49-F238E27FC236}">
                  <a16:creationId xmlns:a16="http://schemas.microsoft.com/office/drawing/2014/main" id="{1C03F085-2F4C-44A9-A708-10B9BD00D909}"/>
                </a:ext>
              </a:extLst>
            </p:cNvPr>
            <p:cNvSpPr txBox="1"/>
            <p:nvPr/>
          </p:nvSpPr>
          <p:spPr>
            <a:xfrm>
              <a:off x="2548358" y="5607311"/>
              <a:ext cx="2279542" cy="365158"/>
            </a:xfrm>
            <a:prstGeom prst="rect">
              <a:avLst/>
            </a:prstGeom>
            <a:noFill/>
          </p:spPr>
          <p:txBody>
            <a:bodyPr wrap="square" rtlCol="0">
              <a:spAutoFit/>
            </a:bodyPr>
            <a:lstStyle/>
            <a:p>
              <a:pPr algn="ct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总胆固醇（</a:t>
              </a:r>
              <a:r>
                <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rPr>
                <a:t>mmol/L</a:t>
              </a: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a:t>
              </a:r>
            </a:p>
          </p:txBody>
        </p:sp>
        <p:sp>
          <p:nvSpPr>
            <p:cNvPr id="107" name="文本框 45">
              <a:extLst>
                <a:ext uri="{FF2B5EF4-FFF2-40B4-BE49-F238E27FC236}">
                  <a16:creationId xmlns:a16="http://schemas.microsoft.com/office/drawing/2014/main" id="{85542F7B-0167-4E9E-A1FC-C78939E3596B}"/>
                </a:ext>
              </a:extLst>
            </p:cNvPr>
            <p:cNvSpPr txBox="1"/>
            <p:nvPr/>
          </p:nvSpPr>
          <p:spPr>
            <a:xfrm>
              <a:off x="5292548" y="5646556"/>
              <a:ext cx="2279542" cy="365158"/>
            </a:xfrm>
            <a:prstGeom prst="rect">
              <a:avLst/>
            </a:prstGeom>
            <a:noFill/>
          </p:spPr>
          <p:txBody>
            <a:bodyPr wrap="square" rtlCol="0">
              <a:spAutoFit/>
            </a:bodyPr>
            <a:lstStyle/>
            <a:p>
              <a:pPr algn="ct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低密度脂蛋白（</a:t>
              </a:r>
              <a:r>
                <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rPr>
                <a:t>mmol/L</a:t>
              </a: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a:t>
              </a:r>
            </a:p>
          </p:txBody>
        </p:sp>
        <p:sp>
          <p:nvSpPr>
            <p:cNvPr id="108" name="文本框 45">
              <a:extLst>
                <a:ext uri="{FF2B5EF4-FFF2-40B4-BE49-F238E27FC236}">
                  <a16:creationId xmlns:a16="http://schemas.microsoft.com/office/drawing/2014/main" id="{87C8A28A-BFEF-43C9-AC4A-59C1F2F2DA7F}"/>
                </a:ext>
              </a:extLst>
            </p:cNvPr>
            <p:cNvSpPr txBox="1"/>
            <p:nvPr/>
          </p:nvSpPr>
          <p:spPr>
            <a:xfrm>
              <a:off x="7878962" y="5685182"/>
              <a:ext cx="2279542" cy="365158"/>
            </a:xfrm>
            <a:prstGeom prst="rect">
              <a:avLst/>
            </a:prstGeom>
            <a:noFill/>
          </p:spPr>
          <p:txBody>
            <a:bodyPr wrap="square" rtlCol="0">
              <a:spAutoFit/>
            </a:bodyPr>
            <a:lstStyle/>
            <a:p>
              <a:pPr algn="ct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甘油三酯（</a:t>
              </a:r>
              <a:r>
                <a:rPr lang="en-US" altLang="zh-CN" sz="1000" dirty="0">
                  <a:solidFill>
                    <a:schemeClr val="tx1">
                      <a:lumMod val="75000"/>
                      <a:lumOff val="25000"/>
                    </a:schemeClr>
                  </a:solidFill>
                  <a:latin typeface="微软雅黑" panose="020B0503020204020204" pitchFamily="34" charset="-122"/>
                  <a:ea typeface="微软雅黑" panose="020B0503020204020204" pitchFamily="34" charset="-122"/>
                </a:rPr>
                <a:t>mmol/L</a:t>
              </a:r>
              <a:r>
                <a:rPr lang="zh-CN" altLang="en-US" sz="1000" dirty="0">
                  <a:solidFill>
                    <a:schemeClr val="tx1">
                      <a:lumMod val="75000"/>
                      <a:lumOff val="25000"/>
                    </a:schemeClr>
                  </a:solidFill>
                  <a:latin typeface="微软雅黑" panose="020B0503020204020204" pitchFamily="34" charset="-122"/>
                  <a:ea typeface="微软雅黑" panose="020B0503020204020204" pitchFamily="34" charset="-122"/>
                </a:rPr>
                <a:t>）</a:t>
              </a:r>
            </a:p>
          </p:txBody>
        </p:sp>
      </p:grpSp>
      <p:sp>
        <p:nvSpPr>
          <p:cNvPr id="120" name="文本框 119">
            <a:extLst>
              <a:ext uri="{FF2B5EF4-FFF2-40B4-BE49-F238E27FC236}">
                <a16:creationId xmlns:a16="http://schemas.microsoft.com/office/drawing/2014/main" id="{B2EF564D-826C-4E89-B358-99D89F3B09AC}"/>
              </a:ext>
            </a:extLst>
          </p:cNvPr>
          <p:cNvSpPr txBox="1"/>
          <p:nvPr/>
        </p:nvSpPr>
        <p:spPr>
          <a:xfrm>
            <a:off x="6413880" y="1500945"/>
            <a:ext cx="6108700" cy="369332"/>
          </a:xfrm>
          <a:prstGeom prst="rect">
            <a:avLst/>
          </a:prstGeom>
          <a:noFill/>
        </p:spPr>
        <p:txBody>
          <a:bodyPr wrap="square">
            <a:spAutoFit/>
          </a:bodyPr>
          <a:lstStyle/>
          <a:p>
            <a:pPr marL="285750" indent="-285750">
              <a:buClr>
                <a:schemeClr val="tx1"/>
              </a:buClr>
              <a:buFont typeface="Wingdings" panose="05000000000000000000" pitchFamily="2" charset="2"/>
              <a:buChar char="q"/>
            </a:pPr>
            <a:r>
              <a:rPr lang="zh-CN" altLang="en-US" sz="1600" b="1" dirty="0">
                <a:latin typeface="微软雅黑" panose="020B0503020204020204" pitchFamily="34" charset="-122"/>
                <a:ea typeface="微软雅黑" panose="020B0503020204020204" pitchFamily="34" charset="-122"/>
              </a:rPr>
              <a:t>相比艾考恩丙替片每年≥</a:t>
            </a:r>
            <a:r>
              <a:rPr lang="en-US" altLang="zh-CN" sz="1600" b="1" dirty="0">
                <a:latin typeface="微软雅黑" panose="020B0503020204020204" pitchFamily="34" charset="-122"/>
                <a:ea typeface="微软雅黑" panose="020B0503020204020204" pitchFamily="34" charset="-122"/>
              </a:rPr>
              <a:t>1</a:t>
            </a:r>
            <a:r>
              <a:rPr lang="zh-CN" altLang="en-US" sz="1600" b="1" dirty="0">
                <a:latin typeface="微软雅黑" panose="020B0503020204020204" pitchFamily="34" charset="-122"/>
                <a:ea typeface="微软雅黑" panose="020B0503020204020204" pitchFamily="34" charset="-122"/>
              </a:rPr>
              <a:t>次药物相互作用的发生率</a:t>
            </a:r>
            <a:r>
              <a:rPr lang="zh-CN" altLang="en-US" b="1" dirty="0">
                <a:solidFill>
                  <a:srgbClr val="C10562"/>
                </a:solidFill>
                <a:latin typeface="微软雅黑" panose="020B0503020204020204" pitchFamily="34" charset="-122"/>
                <a:ea typeface="微软雅黑" panose="020B0503020204020204" pitchFamily="34" charset="-122"/>
              </a:rPr>
              <a:t>更低</a:t>
            </a:r>
            <a:r>
              <a:rPr lang="en-US" altLang="zh-CN" b="1" baseline="30000" dirty="0">
                <a:latin typeface="微软雅黑" panose="020B0503020204020204" pitchFamily="34" charset="-122"/>
                <a:ea typeface="微软雅黑" panose="020B0503020204020204" pitchFamily="34" charset="-122"/>
              </a:rPr>
              <a:t>3</a:t>
            </a:r>
            <a:endParaRPr lang="en-US" sz="1500" b="1" baseline="30000" dirty="0">
              <a:latin typeface="微软雅黑" panose="020B0503020204020204" pitchFamily="34" charset="-122"/>
              <a:ea typeface="微软雅黑" panose="020B0503020204020204" pitchFamily="34" charset="-122"/>
            </a:endParaRPr>
          </a:p>
        </p:txBody>
      </p:sp>
      <p:sp>
        <p:nvSpPr>
          <p:cNvPr id="122" name="文本框 121">
            <a:extLst>
              <a:ext uri="{FF2B5EF4-FFF2-40B4-BE49-F238E27FC236}">
                <a16:creationId xmlns:a16="http://schemas.microsoft.com/office/drawing/2014/main" id="{18EEB883-4CF9-450F-A0BD-9E0932350854}"/>
              </a:ext>
            </a:extLst>
          </p:cNvPr>
          <p:cNvSpPr txBox="1"/>
          <p:nvPr/>
        </p:nvSpPr>
        <p:spPr>
          <a:xfrm>
            <a:off x="1620273" y="1937739"/>
            <a:ext cx="3311548"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rPr>
              <a:t>说明书中列出的</a:t>
            </a:r>
            <a:r>
              <a:rPr kumimoji="0" lang="en-US" sz="1400" i="0" u="none" strike="noStrike" kern="1200" cap="none" spc="0" normalizeH="0" baseline="0" noProof="0" dirty="0" err="1">
                <a:ln>
                  <a:noFill/>
                </a:ln>
                <a:solidFill>
                  <a:srgbClr val="262626"/>
                </a:solidFill>
                <a:effectLst/>
                <a:uLnTx/>
                <a:uFillTx/>
                <a:latin typeface="微软雅黑" panose="020B0503020204020204" pitchFamily="34" charset="-122"/>
                <a:ea typeface="微软雅黑" panose="020B0503020204020204" pitchFamily="34" charset="-122"/>
                <a:cs typeface="+mn-cs"/>
              </a:rPr>
              <a:t>最常报告的不良反应</a:t>
            </a:r>
            <a:endParaRPr kumimoji="0" lang="en-US" altLang="zh-CN" sz="1400" i="0" u="none" strike="noStrike" kern="1200" cap="none" spc="0" normalizeH="0" baseline="0" noProof="0" dirty="0">
              <a:ln>
                <a:noFill/>
              </a:ln>
              <a:solidFill>
                <a:srgbClr val="262626"/>
              </a:solidFill>
              <a:effectLst/>
              <a:uLnTx/>
              <a:uFillTx/>
              <a:latin typeface="微软雅黑" panose="020B0503020204020204" pitchFamily="34" charset="-122"/>
              <a:ea typeface="微软雅黑" panose="020B0503020204020204" pitchFamily="34" charset="-122"/>
              <a:cs typeface="+mn-cs"/>
            </a:endParaRPr>
          </a:p>
        </p:txBody>
      </p:sp>
      <p:grpSp>
        <p:nvGrpSpPr>
          <p:cNvPr id="130" name="Group 2">
            <a:extLst>
              <a:ext uri="{FF2B5EF4-FFF2-40B4-BE49-F238E27FC236}">
                <a16:creationId xmlns:a16="http://schemas.microsoft.com/office/drawing/2014/main" id="{B89B9C28-46F2-452C-9DD2-4A0DA5622CB7}"/>
              </a:ext>
            </a:extLst>
          </p:cNvPr>
          <p:cNvGrpSpPr/>
          <p:nvPr/>
        </p:nvGrpSpPr>
        <p:grpSpPr>
          <a:xfrm>
            <a:off x="1224950" y="-30133"/>
            <a:ext cx="9609827" cy="584541"/>
            <a:chOff x="1224950" y="264034"/>
            <a:chExt cx="9609827" cy="584541"/>
          </a:xfrm>
        </p:grpSpPr>
        <p:sp>
          <p:nvSpPr>
            <p:cNvPr id="131" name="文本框 17">
              <a:extLst>
                <a:ext uri="{FF2B5EF4-FFF2-40B4-BE49-F238E27FC236}">
                  <a16:creationId xmlns:a16="http://schemas.microsoft.com/office/drawing/2014/main" id="{A4E5258A-0125-453A-8ED2-7FA0B1E07E15}"/>
                </a:ext>
              </a:extLst>
            </p:cNvPr>
            <p:cNvSpPr txBox="1"/>
            <p:nvPr/>
          </p:nvSpPr>
          <p:spPr>
            <a:xfrm>
              <a:off x="3305714" y="264034"/>
              <a:ext cx="544830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gradFill>
                      <a:gsLst>
                        <a:gs pos="0">
                          <a:srgbClr val="E4401D"/>
                        </a:gs>
                        <a:gs pos="88000">
                          <a:srgbClr val="F9C235">
                            <a:alpha val="0"/>
                          </a:srgbClr>
                        </a:gs>
                      </a:gsLst>
                      <a:lin ang="5400000" scaled="1"/>
                    </a:gradFill>
                  </a:ln>
                  <a:solidFill>
                    <a:srgbClr val="B8075F"/>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rPr>
                <a:t>02</a:t>
              </a:r>
              <a:endParaRPr kumimoji="0" lang="zh-CN" altLang="en-US" sz="2000" b="1" i="0" u="none" strike="noStrike" kern="1200" cap="none" spc="0" normalizeH="0" baseline="0" noProof="0" dirty="0">
                <a:ln>
                  <a:gradFill>
                    <a:gsLst>
                      <a:gs pos="0">
                        <a:srgbClr val="E4401D"/>
                      </a:gs>
                      <a:gs pos="88000">
                        <a:srgbClr val="F9C235">
                          <a:alpha val="0"/>
                        </a:srgbClr>
                      </a:gs>
                    </a:gsLst>
                    <a:lin ang="5400000" scaled="1"/>
                  </a:gradFill>
                </a:ln>
                <a:solidFill>
                  <a:srgbClr val="B8075F"/>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endParaRPr>
            </a:p>
          </p:txBody>
        </p:sp>
        <p:grpSp>
          <p:nvGrpSpPr>
            <p:cNvPr id="132" name="组合 131">
              <a:extLst>
                <a:ext uri="{FF2B5EF4-FFF2-40B4-BE49-F238E27FC236}">
                  <a16:creationId xmlns:a16="http://schemas.microsoft.com/office/drawing/2014/main" id="{038E021C-EB75-4C6B-9AC0-8001D98E3944}"/>
                </a:ext>
              </a:extLst>
            </p:cNvPr>
            <p:cNvGrpSpPr/>
            <p:nvPr/>
          </p:nvGrpSpPr>
          <p:grpSpPr>
            <a:xfrm>
              <a:off x="1224950" y="602354"/>
              <a:ext cx="9609827" cy="246221"/>
              <a:chOff x="607784" y="3405939"/>
              <a:chExt cx="10976432" cy="246221"/>
            </a:xfrm>
          </p:grpSpPr>
          <p:sp>
            <p:nvSpPr>
              <p:cNvPr id="133" name="文本框 14">
                <a:extLst>
                  <a:ext uri="{FF2B5EF4-FFF2-40B4-BE49-F238E27FC236}">
                    <a16:creationId xmlns:a16="http://schemas.microsoft.com/office/drawing/2014/main" id="{D00AE42C-3813-4693-B0DA-35B2CD4FC6B6}"/>
                  </a:ext>
                </a:extLst>
              </p:cNvPr>
              <p:cNvSpPr txBox="1"/>
              <p:nvPr/>
            </p:nvSpPr>
            <p:spPr>
              <a:xfrm>
                <a:off x="5699708" y="3405939"/>
                <a:ext cx="834919" cy="246221"/>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300" normalizeH="0" baseline="0" noProof="0" dirty="0">
                    <a:ln>
                      <a:noFill/>
                    </a:ln>
                    <a:solidFill>
                      <a:srgbClr val="B8075F"/>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rPr>
                  <a:t>安全性</a:t>
                </a:r>
              </a:p>
            </p:txBody>
          </p:sp>
          <p:cxnSp>
            <p:nvCxnSpPr>
              <p:cNvPr id="134" name="直接连接符 18">
                <a:extLst>
                  <a:ext uri="{FF2B5EF4-FFF2-40B4-BE49-F238E27FC236}">
                    <a16:creationId xmlns:a16="http://schemas.microsoft.com/office/drawing/2014/main" id="{E0F77FBA-7D61-4EF3-BBFB-6CAD29D6D65D}"/>
                  </a:ext>
                </a:extLst>
              </p:cNvPr>
              <p:cNvCxnSpPr>
                <a:cxnSpLocks/>
              </p:cNvCxnSpPr>
              <p:nvPr/>
            </p:nvCxnSpPr>
            <p:spPr>
              <a:xfrm>
                <a:off x="8506916" y="3452239"/>
                <a:ext cx="3077300" cy="0"/>
              </a:xfrm>
              <a:prstGeom prst="line">
                <a:avLst/>
              </a:prstGeom>
              <a:ln w="15875">
                <a:solidFill>
                  <a:srgbClr val="E4401D"/>
                </a:solidFill>
              </a:ln>
            </p:spPr>
            <p:style>
              <a:lnRef idx="1">
                <a:schemeClr val="accent1"/>
              </a:lnRef>
              <a:fillRef idx="0">
                <a:schemeClr val="accent1"/>
              </a:fillRef>
              <a:effectRef idx="0">
                <a:schemeClr val="accent1"/>
              </a:effectRef>
              <a:fontRef idx="minor">
                <a:schemeClr val="tx1"/>
              </a:fontRef>
            </p:style>
          </p:cxnSp>
          <p:cxnSp>
            <p:nvCxnSpPr>
              <p:cNvPr id="135" name="直接连接符 19">
                <a:extLst>
                  <a:ext uri="{FF2B5EF4-FFF2-40B4-BE49-F238E27FC236}">
                    <a16:creationId xmlns:a16="http://schemas.microsoft.com/office/drawing/2014/main" id="{1F49CC92-7273-4170-B235-D222C28D4D0B}"/>
                  </a:ext>
                </a:extLst>
              </p:cNvPr>
              <p:cNvCxnSpPr>
                <a:cxnSpLocks/>
              </p:cNvCxnSpPr>
              <p:nvPr/>
            </p:nvCxnSpPr>
            <p:spPr>
              <a:xfrm>
                <a:off x="607784" y="3452239"/>
                <a:ext cx="2929046" cy="0"/>
              </a:xfrm>
              <a:prstGeom prst="line">
                <a:avLst/>
              </a:prstGeom>
              <a:ln w="15875">
                <a:solidFill>
                  <a:srgbClr val="E4401D"/>
                </a:solidFill>
              </a:ln>
            </p:spPr>
            <p:style>
              <a:lnRef idx="1">
                <a:schemeClr val="accent1"/>
              </a:lnRef>
              <a:fillRef idx="0">
                <a:schemeClr val="accent1"/>
              </a:fillRef>
              <a:effectRef idx="0">
                <a:schemeClr val="accent1"/>
              </a:effectRef>
              <a:fontRef idx="minor">
                <a:schemeClr val="tx1"/>
              </a:fontRef>
            </p:style>
          </p:cxnSp>
        </p:grpSp>
      </p:grpSp>
      <p:sp>
        <p:nvSpPr>
          <p:cNvPr id="37" name="文本框 36">
            <a:extLst>
              <a:ext uri="{FF2B5EF4-FFF2-40B4-BE49-F238E27FC236}">
                <a16:creationId xmlns:a16="http://schemas.microsoft.com/office/drawing/2014/main" id="{D744BAF1-6470-47EF-BADE-9C8154D47A7F}"/>
              </a:ext>
            </a:extLst>
          </p:cNvPr>
          <p:cNvSpPr txBox="1"/>
          <p:nvPr/>
        </p:nvSpPr>
        <p:spPr>
          <a:xfrm>
            <a:off x="78121" y="6252150"/>
            <a:ext cx="5543380" cy="584775"/>
          </a:xfrm>
          <a:prstGeom prst="rect">
            <a:avLst/>
          </a:prstGeom>
          <a:noFill/>
        </p:spPr>
        <p:txBody>
          <a:bodyPr wrap="square">
            <a:spAutoFit/>
          </a:bodyPr>
          <a:lstStyle/>
          <a:p>
            <a:pPr marL="228600" indent="-228600">
              <a:buAutoNum type="arabicPeriod"/>
            </a:pPr>
            <a:r>
              <a:rPr lang="zh-CN" altLang="en-US" sz="8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拉米夫定多替拉韦片说明书</a:t>
            </a:r>
            <a:endParaRPr lang="en-US" altLang="zh-CN" sz="8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a:p>
            <a:pPr marL="228600" indent="-228600">
              <a:buAutoNum type="arabicPeriod"/>
            </a:pPr>
            <a:r>
              <a:rPr lang="zh-CN" altLang="en-US" sz="8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艾考恩丙替片说明书</a:t>
            </a:r>
            <a:endParaRPr lang="en-US" altLang="zh-CN" sz="80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a:p>
            <a:pPr marL="228600" indent="-228600">
              <a:buAutoNum type="arabicPeriod"/>
            </a:pPr>
            <a:r>
              <a:rPr lang="nl-NL" altLang="zh-CN" sz="8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Lopes S, et al. Pharmacoepidemiol Drug Saf 2020, 29 (3), 270-278.</a:t>
            </a:r>
          </a:p>
          <a:p>
            <a:pPr marL="228600" indent="-228600">
              <a:buAutoNum type="arabicPeriod"/>
            </a:pPr>
            <a:r>
              <a:rPr lang="fr-FR" altLang="zh-CN" sz="800" b="0" dirty="0" err="1">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Osiyemi</a:t>
            </a:r>
            <a:r>
              <a:rPr lang="fr-FR" altLang="zh-CN" sz="8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rPr>
              <a:t> O, et al.. Clin Infect Dis  2022 Jan 25;ciac036. </a:t>
            </a:r>
            <a:endParaRPr lang="en-US" altLang="zh-CN" sz="800" b="0" dirty="0">
              <a:solidFill>
                <a:schemeClr val="bg1"/>
              </a:solidFill>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38" name="文本框 37">
            <a:extLst>
              <a:ext uri="{FF2B5EF4-FFF2-40B4-BE49-F238E27FC236}">
                <a16:creationId xmlns:a16="http://schemas.microsoft.com/office/drawing/2014/main" id="{30967FF6-DFD2-42BC-A095-A8015537FD84}"/>
              </a:ext>
            </a:extLst>
          </p:cNvPr>
          <p:cNvSpPr txBox="1"/>
          <p:nvPr/>
        </p:nvSpPr>
        <p:spPr>
          <a:xfrm>
            <a:off x="388286" y="4487393"/>
            <a:ext cx="2096549" cy="52322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zh-CN" sz="14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TANGO RCT</a:t>
            </a:r>
            <a:r>
              <a:rPr kumimoji="1" lang="zh-CN" altLang="en-US" sz="14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研究</a:t>
            </a:r>
            <a:endParaRPr kumimoji="1" lang="en-US" altLang="zh-CN" sz="14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4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平稳转换患者，</a:t>
            </a:r>
            <a:r>
              <a:rPr kumimoji="1" lang="en-US" altLang="zh-CN" sz="14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144</a:t>
            </a:r>
            <a:r>
              <a:rPr kumimoji="1" lang="zh-CN" altLang="en-US" sz="140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周</a:t>
            </a:r>
          </a:p>
        </p:txBody>
      </p:sp>
      <p:sp>
        <p:nvSpPr>
          <p:cNvPr id="39" name="文本框 38">
            <a:extLst>
              <a:ext uri="{FF2B5EF4-FFF2-40B4-BE49-F238E27FC236}">
                <a16:creationId xmlns:a16="http://schemas.microsoft.com/office/drawing/2014/main" id="{9458CC60-FF10-4E62-AD18-3922069A3D10}"/>
              </a:ext>
            </a:extLst>
          </p:cNvPr>
          <p:cNvSpPr txBox="1"/>
          <p:nvPr/>
        </p:nvSpPr>
        <p:spPr>
          <a:xfrm>
            <a:off x="147219" y="5961560"/>
            <a:ext cx="10328020" cy="33855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TANGO</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研究：</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多中心、随机、开放标签、阳性对照、</a:t>
            </a:r>
            <a:r>
              <a:rPr kumimoji="0" lang="en-GB"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III</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期临床研究，纳入</a:t>
            </a:r>
            <a:r>
              <a:rPr kumimoji="0" lang="en-US" altLang="zh-CN" sz="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741</a:t>
            </a:r>
            <a:r>
              <a:rPr kumimoji="0" lang="zh-CN" altLang="en-US" sz="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例</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接受含</a:t>
            </a:r>
            <a:r>
              <a:rPr kumimoji="0" lang="en-US"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TAF</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方案（≥</a:t>
            </a:r>
            <a:r>
              <a:rPr kumimoji="0" lang="en-US"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3</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种药物）并实现病毒学抑制≥ </a:t>
            </a:r>
            <a:r>
              <a:rPr kumimoji="0" lang="en-US"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6</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个月的</a:t>
            </a:r>
            <a:r>
              <a:rPr kumimoji="0" lang="en-US"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HIV</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成人感染者</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按</a:t>
            </a:r>
            <a:r>
              <a:rPr kumimoji="0" lang="en-US"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1:1</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随机接受每日一次固定剂量</a:t>
            </a:r>
            <a:r>
              <a:rPr kumimoji="0" lang="en-US"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DTG/3TC</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或继续使用</a:t>
            </a:r>
            <a:r>
              <a:rPr kumimoji="0" lang="en-US"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TAF</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为基础的方案治疗。主要终点为血浆</a:t>
            </a:r>
            <a:r>
              <a:rPr kumimoji="0" lang="en-GB"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HIV-1 RNA</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en-GB"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50</a:t>
            </a:r>
            <a:r>
              <a:rPr kumimoji="0" lang="en-US"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c/</a:t>
            </a:r>
            <a:r>
              <a:rPr kumimoji="0" lang="en-GB"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mL</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受试者比例</a:t>
            </a:r>
            <a:endPar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endParaRPr>
          </a:p>
        </p:txBody>
      </p:sp>
      <p:sp>
        <p:nvSpPr>
          <p:cNvPr id="40" name="灯片编号占位符 3">
            <a:extLst>
              <a:ext uri="{FF2B5EF4-FFF2-40B4-BE49-F238E27FC236}">
                <a16:creationId xmlns:a16="http://schemas.microsoft.com/office/drawing/2014/main" id="{71A6AB17-D753-4A26-ACAD-85A3A719734A}"/>
              </a:ext>
            </a:extLst>
          </p:cNvPr>
          <p:cNvSpPr txBox="1">
            <a:spLocks/>
          </p:cNvSpPr>
          <p:nvPr/>
        </p:nvSpPr>
        <p:spPr>
          <a:xfrm>
            <a:off x="11673792" y="6356961"/>
            <a:ext cx="518208"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fld id="{D6F24B0C-7668-4973-8E6C-4D4CB7EF0CEB}" type="slidenum">
              <a:rPr lang="en-US" sz="1600" b="1" smtClean="0">
                <a:solidFill>
                  <a:schemeClr val="bg1"/>
                </a:solidFill>
                <a:latin typeface="Arial" panose="020B0604020202020204" pitchFamily="34" charset="0"/>
                <a:cs typeface="Arial" panose="020B0604020202020204" pitchFamily="34" charset="0"/>
              </a:rPr>
              <a:pPr algn="ctr" defTabSz="457200">
                <a:defRPr/>
              </a:pPr>
              <a:t>6</a:t>
            </a:fld>
            <a:endParaRPr lang="en-US" sz="16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16918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p:cNvSpPr>
            <a:spLocks noGrp="1"/>
          </p:cNvSpPr>
          <p:nvPr>
            <p:ph type="body" sz="quarter" idx="15"/>
          </p:nvPr>
        </p:nvSpPr>
        <p:spPr>
          <a:xfrm>
            <a:off x="745794" y="473366"/>
            <a:ext cx="11116006" cy="698500"/>
          </a:xfrm>
        </p:spPr>
        <p:txBody>
          <a:bodyPr>
            <a:normAutofit/>
          </a:bodyPr>
          <a:lstStyle/>
          <a:p>
            <a:pPr fontAlgn="base">
              <a:buClr>
                <a:srgbClr val="E43F1C"/>
              </a:buClr>
              <a:buSzPct val="100000"/>
              <a:defRPr/>
            </a:pPr>
            <a:r>
              <a:rPr lang="zh-CN" altLang="en-US" sz="2000" dirty="0"/>
              <a:t>在减少一种药物成分的情况下，本品病毒学有效性持续非劣于以艾考恩丙替片为主的三药</a:t>
            </a:r>
            <a:r>
              <a:rPr lang="en-US" altLang="zh-CN" sz="2000" dirty="0"/>
              <a:t>/</a:t>
            </a:r>
            <a:r>
              <a:rPr lang="zh-CN" altLang="en-US" sz="2000" dirty="0"/>
              <a:t>四药方案</a:t>
            </a:r>
          </a:p>
        </p:txBody>
      </p:sp>
      <p:sp>
        <p:nvSpPr>
          <p:cNvPr id="3" name="文本占位符 2"/>
          <p:cNvSpPr>
            <a:spLocks noGrp="1"/>
          </p:cNvSpPr>
          <p:nvPr>
            <p:ph type="body" sz="quarter" idx="16"/>
          </p:nvPr>
        </p:nvSpPr>
        <p:spPr>
          <a:xfrm>
            <a:off x="132078" y="6332490"/>
            <a:ext cx="11209555" cy="414068"/>
          </a:xfrm>
        </p:spPr>
        <p:txBody>
          <a:bodyPr/>
          <a:lstStyle/>
          <a:p>
            <a:r>
              <a:rPr lang="en-GB" altLang="zh-CN" dirty="0" err="1"/>
              <a:t>Osiyemi</a:t>
            </a:r>
            <a:r>
              <a:rPr lang="en-GB" altLang="zh-CN" dirty="0"/>
              <a:t> O, et</a:t>
            </a:r>
            <a:r>
              <a:rPr lang="zh-CN" altLang="en-US" dirty="0"/>
              <a:t> </a:t>
            </a:r>
            <a:r>
              <a:rPr lang="en-US" altLang="zh-CN" dirty="0"/>
              <a:t>al</a:t>
            </a:r>
            <a:r>
              <a:rPr lang="en-GB" altLang="zh-CN" dirty="0"/>
              <a:t>. Clin Infect Dis. 2022 Jan 25:ciac036. </a:t>
            </a:r>
            <a:endParaRPr lang="zh-CN" altLang="en-US" dirty="0"/>
          </a:p>
        </p:txBody>
      </p:sp>
      <p:sp>
        <p:nvSpPr>
          <p:cNvPr id="4" name="灯片编号占位符 3"/>
          <p:cNvSpPr>
            <a:spLocks noGrp="1"/>
          </p:cNvSpPr>
          <p:nvPr>
            <p:ph type="sldNum" sz="quarter" idx="4"/>
          </p:nvPr>
        </p:nvSpPr>
        <p:spPr>
          <a:xfrm>
            <a:off x="11673792" y="6356961"/>
            <a:ext cx="518208" cy="365125"/>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6F24B0C-7668-4973-8E6C-4D4CB7EF0CEB}" type="slidenum">
              <a:rPr kumimoji="0" lang="en-US" sz="1600" b="1" i="0" u="none" strike="noStrike" kern="1200" cap="none" spc="0" normalizeH="0" baseline="0" noProof="0" smtClean="0">
                <a:ln>
                  <a:noFill/>
                </a:ln>
                <a:solidFill>
                  <a:schemeClr val="bg1"/>
                </a:solidFill>
                <a:effectLst/>
                <a:uLnTx/>
                <a:uFillTx/>
                <a:latin typeface="Arial" panose="020B0604020202020204" pitchFamily="34" charset="0"/>
                <a:ea typeface="+mn-ea"/>
                <a:cs typeface="Arial" panose="020B0604020202020204" pitchFamily="34" charset="0"/>
              </a:rPr>
              <a:pPr marL="0" marR="0" lvl="0" indent="0" algn="ctr" defTabSz="457200" rtl="0" eaLnBrk="1" fontAlgn="auto" latinLnBrk="0" hangingPunct="1">
                <a:lnSpc>
                  <a:spcPct val="100000"/>
                </a:lnSpc>
                <a:spcBef>
                  <a:spcPts val="0"/>
                </a:spcBef>
                <a:spcAft>
                  <a:spcPts val="0"/>
                </a:spcAft>
                <a:buClrTx/>
                <a:buSzTx/>
                <a:buFontTx/>
                <a:buNone/>
                <a:tabLst/>
                <a:defRPr/>
              </a:pPr>
              <a:t>7</a:t>
            </a:fld>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5" name="文本占位符 4"/>
          <p:cNvSpPr>
            <a:spLocks noGrp="1"/>
          </p:cNvSpPr>
          <p:nvPr>
            <p:ph type="body" sz="quarter" idx="17"/>
          </p:nvPr>
        </p:nvSpPr>
        <p:spPr>
          <a:xfrm>
            <a:off x="850367" y="1057502"/>
            <a:ext cx="10480336" cy="4700973"/>
          </a:xfrm>
        </p:spPr>
        <p:txBody>
          <a:bodyPr>
            <a:normAutofit/>
          </a:bodyPr>
          <a:lstStyle/>
          <a:p>
            <a:r>
              <a:rPr lang="zh-CN" altLang="en-US" b="1" dirty="0"/>
              <a:t>本品在平稳转换患者中使用</a:t>
            </a:r>
            <a:r>
              <a:rPr lang="en-US" altLang="zh-CN" b="1" dirty="0"/>
              <a:t>144</a:t>
            </a:r>
            <a:r>
              <a:rPr lang="zh-CN" altLang="en-US" b="1" dirty="0"/>
              <a:t>周，病毒学有效性</a:t>
            </a:r>
            <a:r>
              <a:rPr lang="zh-CN" altLang="en-US" sz="1800" b="1" dirty="0">
                <a:solidFill>
                  <a:srgbClr val="C10562"/>
                </a:solidFill>
              </a:rPr>
              <a:t>非劣</a:t>
            </a:r>
            <a:r>
              <a:rPr lang="zh-CN" altLang="en-US" b="1" dirty="0"/>
              <a:t>于以艾考恩丙替片为主的三药</a:t>
            </a:r>
            <a:r>
              <a:rPr lang="en-US" altLang="zh-CN" b="1" dirty="0"/>
              <a:t>/</a:t>
            </a:r>
            <a:r>
              <a:rPr lang="zh-CN" altLang="en-US" b="1" dirty="0"/>
              <a:t>四药方案，无治疗相关耐药</a:t>
            </a:r>
            <a:r>
              <a:rPr lang="en-US" altLang="zh-CN" b="1" baseline="30000" dirty="0"/>
              <a:t>1</a:t>
            </a:r>
            <a:r>
              <a:rPr lang="zh-CN" altLang="en-US" b="1" dirty="0"/>
              <a:t>。</a:t>
            </a:r>
          </a:p>
        </p:txBody>
      </p:sp>
      <p:grpSp>
        <p:nvGrpSpPr>
          <p:cNvPr id="7" name="Group 6">
            <a:extLst>
              <a:ext uri="{FF2B5EF4-FFF2-40B4-BE49-F238E27FC236}">
                <a16:creationId xmlns:a16="http://schemas.microsoft.com/office/drawing/2014/main" id="{DFC87587-AFAC-412C-A978-E6EC35289A24}"/>
              </a:ext>
            </a:extLst>
          </p:cNvPr>
          <p:cNvGrpSpPr/>
          <p:nvPr/>
        </p:nvGrpSpPr>
        <p:grpSpPr>
          <a:xfrm>
            <a:off x="1013613" y="1559460"/>
            <a:ext cx="10328020" cy="4383278"/>
            <a:chOff x="1750786" y="1665512"/>
            <a:chExt cx="8377288" cy="4038460"/>
          </a:xfrm>
        </p:grpSpPr>
        <p:sp>
          <p:nvSpPr>
            <p:cNvPr id="18" name="矩形 17">
              <a:extLst>
                <a:ext uri="{FF2B5EF4-FFF2-40B4-BE49-F238E27FC236}">
                  <a16:creationId xmlns:a16="http://schemas.microsoft.com/office/drawing/2014/main" id="{1BB198FF-9C6E-A148-AFB2-B49FA7F0B4EE}"/>
                </a:ext>
              </a:extLst>
            </p:cNvPr>
            <p:cNvSpPr/>
            <p:nvPr/>
          </p:nvSpPr>
          <p:spPr>
            <a:xfrm>
              <a:off x="1823315" y="1665512"/>
              <a:ext cx="4027472" cy="37097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1"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22" name="文本框 21"/>
            <p:cNvSpPr txBox="1"/>
            <p:nvPr/>
          </p:nvSpPr>
          <p:spPr>
            <a:xfrm>
              <a:off x="3318033" y="1692089"/>
              <a:ext cx="1789378" cy="538773"/>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zh-CN" sz="16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TANGO RCT</a:t>
              </a:r>
              <a:r>
                <a:rPr kumimoji="1" lang="zh-CN" altLang="en-US" sz="16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研究</a:t>
              </a:r>
              <a:endParaRPr kumimoji="1" lang="en-US" altLang="zh-CN" sz="16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1" lang="zh-CN" altLang="en-US" sz="16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平稳转换患者，</a:t>
              </a:r>
              <a:r>
                <a:rPr kumimoji="1" lang="en-US" altLang="zh-CN" sz="16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144</a:t>
              </a:r>
              <a:r>
                <a:rPr kumimoji="1" lang="zh-CN" altLang="en-US" sz="16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周</a:t>
              </a:r>
            </a:p>
          </p:txBody>
        </p:sp>
        <p:graphicFrame>
          <p:nvGraphicFramePr>
            <p:cNvPr id="31" name="图表 30"/>
            <p:cNvGraphicFramePr/>
            <p:nvPr>
              <p:extLst>
                <p:ext uri="{D42A27DB-BD31-4B8C-83A1-F6EECF244321}">
                  <p14:modId xmlns:p14="http://schemas.microsoft.com/office/powerpoint/2010/main" val="2260873845"/>
                </p:ext>
              </p:extLst>
            </p:nvPr>
          </p:nvGraphicFramePr>
          <p:xfrm>
            <a:off x="1750787" y="2122712"/>
            <a:ext cx="4200876" cy="3241726"/>
          </p:xfrm>
          <a:graphic>
            <a:graphicData uri="http://schemas.openxmlformats.org/drawingml/2006/chart">
              <c:chart xmlns:c="http://schemas.openxmlformats.org/drawingml/2006/chart" xmlns:r="http://schemas.openxmlformats.org/officeDocument/2006/relationships" r:id="rId3"/>
            </a:graphicData>
          </a:graphic>
        </p:graphicFrame>
        <p:sp>
          <p:nvSpPr>
            <p:cNvPr id="32" name="文本框 31"/>
            <p:cNvSpPr txBox="1"/>
            <p:nvPr/>
          </p:nvSpPr>
          <p:spPr>
            <a:xfrm>
              <a:off x="2071921" y="4958342"/>
              <a:ext cx="1451038" cy="246221"/>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 altLang="zh-CN" sz="10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rPr>
                <a:t>HIV-1 RNA &lt;50 c/ml</a:t>
              </a:r>
            </a:p>
          </p:txBody>
        </p:sp>
        <p:sp>
          <p:nvSpPr>
            <p:cNvPr id="16" name="文本框 15">
              <a:extLst>
                <a:ext uri="{FF2B5EF4-FFF2-40B4-BE49-F238E27FC236}">
                  <a16:creationId xmlns:a16="http://schemas.microsoft.com/office/drawing/2014/main" id="{7CF0CAA3-AA9C-6640-B57E-7C38CF29309C}"/>
                </a:ext>
              </a:extLst>
            </p:cNvPr>
            <p:cNvSpPr txBox="1"/>
            <p:nvPr/>
          </p:nvSpPr>
          <p:spPr>
            <a:xfrm>
              <a:off x="1750786" y="5392051"/>
              <a:ext cx="8377288" cy="311921"/>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TANGO</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研究：</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多中心、随机、开放标签、阳性对照、</a:t>
              </a:r>
              <a:r>
                <a:rPr kumimoji="0" lang="en-GB"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III</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期临床研究，纳入</a:t>
              </a:r>
              <a:r>
                <a:rPr kumimoji="0" lang="en-US" altLang="zh-CN" sz="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741</a:t>
              </a:r>
              <a:r>
                <a:rPr kumimoji="0" lang="zh-CN" altLang="en-US" sz="800" b="1"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例</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接受含</a:t>
              </a:r>
              <a:r>
                <a:rPr kumimoji="0" lang="en-US"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TAF</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方案（≥</a:t>
              </a:r>
              <a:r>
                <a:rPr kumimoji="0" lang="en-US"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3</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种药物）并实现病毒学抑制≥ </a:t>
              </a:r>
              <a:r>
                <a:rPr kumimoji="0" lang="en-US"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6</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个月的</a:t>
              </a:r>
              <a:r>
                <a:rPr kumimoji="0" lang="en-US"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HIV</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成人感染者</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按</a:t>
              </a:r>
              <a:r>
                <a:rPr kumimoji="0" lang="en-US"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1:1</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随机接受每日一次固定剂量</a:t>
              </a:r>
              <a:r>
                <a:rPr kumimoji="0" lang="en-US"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DTG/3TC</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或继续使用</a:t>
              </a:r>
              <a:r>
                <a:rPr kumimoji="0" lang="en-US"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TAF</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为基础的方案治疗。主要终点为血浆</a:t>
              </a:r>
              <a:r>
                <a:rPr kumimoji="0" lang="en-GB"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HIV-1 RNA</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a:t>
              </a:r>
              <a:r>
                <a:rPr kumimoji="0" lang="en-GB"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50</a:t>
              </a:r>
              <a:r>
                <a:rPr kumimoji="0" lang="en-US"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c/</a:t>
              </a:r>
              <a:r>
                <a:rPr kumimoji="0" lang="en-GB" altLang="zh-CN"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rPr>
                <a:t>mL</a:t>
              </a:r>
              <a:r>
                <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rPr>
                <a:t>受试者比例</a:t>
              </a:r>
              <a:endParaRPr kumimoji="0" lang="zh-CN" altLang="en-US" sz="800" b="0" i="0" u="none" strike="noStrike" kern="1200" cap="none" spc="0" normalizeH="0" baseline="0" noProof="0" dirty="0">
                <a:ln>
                  <a:noFill/>
                </a:ln>
                <a:solidFill>
                  <a:prstClr val="black"/>
                </a:solidFill>
                <a:effectLst/>
                <a:uLnTx/>
                <a:uFillTx/>
                <a:latin typeface="微软雅黑" panose="020B0503020204020204" pitchFamily="34" charset="-122"/>
                <a:ea typeface="微软雅黑" panose="020B0503020204020204" pitchFamily="34" charset="-122"/>
                <a:cs typeface="+mn-cs"/>
                <a:sym typeface="Arial" panose="020B0604020202020204" pitchFamily="34" charset="0"/>
              </a:endParaRPr>
            </a:p>
          </p:txBody>
        </p:sp>
        <p:sp>
          <p:nvSpPr>
            <p:cNvPr id="14" name="文本框 13">
              <a:extLst>
                <a:ext uri="{FF2B5EF4-FFF2-40B4-BE49-F238E27FC236}">
                  <a16:creationId xmlns:a16="http://schemas.microsoft.com/office/drawing/2014/main" id="{AA66E0FC-F91E-7943-BC23-9F2470B987C3}"/>
                </a:ext>
              </a:extLst>
            </p:cNvPr>
            <p:cNvSpPr txBox="1"/>
            <p:nvPr/>
          </p:nvSpPr>
          <p:spPr>
            <a:xfrm>
              <a:off x="3862639" y="4984804"/>
              <a:ext cx="1451039" cy="246221"/>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 altLang="zh-CN" sz="1000" b="0" i="0" u="none" strike="noStrike" kern="1200" cap="none" spc="0" normalizeH="0" baseline="0" noProof="0" dirty="0">
                  <a:ln>
                    <a:noFill/>
                  </a:ln>
                  <a:solidFill>
                    <a:prstClr val="black">
                      <a:lumMod val="50000"/>
                      <a:lumOff val="50000"/>
                    </a:prstClr>
                  </a:solidFill>
                  <a:effectLst/>
                  <a:uLnTx/>
                  <a:uFillTx/>
                  <a:latin typeface="微软雅黑" panose="020B0503020204020204" pitchFamily="34" charset="-122"/>
                  <a:ea typeface="微软雅黑" panose="020B0503020204020204" pitchFamily="34" charset="-122"/>
                  <a:cs typeface="+mn-cs"/>
                </a:rPr>
                <a:t>HIV-1 RNA ≥50 c/ml</a:t>
              </a:r>
            </a:p>
          </p:txBody>
        </p:sp>
      </p:grpSp>
      <p:sp>
        <p:nvSpPr>
          <p:cNvPr id="41" name="矩形 40">
            <a:extLst>
              <a:ext uri="{FF2B5EF4-FFF2-40B4-BE49-F238E27FC236}">
                <a16:creationId xmlns:a16="http://schemas.microsoft.com/office/drawing/2014/main" id="{4AB10772-CA53-48D8-A7CA-9DBDDDC33928}"/>
              </a:ext>
            </a:extLst>
          </p:cNvPr>
          <p:cNvSpPr/>
          <p:nvPr/>
        </p:nvSpPr>
        <p:spPr>
          <a:xfrm>
            <a:off x="6530274" y="1559459"/>
            <a:ext cx="4800429" cy="4014753"/>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sp>
        <p:nvSpPr>
          <p:cNvPr id="42" name="文本框 41">
            <a:extLst>
              <a:ext uri="{FF2B5EF4-FFF2-40B4-BE49-F238E27FC236}">
                <a16:creationId xmlns:a16="http://schemas.microsoft.com/office/drawing/2014/main" id="{35403985-BDDE-4C03-BFC7-1A5BF6E23893}"/>
              </a:ext>
            </a:extLst>
          </p:cNvPr>
          <p:cNvSpPr txBox="1"/>
          <p:nvPr/>
        </p:nvSpPr>
        <p:spPr>
          <a:xfrm>
            <a:off x="7954029" y="1636149"/>
            <a:ext cx="2206052" cy="584775"/>
          </a:xfrm>
          <a:prstGeom prst="rect">
            <a:avLst/>
          </a:prstGeom>
          <a:noFill/>
        </p:spPr>
        <p:txBody>
          <a:bodyPr wrap="none" rtlCol="0">
            <a:spAutoFit/>
          </a:bodyPr>
          <a:lstStyle/>
          <a:p>
            <a:pPr algn="ctr"/>
            <a:r>
              <a:rPr kumimoji="1" lang="en-US" altLang="zh-CN" sz="1600" b="1" dirty="0">
                <a:latin typeface="微软雅黑" panose="020B0503020204020204" pitchFamily="34" charset="-122"/>
                <a:ea typeface="微软雅黑" panose="020B0503020204020204" pitchFamily="34" charset="-122"/>
              </a:rPr>
              <a:t>TANGO RCT</a:t>
            </a:r>
            <a:r>
              <a:rPr kumimoji="1" lang="zh-CN" altLang="en-US" sz="1600" b="1" dirty="0">
                <a:latin typeface="微软雅黑" panose="020B0503020204020204" pitchFamily="34" charset="-122"/>
                <a:ea typeface="微软雅黑" panose="020B0503020204020204" pitchFamily="34" charset="-122"/>
              </a:rPr>
              <a:t>研究</a:t>
            </a:r>
            <a:endParaRPr kumimoji="1" lang="en-US" altLang="zh-CN" sz="1600" b="1" dirty="0">
              <a:latin typeface="微软雅黑" panose="020B0503020204020204" pitchFamily="34" charset="-122"/>
              <a:ea typeface="微软雅黑" panose="020B0503020204020204" pitchFamily="34" charset="-122"/>
            </a:endParaRPr>
          </a:p>
          <a:p>
            <a:pPr algn="ctr"/>
            <a:r>
              <a:rPr kumimoji="1" lang="zh-CN" altLang="en-US" sz="1600" b="1" dirty="0">
                <a:latin typeface="微软雅黑" panose="020B0503020204020204" pitchFamily="34" charset="-122"/>
                <a:ea typeface="微软雅黑" panose="020B0503020204020204" pitchFamily="34" charset="-122"/>
              </a:rPr>
              <a:t>平稳转换患者，</a:t>
            </a:r>
            <a:r>
              <a:rPr kumimoji="1" lang="en-US" altLang="zh-CN" sz="1600" b="1" dirty="0">
                <a:latin typeface="微软雅黑" panose="020B0503020204020204" pitchFamily="34" charset="-122"/>
                <a:ea typeface="微软雅黑" panose="020B0503020204020204" pitchFamily="34" charset="-122"/>
              </a:rPr>
              <a:t>144</a:t>
            </a:r>
            <a:r>
              <a:rPr kumimoji="1" lang="zh-CN" altLang="en-US" sz="1600" b="1" dirty="0">
                <a:latin typeface="微软雅黑" panose="020B0503020204020204" pitchFamily="34" charset="-122"/>
                <a:ea typeface="微软雅黑" panose="020B0503020204020204" pitchFamily="34" charset="-122"/>
              </a:rPr>
              <a:t>周</a:t>
            </a:r>
          </a:p>
        </p:txBody>
      </p:sp>
      <p:sp>
        <p:nvSpPr>
          <p:cNvPr id="43" name="文本框 42">
            <a:extLst>
              <a:ext uri="{FF2B5EF4-FFF2-40B4-BE49-F238E27FC236}">
                <a16:creationId xmlns:a16="http://schemas.microsoft.com/office/drawing/2014/main" id="{BEB9B8D5-D738-4DB5-B5CE-5676F69C9746}"/>
              </a:ext>
            </a:extLst>
          </p:cNvPr>
          <p:cNvSpPr txBox="1"/>
          <p:nvPr/>
        </p:nvSpPr>
        <p:spPr>
          <a:xfrm>
            <a:off x="6807200" y="2685305"/>
            <a:ext cx="4371186" cy="1200329"/>
          </a:xfrm>
          <a:prstGeom prst="rect">
            <a:avLst/>
          </a:prstGeom>
          <a:noFill/>
        </p:spPr>
        <p:txBody>
          <a:bodyPr wrap="square" rtlCol="0">
            <a:spAutoFit/>
          </a:bodyPr>
          <a:lstStyle/>
          <a:p>
            <a:pPr algn="ctr"/>
            <a:r>
              <a:rPr kumimoji="1" lang="en-US" altLang="zh-CN" sz="4000" b="1" dirty="0">
                <a:solidFill>
                  <a:srgbClr val="B8075F"/>
                </a:solidFill>
                <a:latin typeface="微软雅黑" panose="020B0503020204020204" pitchFamily="34" charset="-122"/>
                <a:ea typeface="微软雅黑" panose="020B0503020204020204" pitchFamily="34" charset="-122"/>
              </a:rPr>
              <a:t>0</a:t>
            </a:r>
            <a:r>
              <a:rPr kumimoji="1" lang="zh-CN" altLang="en-US" sz="3600" b="1" dirty="0">
                <a:solidFill>
                  <a:srgbClr val="B8075F"/>
                </a:solidFill>
                <a:latin typeface="微软雅黑" panose="020B0503020204020204" pitchFamily="34" charset="-122"/>
                <a:ea typeface="微软雅黑" panose="020B0503020204020204" pitchFamily="34" charset="-122"/>
              </a:rPr>
              <a:t> </a:t>
            </a:r>
            <a:r>
              <a:rPr kumimoji="1" lang="zh-CN" altLang="en-US" dirty="0">
                <a:latin typeface="微软雅黑" panose="020B0503020204020204" pitchFamily="34" charset="-122"/>
                <a:ea typeface="微软雅黑" panose="020B0503020204020204" pitchFamily="34" charset="-122"/>
              </a:rPr>
              <a:t>例达到确认的病毒学退出标准（</a:t>
            </a:r>
            <a:r>
              <a:rPr kumimoji="1" lang="en-US" altLang="zh-CN" dirty="0">
                <a:latin typeface="微软雅黑" panose="020B0503020204020204" pitchFamily="34" charset="-122"/>
                <a:ea typeface="微软雅黑" panose="020B0503020204020204" pitchFamily="34" charset="-122"/>
              </a:rPr>
              <a:t>CVW</a:t>
            </a:r>
            <a:r>
              <a:rPr kumimoji="1" lang="zh-CN" altLang="en-US" dirty="0">
                <a:latin typeface="微软雅黑" panose="020B0503020204020204" pitchFamily="34" charset="-122"/>
                <a:ea typeface="微软雅黑" panose="020B0503020204020204" pitchFamily="34" charset="-122"/>
              </a:rPr>
              <a:t>）</a:t>
            </a:r>
            <a:endParaRPr kumimoji="1" lang="en-US" altLang="zh-CN" baseline="30000" dirty="0">
              <a:latin typeface="微软雅黑" panose="020B0503020204020204" pitchFamily="34" charset="-122"/>
              <a:ea typeface="微软雅黑" panose="020B0503020204020204" pitchFamily="34" charset="-122"/>
            </a:endParaRPr>
          </a:p>
          <a:p>
            <a:pPr algn="ctr"/>
            <a:r>
              <a:rPr kumimoji="1" lang="zh-CN" altLang="en-US" sz="1400" dirty="0">
                <a:latin typeface="微软雅黑" panose="020B0503020204020204" pitchFamily="34" charset="-122"/>
                <a:ea typeface="微软雅黑" panose="020B0503020204020204" pitchFamily="34" charset="-122"/>
              </a:rPr>
              <a:t>（</a:t>
            </a:r>
            <a:r>
              <a:rPr kumimoji="1" lang="en-US" altLang="zh-CN" sz="1400" dirty="0">
                <a:latin typeface="微软雅黑" panose="020B0503020204020204" pitchFamily="34" charset="-122"/>
                <a:ea typeface="微软雅黑" panose="020B0503020204020204" pitchFamily="34" charset="-122"/>
              </a:rPr>
              <a:t>vs</a:t>
            </a:r>
            <a:r>
              <a:rPr kumimoji="1" lang="zh-CN" altLang="en-US" sz="1400" dirty="0">
                <a:latin typeface="微软雅黑" panose="020B0503020204020204" pitchFamily="34" charset="-122"/>
                <a:ea typeface="微软雅黑" panose="020B0503020204020204" pitchFamily="34" charset="-122"/>
              </a:rPr>
              <a:t> </a:t>
            </a:r>
            <a:r>
              <a:rPr kumimoji="1" lang="en-US" altLang="zh-CN" sz="1400" dirty="0">
                <a:latin typeface="微软雅黑" panose="020B0503020204020204" pitchFamily="34" charset="-122"/>
                <a:ea typeface="微软雅黑" panose="020B0503020204020204" pitchFamily="34" charset="-122"/>
              </a:rPr>
              <a:t>3</a:t>
            </a:r>
            <a:r>
              <a:rPr kumimoji="1" lang="zh-CN" altLang="en-US" sz="1400" dirty="0">
                <a:latin typeface="微软雅黑" panose="020B0503020204020204" pitchFamily="34" charset="-122"/>
                <a:ea typeface="微软雅黑" panose="020B0503020204020204" pitchFamily="34" charset="-122"/>
              </a:rPr>
              <a:t>例，三药</a:t>
            </a:r>
            <a:r>
              <a:rPr kumimoji="1" lang="en-US" altLang="zh-CN" sz="1400" dirty="0">
                <a:latin typeface="微软雅黑" panose="020B0503020204020204" pitchFamily="34" charset="-122"/>
                <a:ea typeface="微软雅黑" panose="020B0503020204020204" pitchFamily="34" charset="-122"/>
              </a:rPr>
              <a:t>/</a:t>
            </a:r>
            <a:r>
              <a:rPr kumimoji="1" lang="zh-CN" altLang="en-US" sz="1400" dirty="0">
                <a:latin typeface="微软雅黑" panose="020B0503020204020204" pitchFamily="34" charset="-122"/>
                <a:ea typeface="微软雅黑" panose="020B0503020204020204" pitchFamily="34" charset="-122"/>
              </a:rPr>
              <a:t>四药方案）</a:t>
            </a:r>
            <a:endParaRPr kumimoji="1" lang="en-US" altLang="zh-CN" sz="1400" dirty="0">
              <a:latin typeface="微软雅黑" panose="020B0503020204020204" pitchFamily="34" charset="-122"/>
              <a:ea typeface="微软雅黑" panose="020B0503020204020204" pitchFamily="34" charset="-122"/>
            </a:endParaRPr>
          </a:p>
        </p:txBody>
      </p:sp>
      <p:sp>
        <p:nvSpPr>
          <p:cNvPr id="44" name="文本框 43">
            <a:extLst>
              <a:ext uri="{FF2B5EF4-FFF2-40B4-BE49-F238E27FC236}">
                <a16:creationId xmlns:a16="http://schemas.microsoft.com/office/drawing/2014/main" id="{47B669A4-F57E-47E1-8CDA-547F7B94DE6A}"/>
              </a:ext>
            </a:extLst>
          </p:cNvPr>
          <p:cNvSpPr txBox="1"/>
          <p:nvPr/>
        </p:nvSpPr>
        <p:spPr>
          <a:xfrm>
            <a:off x="7604392" y="4265173"/>
            <a:ext cx="3264376" cy="707886"/>
          </a:xfrm>
          <a:prstGeom prst="rect">
            <a:avLst/>
          </a:prstGeom>
          <a:noFill/>
        </p:spPr>
        <p:txBody>
          <a:bodyPr wrap="square" rtlCol="0">
            <a:spAutoFit/>
          </a:bodyPr>
          <a:lstStyle/>
          <a:p>
            <a:pPr algn="ctr"/>
            <a:r>
              <a:rPr kumimoji="1" lang="en-US" altLang="zh-CN" sz="4000" b="1" dirty="0">
                <a:solidFill>
                  <a:srgbClr val="B8075F"/>
                </a:solidFill>
                <a:latin typeface="微软雅黑" panose="020B0503020204020204" pitchFamily="34" charset="-122"/>
                <a:ea typeface="微软雅黑" panose="020B0503020204020204" pitchFamily="34" charset="-122"/>
              </a:rPr>
              <a:t>0</a:t>
            </a:r>
            <a:r>
              <a:rPr kumimoji="1" lang="zh-CN" altLang="en-US" sz="3600" b="1" dirty="0">
                <a:solidFill>
                  <a:srgbClr val="B8075F"/>
                </a:solidFill>
                <a:latin typeface="微软雅黑" panose="020B0503020204020204" pitchFamily="34" charset="-122"/>
                <a:ea typeface="微软雅黑" panose="020B0503020204020204" pitchFamily="34" charset="-122"/>
              </a:rPr>
              <a:t> </a:t>
            </a:r>
            <a:r>
              <a:rPr kumimoji="1" lang="zh-CN" altLang="en-US" dirty="0">
                <a:latin typeface="微软雅黑" panose="020B0503020204020204" pitchFamily="34" charset="-122"/>
                <a:ea typeface="微软雅黑" panose="020B0503020204020204" pitchFamily="34" charset="-122"/>
              </a:rPr>
              <a:t>例发生治疗相关耐药</a:t>
            </a:r>
            <a:endParaRPr kumimoji="1" lang="en-US" altLang="zh-CN" sz="3600" b="1" baseline="30000" dirty="0">
              <a:solidFill>
                <a:srgbClr val="C10562"/>
              </a:solidFill>
              <a:latin typeface="微软雅黑" panose="020B0503020204020204" pitchFamily="34" charset="-122"/>
              <a:ea typeface="微软雅黑" panose="020B0503020204020204" pitchFamily="34" charset="-122"/>
            </a:endParaRPr>
          </a:p>
        </p:txBody>
      </p:sp>
      <p:grpSp>
        <p:nvGrpSpPr>
          <p:cNvPr id="47" name="Group 2">
            <a:extLst>
              <a:ext uri="{FF2B5EF4-FFF2-40B4-BE49-F238E27FC236}">
                <a16:creationId xmlns:a16="http://schemas.microsoft.com/office/drawing/2014/main" id="{4358B3DE-CD20-4D90-8382-D41232374333}"/>
              </a:ext>
            </a:extLst>
          </p:cNvPr>
          <p:cNvGrpSpPr/>
          <p:nvPr/>
        </p:nvGrpSpPr>
        <p:grpSpPr>
          <a:xfrm>
            <a:off x="1224950" y="-30133"/>
            <a:ext cx="9609827" cy="564221"/>
            <a:chOff x="1224950" y="264034"/>
            <a:chExt cx="9609827" cy="564221"/>
          </a:xfrm>
        </p:grpSpPr>
        <p:sp>
          <p:nvSpPr>
            <p:cNvPr id="48" name="文本框 17">
              <a:extLst>
                <a:ext uri="{FF2B5EF4-FFF2-40B4-BE49-F238E27FC236}">
                  <a16:creationId xmlns:a16="http://schemas.microsoft.com/office/drawing/2014/main" id="{74215BD0-DA06-41A6-8130-ECBDAB086F15}"/>
                </a:ext>
              </a:extLst>
            </p:cNvPr>
            <p:cNvSpPr txBox="1"/>
            <p:nvPr/>
          </p:nvSpPr>
          <p:spPr>
            <a:xfrm>
              <a:off x="3305714" y="264034"/>
              <a:ext cx="544830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gradFill>
                      <a:gsLst>
                        <a:gs pos="0">
                          <a:srgbClr val="E4401D"/>
                        </a:gs>
                        <a:gs pos="88000">
                          <a:srgbClr val="F9C235">
                            <a:alpha val="0"/>
                          </a:srgbClr>
                        </a:gs>
                      </a:gsLst>
                      <a:lin ang="5400000" scaled="1"/>
                    </a:gradFill>
                  </a:ln>
                  <a:solidFill>
                    <a:srgbClr val="B8075F"/>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rPr>
                <a:t>03</a:t>
              </a:r>
              <a:endParaRPr kumimoji="0" lang="zh-CN" altLang="en-US" sz="2000" b="1" i="0" u="none" strike="noStrike" kern="1200" cap="none" spc="0" normalizeH="0" baseline="0" noProof="0" dirty="0">
                <a:ln>
                  <a:gradFill>
                    <a:gsLst>
                      <a:gs pos="0">
                        <a:srgbClr val="E4401D"/>
                      </a:gs>
                      <a:gs pos="88000">
                        <a:srgbClr val="F9C235">
                          <a:alpha val="0"/>
                        </a:srgbClr>
                      </a:gs>
                    </a:gsLst>
                    <a:lin ang="5400000" scaled="1"/>
                  </a:gradFill>
                </a:ln>
                <a:solidFill>
                  <a:srgbClr val="B8075F"/>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endParaRPr>
            </a:p>
          </p:txBody>
        </p:sp>
        <p:grpSp>
          <p:nvGrpSpPr>
            <p:cNvPr id="49" name="组合 48">
              <a:extLst>
                <a:ext uri="{FF2B5EF4-FFF2-40B4-BE49-F238E27FC236}">
                  <a16:creationId xmlns:a16="http://schemas.microsoft.com/office/drawing/2014/main" id="{0A78814D-E4A4-4741-BA73-C489FE042433}"/>
                </a:ext>
              </a:extLst>
            </p:cNvPr>
            <p:cNvGrpSpPr/>
            <p:nvPr/>
          </p:nvGrpSpPr>
          <p:grpSpPr>
            <a:xfrm>
              <a:off x="1224950" y="582034"/>
              <a:ext cx="9609827" cy="246221"/>
              <a:chOff x="607784" y="3385619"/>
              <a:chExt cx="10976432" cy="246221"/>
            </a:xfrm>
          </p:grpSpPr>
          <p:sp>
            <p:nvSpPr>
              <p:cNvPr id="50" name="文本框 14">
                <a:extLst>
                  <a:ext uri="{FF2B5EF4-FFF2-40B4-BE49-F238E27FC236}">
                    <a16:creationId xmlns:a16="http://schemas.microsoft.com/office/drawing/2014/main" id="{87BA8A0A-5867-4579-B238-079A87E56954}"/>
                  </a:ext>
                </a:extLst>
              </p:cNvPr>
              <p:cNvSpPr txBox="1"/>
              <p:nvPr/>
            </p:nvSpPr>
            <p:spPr>
              <a:xfrm>
                <a:off x="5699708" y="3385619"/>
                <a:ext cx="834919" cy="246221"/>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300" normalizeH="0" baseline="0" noProof="0" dirty="0">
                    <a:ln>
                      <a:noFill/>
                    </a:ln>
                    <a:solidFill>
                      <a:srgbClr val="B8075F"/>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rPr>
                  <a:t>有效性</a:t>
                </a:r>
              </a:p>
            </p:txBody>
          </p:sp>
          <p:cxnSp>
            <p:nvCxnSpPr>
              <p:cNvPr id="51" name="直接连接符 18">
                <a:extLst>
                  <a:ext uri="{FF2B5EF4-FFF2-40B4-BE49-F238E27FC236}">
                    <a16:creationId xmlns:a16="http://schemas.microsoft.com/office/drawing/2014/main" id="{410FA32D-6243-4917-BBCE-BB070FEC98FE}"/>
                  </a:ext>
                </a:extLst>
              </p:cNvPr>
              <p:cNvCxnSpPr>
                <a:cxnSpLocks/>
              </p:cNvCxnSpPr>
              <p:nvPr/>
            </p:nvCxnSpPr>
            <p:spPr>
              <a:xfrm>
                <a:off x="8506916" y="3452239"/>
                <a:ext cx="3077300" cy="0"/>
              </a:xfrm>
              <a:prstGeom prst="line">
                <a:avLst/>
              </a:prstGeom>
              <a:ln w="15875">
                <a:solidFill>
                  <a:srgbClr val="E4401D"/>
                </a:solidFill>
              </a:ln>
            </p:spPr>
            <p:style>
              <a:lnRef idx="1">
                <a:schemeClr val="accent1"/>
              </a:lnRef>
              <a:fillRef idx="0">
                <a:schemeClr val="accent1"/>
              </a:fillRef>
              <a:effectRef idx="0">
                <a:schemeClr val="accent1"/>
              </a:effectRef>
              <a:fontRef idx="minor">
                <a:schemeClr val="tx1"/>
              </a:fontRef>
            </p:style>
          </p:cxnSp>
          <p:cxnSp>
            <p:nvCxnSpPr>
              <p:cNvPr id="52" name="直接连接符 19">
                <a:extLst>
                  <a:ext uri="{FF2B5EF4-FFF2-40B4-BE49-F238E27FC236}">
                    <a16:creationId xmlns:a16="http://schemas.microsoft.com/office/drawing/2014/main" id="{9915ADB4-B4BF-49EA-89A0-E7F60D452416}"/>
                  </a:ext>
                </a:extLst>
              </p:cNvPr>
              <p:cNvCxnSpPr>
                <a:cxnSpLocks/>
              </p:cNvCxnSpPr>
              <p:nvPr/>
            </p:nvCxnSpPr>
            <p:spPr>
              <a:xfrm>
                <a:off x="607784" y="3452239"/>
                <a:ext cx="2929046" cy="0"/>
              </a:xfrm>
              <a:prstGeom prst="line">
                <a:avLst/>
              </a:prstGeom>
              <a:ln w="15875">
                <a:solidFill>
                  <a:srgbClr val="E4401D"/>
                </a:solidFill>
              </a:ln>
            </p:spPr>
            <p:style>
              <a:lnRef idx="1">
                <a:schemeClr val="accent1"/>
              </a:lnRef>
              <a:fillRef idx="0">
                <a:schemeClr val="accent1"/>
              </a:fillRef>
              <a:effectRef idx="0">
                <a:schemeClr val="accent1"/>
              </a:effectRef>
              <a:fontRef idx="minor">
                <a:schemeClr val="tx1"/>
              </a:fontRef>
            </p:style>
          </p:cxnSp>
        </p:grpSp>
      </p:grpSp>
      <p:sp>
        <p:nvSpPr>
          <p:cNvPr id="9" name="文本框 8">
            <a:extLst>
              <a:ext uri="{FF2B5EF4-FFF2-40B4-BE49-F238E27FC236}">
                <a16:creationId xmlns:a16="http://schemas.microsoft.com/office/drawing/2014/main" id="{CCD75790-D6D7-4E37-8229-F1A07004B0B6}"/>
              </a:ext>
            </a:extLst>
          </p:cNvPr>
          <p:cNvSpPr txBox="1"/>
          <p:nvPr/>
        </p:nvSpPr>
        <p:spPr>
          <a:xfrm>
            <a:off x="675379" y="5942738"/>
            <a:ext cx="10503008" cy="338554"/>
          </a:xfrm>
          <a:prstGeom prst="rect">
            <a:avLst/>
          </a:prstGeom>
          <a:noFill/>
        </p:spPr>
        <p:txBody>
          <a:bodyPr wrap="square" rtlCol="0">
            <a:spAutoFit/>
          </a:bodyPr>
          <a:lstStyle/>
          <a:p>
            <a:pPr marL="285750" indent="-285750">
              <a:buFont typeface="Wingdings" panose="05000000000000000000" pitchFamily="2" charset="2"/>
              <a:buChar char="q"/>
            </a:pPr>
            <a:r>
              <a:rPr lang="zh-CN" altLang="en-US" sz="1600" b="1" dirty="0">
                <a:latin typeface="微软雅黑" panose="020B0503020204020204" pitchFamily="34" charset="-122"/>
                <a:ea typeface="微软雅黑" panose="020B0503020204020204" pitchFamily="34" charset="-122"/>
              </a:rPr>
              <a:t>国家药品审批中心没有公开关于本药品的</a:t>
            </a:r>
            <a:r>
              <a:rPr lang="en-US" altLang="zh-CN" sz="1600" b="1" dirty="0">
                <a:latin typeface="微软雅黑" panose="020B0503020204020204" pitchFamily="34" charset="-122"/>
                <a:ea typeface="微软雅黑" panose="020B0503020204020204" pitchFamily="34" charset="-122"/>
              </a:rPr>
              <a:t>《</a:t>
            </a:r>
            <a:r>
              <a:rPr lang="zh-CN" altLang="en-US" sz="1600" b="1" dirty="0">
                <a:latin typeface="微软雅黑" panose="020B0503020204020204" pitchFamily="34" charset="-122"/>
                <a:ea typeface="微软雅黑" panose="020B0503020204020204" pitchFamily="34" charset="-122"/>
              </a:rPr>
              <a:t>技术审批报告</a:t>
            </a:r>
            <a:r>
              <a:rPr lang="en-US" altLang="zh-CN" sz="1600" b="1" dirty="0">
                <a:latin typeface="微软雅黑" panose="020B0503020204020204" pitchFamily="34" charset="-122"/>
                <a:ea typeface="微软雅黑" panose="020B0503020204020204" pitchFamily="34" charset="-122"/>
              </a:rPr>
              <a:t>》</a:t>
            </a:r>
            <a:r>
              <a:rPr lang="zh-CN" altLang="en-US" sz="1600" b="1" dirty="0">
                <a:latin typeface="微软雅黑" panose="020B0503020204020204" pitchFamily="34" charset="-122"/>
                <a:ea typeface="微软雅黑" panose="020B0503020204020204" pitchFamily="34" charset="-122"/>
              </a:rPr>
              <a:t>。</a:t>
            </a:r>
            <a:endParaRPr lang="en-US" sz="1600" b="1" dirty="0">
              <a:latin typeface="微软雅黑" panose="020B0503020204020204" pitchFamily="34" charset="-122"/>
              <a:ea typeface="微软雅黑" panose="020B0503020204020204" pitchFamily="34" charset="-122"/>
            </a:endParaRPr>
          </a:p>
        </p:txBody>
      </p:sp>
      <p:pic>
        <p:nvPicPr>
          <p:cNvPr id="54" name="图片 53">
            <a:extLst>
              <a:ext uri="{FF2B5EF4-FFF2-40B4-BE49-F238E27FC236}">
                <a16:creationId xmlns:a16="http://schemas.microsoft.com/office/drawing/2014/main" id="{CB80B131-6765-49DC-8845-5FAB00990D21}"/>
              </a:ext>
            </a:extLst>
          </p:cNvPr>
          <p:cNvPicPr>
            <a:picLocks noChangeAspect="1"/>
          </p:cNvPicPr>
          <p:nvPr/>
        </p:nvPicPr>
        <p:blipFill>
          <a:blip r:embed="rId4"/>
          <a:stretch>
            <a:fillRect/>
          </a:stretch>
        </p:blipFill>
        <p:spPr>
          <a:xfrm>
            <a:off x="248529" y="527309"/>
            <a:ext cx="497265" cy="507625"/>
          </a:xfrm>
          <a:prstGeom prst="rect">
            <a:avLst/>
          </a:prstGeom>
        </p:spPr>
      </p:pic>
      <p:sp>
        <p:nvSpPr>
          <p:cNvPr id="25" name="文本框 24">
            <a:extLst>
              <a:ext uri="{FF2B5EF4-FFF2-40B4-BE49-F238E27FC236}">
                <a16:creationId xmlns:a16="http://schemas.microsoft.com/office/drawing/2014/main" id="{32FB9716-D81A-42A8-A2B4-1B0E2F3BADD4}"/>
              </a:ext>
            </a:extLst>
          </p:cNvPr>
          <p:cNvSpPr txBox="1"/>
          <p:nvPr/>
        </p:nvSpPr>
        <p:spPr>
          <a:xfrm>
            <a:off x="1919345" y="1993470"/>
            <a:ext cx="1715358" cy="261610"/>
          </a:xfrm>
          <a:prstGeom prst="rect">
            <a:avLst/>
          </a:prstGeom>
          <a:noFill/>
        </p:spPr>
        <p:txBody>
          <a:bodyPr wrap="square" rtlCol="0">
            <a:spAutoFit/>
          </a:bodyPr>
          <a:lstStyle/>
          <a:p>
            <a:r>
              <a:rPr lang="zh-CN" altLang="en-US" sz="1100" dirty="0">
                <a:latin typeface="微软雅黑" panose="020B0503020204020204" pitchFamily="34" charset="-122"/>
                <a:ea typeface="微软雅黑" panose="020B0503020204020204" pitchFamily="34" charset="-122"/>
              </a:rPr>
              <a:t>病毒学抑制率</a:t>
            </a:r>
            <a:endParaRPr lang="en-US" sz="1100" dirty="0">
              <a:latin typeface="微软雅黑" panose="020B0503020204020204" pitchFamily="34" charset="-122"/>
              <a:ea typeface="微软雅黑" panose="020B0503020204020204" pitchFamily="34" charset="-122"/>
            </a:endParaRPr>
          </a:p>
        </p:txBody>
      </p:sp>
      <p:sp>
        <p:nvSpPr>
          <p:cNvPr id="26" name="文本框 25">
            <a:extLst>
              <a:ext uri="{FF2B5EF4-FFF2-40B4-BE49-F238E27FC236}">
                <a16:creationId xmlns:a16="http://schemas.microsoft.com/office/drawing/2014/main" id="{13A39B86-53E9-4469-879E-B681F06B7E1E}"/>
              </a:ext>
            </a:extLst>
          </p:cNvPr>
          <p:cNvSpPr txBox="1"/>
          <p:nvPr/>
        </p:nvSpPr>
        <p:spPr>
          <a:xfrm>
            <a:off x="4333037" y="4357506"/>
            <a:ext cx="1715358" cy="261610"/>
          </a:xfrm>
          <a:prstGeom prst="rect">
            <a:avLst/>
          </a:prstGeom>
          <a:noFill/>
        </p:spPr>
        <p:txBody>
          <a:bodyPr wrap="square" rtlCol="0">
            <a:spAutoFit/>
          </a:bodyPr>
          <a:lstStyle/>
          <a:p>
            <a:r>
              <a:rPr lang="zh-CN" altLang="en-US" sz="1100" dirty="0">
                <a:latin typeface="微软雅黑" panose="020B0503020204020204" pitchFamily="34" charset="-122"/>
                <a:ea typeface="微软雅黑" panose="020B0503020204020204" pitchFamily="34" charset="-122"/>
              </a:rPr>
              <a:t>病毒学失败率</a:t>
            </a:r>
            <a:endParaRPr lang="en-US" sz="1100" dirty="0">
              <a:latin typeface="微软雅黑" panose="020B0503020204020204" pitchFamily="34" charset="-122"/>
              <a:ea typeface="微软雅黑" panose="020B0503020204020204" pitchFamily="34" charset="-122"/>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5"/>
          </p:nvPr>
        </p:nvSpPr>
        <p:spPr/>
        <p:txBody>
          <a:bodyPr>
            <a:normAutofit/>
          </a:bodyPr>
          <a:lstStyle/>
          <a:p>
            <a:pPr marR="0" lvl="0" algn="l" defTabSz="914400" rtl="0" eaLnBrk="1" fontAlgn="base" latinLnBrk="0" hangingPunct="1">
              <a:lnSpc>
                <a:spcPct val="100000"/>
              </a:lnSpc>
              <a:spcBef>
                <a:spcPts val="0"/>
              </a:spcBef>
              <a:spcAft>
                <a:spcPts val="0"/>
              </a:spcAft>
              <a:buClr>
                <a:srgbClr val="E43F1C"/>
              </a:buClr>
              <a:buSzPct val="100000"/>
              <a:tabLst/>
              <a:defRPr/>
            </a:pPr>
            <a:r>
              <a:rPr lang="zh-CN" altLang="en-US" sz="2400" b="1" dirty="0">
                <a:latin typeface="微软雅黑" panose="020B0503020204020204" pitchFamily="34" charset="-122"/>
                <a:ea typeface="微软雅黑" panose="020B0503020204020204" pitchFamily="34" charset="-122"/>
              </a:rPr>
              <a:t>本品是唯一获得国内外各大权威指南</a:t>
            </a:r>
            <a:r>
              <a:rPr lang="zh-CN" altLang="en-US" sz="2800" b="1" dirty="0">
                <a:solidFill>
                  <a:srgbClr val="D25E97"/>
                </a:solidFill>
                <a:latin typeface="微软雅黑" panose="020B0503020204020204" pitchFamily="34" charset="-122"/>
                <a:ea typeface="微软雅黑" panose="020B0503020204020204" pitchFamily="34" charset="-122"/>
              </a:rPr>
              <a:t>首选推荐</a:t>
            </a:r>
            <a:r>
              <a:rPr lang="zh-CN" altLang="en-US" sz="2400" b="1" dirty="0">
                <a:latin typeface="微软雅黑" panose="020B0503020204020204" pitchFamily="34" charset="-122"/>
                <a:ea typeface="微软雅黑" panose="020B0503020204020204" pitchFamily="34" charset="-122"/>
              </a:rPr>
              <a:t>的两药治疗方案</a:t>
            </a:r>
            <a:endParaRPr lang="zh-CN" altLang="en-US" sz="2400" b="1" dirty="0">
              <a:solidFill>
                <a:srgbClr val="D25E97"/>
              </a:solidFill>
              <a:latin typeface="微软雅黑" panose="020B0503020204020204" pitchFamily="34" charset="-122"/>
              <a:ea typeface="微软雅黑" panose="020B0503020204020204" pitchFamily="34" charset="-122"/>
            </a:endParaRPr>
          </a:p>
        </p:txBody>
      </p:sp>
      <p:sp>
        <p:nvSpPr>
          <p:cNvPr id="9" name="Text Placeholder 8"/>
          <p:cNvSpPr>
            <a:spLocks noGrp="1"/>
          </p:cNvSpPr>
          <p:nvPr>
            <p:ph type="body" sz="quarter" idx="16"/>
          </p:nvPr>
        </p:nvSpPr>
        <p:spPr>
          <a:xfrm>
            <a:off x="627617" y="6356604"/>
            <a:ext cx="10714016" cy="414068"/>
          </a:xfrm>
        </p:spPr>
        <p:txBody>
          <a:bodyPr>
            <a:noAutofit/>
          </a:bodyPr>
          <a:lstStyle/>
          <a:p>
            <a:pPr marL="0" indent="0">
              <a:buNone/>
            </a:pPr>
            <a:r>
              <a:rPr lang="en-US" altLang="zh-CN" sz="800" dirty="0">
                <a:latin typeface="Times New Roman" panose="02020603050405020304" pitchFamily="18" charset="0"/>
                <a:ea typeface="微软雅黑" panose="020B0503020204020204" pitchFamily="34" charset="-122"/>
                <a:cs typeface="Times New Roman" panose="02020603050405020304" pitchFamily="18" charset="0"/>
              </a:rPr>
              <a:t>1. </a:t>
            </a:r>
            <a:r>
              <a:rPr lang="zh-CN" altLang="zh-CN" sz="800" dirty="0">
                <a:latin typeface="Times New Roman" panose="02020603050405020304" pitchFamily="18" charset="0"/>
                <a:ea typeface="微软雅黑" panose="020B0503020204020204" pitchFamily="34" charset="-122"/>
                <a:cs typeface="Times New Roman" panose="02020603050405020304" pitchFamily="18" charset="0"/>
              </a:rPr>
              <a:t>中华医学会感染病学分会艾滋病丙型肝炎学组</a:t>
            </a:r>
            <a:r>
              <a:rPr lang="en-US" altLang="zh-CN" sz="800" dirty="0">
                <a:latin typeface="Times New Roman" panose="02020603050405020304" pitchFamily="18" charset="0"/>
                <a:ea typeface="微软雅黑" panose="020B0503020204020204" pitchFamily="34" charset="-122"/>
                <a:cs typeface="Times New Roman" panose="02020603050405020304" pitchFamily="18" charset="0"/>
              </a:rPr>
              <a:t>,</a:t>
            </a:r>
            <a:r>
              <a:rPr lang="zh-CN" altLang="zh-CN" sz="800" dirty="0">
                <a:latin typeface="Times New Roman" panose="02020603050405020304" pitchFamily="18" charset="0"/>
                <a:ea typeface="微软雅黑" panose="020B0503020204020204" pitchFamily="34" charset="-122"/>
                <a:cs typeface="Times New Roman" panose="02020603050405020304" pitchFamily="18" charset="0"/>
              </a:rPr>
              <a:t> </a:t>
            </a:r>
            <a:r>
              <a:rPr lang="zh-CN" altLang="en-US" sz="800" dirty="0">
                <a:latin typeface="Times New Roman" panose="02020603050405020304" pitchFamily="18" charset="0"/>
                <a:ea typeface="微软雅黑" panose="020B0503020204020204" pitchFamily="34" charset="-122"/>
                <a:cs typeface="Times New Roman" panose="02020603050405020304" pitchFamily="18" charset="0"/>
              </a:rPr>
              <a:t>等</a:t>
            </a:r>
            <a:r>
              <a:rPr lang="en-US" altLang="zh-CN" sz="800" dirty="0">
                <a:latin typeface="Times New Roman" panose="02020603050405020304" pitchFamily="18" charset="0"/>
                <a:ea typeface="微软雅黑" panose="020B0503020204020204" pitchFamily="34" charset="-122"/>
                <a:cs typeface="Times New Roman" panose="02020603050405020304" pitchFamily="18" charset="0"/>
              </a:rPr>
              <a:t>. </a:t>
            </a:r>
            <a:r>
              <a:rPr lang="zh-CN" altLang="zh-CN" sz="800" dirty="0">
                <a:latin typeface="Times New Roman" panose="02020603050405020304" pitchFamily="18" charset="0"/>
                <a:ea typeface="微软雅黑" panose="020B0503020204020204" pitchFamily="34" charset="-122"/>
                <a:cs typeface="Times New Roman" panose="02020603050405020304" pitchFamily="18" charset="0"/>
              </a:rPr>
              <a:t>中</a:t>
            </a:r>
            <a:r>
              <a:rPr lang="zh-CN" altLang="en-US" sz="800" dirty="0">
                <a:latin typeface="Times New Roman" panose="02020603050405020304" pitchFamily="18" charset="0"/>
                <a:ea typeface="微软雅黑" panose="020B0503020204020204" pitchFamily="34" charset="-122"/>
                <a:cs typeface="Times New Roman" panose="02020603050405020304" pitchFamily="18" charset="0"/>
              </a:rPr>
              <a:t>国艾滋病性病</a:t>
            </a:r>
            <a:r>
              <a:rPr lang="en-US" altLang="zh-CN" sz="800" dirty="0">
                <a:latin typeface="Times New Roman" panose="02020603050405020304" pitchFamily="18" charset="0"/>
                <a:ea typeface="微软雅黑" panose="020B0503020204020204" pitchFamily="34" charset="-122"/>
                <a:cs typeface="Times New Roman" panose="02020603050405020304" pitchFamily="18" charset="0"/>
              </a:rPr>
              <a:t>, 2021,27(11):1182- 1201.</a:t>
            </a:r>
            <a:endParaRPr lang="zh-CN" altLang="zh-CN" sz="800" dirty="0">
              <a:latin typeface="Times New Roman" panose="02020603050405020304" pitchFamily="18" charset="0"/>
              <a:ea typeface="微软雅黑" panose="020B0503020204020204" pitchFamily="34" charset="-122"/>
              <a:cs typeface="Times New Roman" panose="02020603050405020304" pitchFamily="18" charset="0"/>
            </a:endParaRPr>
          </a:p>
          <a:p>
            <a:pPr marL="0" indent="0">
              <a:buNone/>
            </a:pPr>
            <a:r>
              <a:rPr lang="en-US" altLang="zh-CN" sz="800" dirty="0">
                <a:latin typeface="Times New Roman" panose="02020603050405020304" pitchFamily="18" charset="0"/>
                <a:ea typeface="微软雅黑" panose="020B0503020204020204" pitchFamily="34" charset="-122"/>
                <a:cs typeface="Times New Roman" panose="02020603050405020304" pitchFamily="18" charset="0"/>
              </a:rPr>
              <a:t>2.  EACS Guidelines. https://www.eacsociety.org/media/final2021eacsguidelinesv11.0_oct2021.pdf</a:t>
            </a:r>
          </a:p>
          <a:p>
            <a:pPr marL="0" indent="0">
              <a:buNone/>
            </a:pPr>
            <a:r>
              <a:rPr lang="en-US" altLang="zh-CN" sz="800" dirty="0">
                <a:latin typeface="Times New Roman" panose="02020603050405020304" pitchFamily="18" charset="0"/>
                <a:ea typeface="微软雅黑" panose="020B0503020204020204" pitchFamily="34" charset="-122"/>
                <a:cs typeface="Times New Roman" panose="02020603050405020304" pitchFamily="18" charset="0"/>
              </a:rPr>
              <a:t>3.  DHHS Guidelines. https://clinicalinfo.hiv.gov/sites/default/files/guidelines/documents/AdultandAdolescentGL.pdf</a:t>
            </a:r>
            <a:br>
              <a:rPr lang="en-US" altLang="zh-CN" sz="800" dirty="0">
                <a:latin typeface="Times New Roman" panose="02020603050405020304" pitchFamily="18" charset="0"/>
                <a:ea typeface="微软雅黑" panose="020B0503020204020204" pitchFamily="34" charset="-122"/>
                <a:cs typeface="Times New Roman" panose="02020603050405020304" pitchFamily="18" charset="0"/>
              </a:rPr>
            </a:br>
            <a:r>
              <a:rPr lang="en-US" altLang="zh-CN" sz="800" dirty="0">
                <a:latin typeface="Times New Roman" panose="02020603050405020304" pitchFamily="18" charset="0"/>
                <a:ea typeface="微软雅黑" panose="020B0503020204020204" pitchFamily="34" charset="-122"/>
                <a:cs typeface="Times New Roman" panose="02020603050405020304" pitchFamily="18" charset="0"/>
              </a:rPr>
              <a:t>4.  </a:t>
            </a:r>
            <a:r>
              <a:rPr lang="da-DK" altLang="zh-CN" sz="800" dirty="0">
                <a:latin typeface="Times New Roman" panose="02020603050405020304" pitchFamily="18" charset="0"/>
                <a:ea typeface="微软雅黑" panose="020B0503020204020204" pitchFamily="34" charset="-122"/>
                <a:cs typeface="Times New Roman" panose="02020603050405020304" pitchFamily="18" charset="0"/>
              </a:rPr>
              <a:t>Saag MS, et al. JAMA 2020, 324 (16): 1651-1669.</a:t>
            </a:r>
            <a:endParaRPr lang="zh-CN" altLang="zh-CN" sz="800" dirty="0">
              <a:latin typeface="Times New Roman" panose="02020603050405020304" pitchFamily="18" charset="0"/>
              <a:ea typeface="微软雅黑" panose="020B0503020204020204" pitchFamily="34" charset="-122"/>
              <a:cs typeface="Times New Roman" panose="02020603050405020304" pitchFamily="18" charset="0"/>
            </a:endParaRPr>
          </a:p>
        </p:txBody>
      </p:sp>
      <p:sp>
        <p:nvSpPr>
          <p:cNvPr id="100" name="文本占位符 15"/>
          <p:cNvSpPr txBox="1"/>
          <p:nvPr/>
        </p:nvSpPr>
        <p:spPr>
          <a:xfrm>
            <a:off x="2169974" y="481473"/>
            <a:ext cx="8040828" cy="698500"/>
          </a:xfrm>
          <a:prstGeom prst="rect">
            <a:avLst/>
          </a:prstGeom>
        </p:spPr>
        <p:txBody>
          <a:bodyPr lIns="0" rIns="0" anchor="ctr">
            <a:normAutofit/>
          </a:bodyPr>
          <a:lstStyle>
            <a:lvl1pPr marL="0" indent="0" algn="l" defTabSz="914400" rtl="0" eaLnBrk="1" latinLnBrk="0" hangingPunct="1">
              <a:lnSpc>
                <a:spcPct val="100000"/>
              </a:lnSpc>
              <a:spcBef>
                <a:spcPts val="0"/>
              </a:spcBef>
              <a:buFontTx/>
              <a:buNone/>
              <a:defRPr sz="2400" b="1" kern="1200">
                <a:solidFill>
                  <a:srgbClr val="C10562"/>
                </a:solidFill>
                <a:latin typeface="微软雅黑" panose="020B0503020204020204" pitchFamily="34" charset="-122"/>
                <a:ea typeface="微软雅黑" panose="020B0503020204020204" pitchFamily="34" charset="-122"/>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微软雅黑" panose="020B0503020204020204" pitchFamily="34" charset="-122"/>
                <a:ea typeface="微软雅黑" panose="020B0503020204020204" pitchFamily="34" charset="-122"/>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400" b="1" i="0" u="none" strike="noStrike" kern="1200" cap="none" spc="0" normalizeH="0" baseline="0" noProof="0" dirty="0">
              <a:ln>
                <a:noFill/>
              </a:ln>
              <a:solidFill>
                <a:srgbClr val="C10562"/>
              </a:solidFill>
              <a:effectLst/>
              <a:uLnTx/>
              <a:uFillTx/>
              <a:latin typeface="微软雅黑" panose="020B0503020204020204" pitchFamily="34" charset="-122"/>
              <a:ea typeface="微软雅黑" panose="020B0503020204020204" pitchFamily="34" charset="-122"/>
              <a:cs typeface="+mn-cs"/>
            </a:endParaRPr>
          </a:p>
        </p:txBody>
      </p:sp>
      <p:grpSp>
        <p:nvGrpSpPr>
          <p:cNvPr id="3" name="Group 2">
            <a:extLst>
              <a:ext uri="{FF2B5EF4-FFF2-40B4-BE49-F238E27FC236}">
                <a16:creationId xmlns:a16="http://schemas.microsoft.com/office/drawing/2014/main" id="{AFE12E58-17D6-4A16-94A6-6F6E43C5DE89}"/>
              </a:ext>
            </a:extLst>
          </p:cNvPr>
          <p:cNvGrpSpPr/>
          <p:nvPr/>
        </p:nvGrpSpPr>
        <p:grpSpPr>
          <a:xfrm>
            <a:off x="1012959" y="1308281"/>
            <a:ext cx="10765174" cy="4666443"/>
            <a:chOff x="1939157" y="1545662"/>
            <a:chExt cx="8663195" cy="4159067"/>
          </a:xfrm>
        </p:grpSpPr>
        <p:sp>
          <p:nvSpPr>
            <p:cNvPr id="10" name="Rectangle 48">
              <a:extLst>
                <a:ext uri="{FF2B5EF4-FFF2-40B4-BE49-F238E27FC236}">
                  <a16:creationId xmlns:a16="http://schemas.microsoft.com/office/drawing/2014/main" id="{5010E04D-1861-A846-905C-23D44B2AD199}"/>
                </a:ext>
              </a:extLst>
            </p:cNvPr>
            <p:cNvSpPr/>
            <p:nvPr/>
          </p:nvSpPr>
          <p:spPr>
            <a:xfrm>
              <a:off x="1966452" y="2496239"/>
              <a:ext cx="3760564" cy="843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600"/>
                </a:spcBef>
                <a:spcAft>
                  <a:spcPts val="0"/>
                </a:spcAft>
                <a:buClr>
                  <a:srgbClr val="BA065F"/>
                </a:buClr>
                <a:buSzTx/>
                <a:buFontTx/>
                <a:buNone/>
                <a:tabLst/>
                <a:defRPr/>
              </a:pPr>
              <a:r>
                <a:rPr kumimoji="0" lang="zh-CN" altLang="en-US" sz="1600" b="1" i="0" u="none" strike="noStrike" kern="1200" cap="none" spc="0" normalizeH="0" baseline="0" noProof="0" dirty="0">
                  <a:ln>
                    <a:noFill/>
                  </a:ln>
                  <a:solidFill>
                    <a:schemeClr val="tx1"/>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初治</a:t>
              </a:r>
              <a:r>
                <a:rPr lang="en-US" altLang="zh-CN" sz="1600" b="1" dirty="0">
                  <a:solidFill>
                    <a:schemeClr val="tx1"/>
                  </a:solidFill>
                  <a:latin typeface="Arial" panose="020B0604020202020204" pitchFamily="34" charset="0"/>
                  <a:ea typeface="微软雅黑" panose="020B0503020204020204" pitchFamily="34" charset="-122"/>
                  <a:sym typeface="Arial" panose="020B0604020202020204" pitchFamily="34" charset="0"/>
                </a:rPr>
                <a:t>: </a:t>
              </a:r>
              <a:r>
                <a:rPr lang="zh-CN" altLang="en-US" sz="1600" dirty="0">
                  <a:solidFill>
                    <a:schemeClr val="tx1"/>
                  </a:solidFill>
                  <a:latin typeface="Arial" panose="020B0604020202020204" pitchFamily="34" charset="0"/>
                  <a:ea typeface="微软雅黑" panose="020B0503020204020204" pitchFamily="34" charset="-122"/>
                  <a:sym typeface="Arial" panose="020B0604020202020204" pitchFamily="34" charset="0"/>
                </a:rPr>
                <a:t>推荐方案（所有药物无推荐等级）</a:t>
              </a:r>
              <a:endParaRPr kumimoji="0" lang="en-US" altLang="zh-CN" sz="1050"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cs typeface="+mn-cs"/>
                <a:sym typeface="Arial" panose="020B0604020202020204" pitchFamily="34" charset="0"/>
              </a:endParaRPr>
            </a:p>
            <a:p>
              <a:pPr defTabSz="457200">
                <a:spcBef>
                  <a:spcPts val="600"/>
                </a:spcBef>
                <a:buClr>
                  <a:srgbClr val="BA065F"/>
                </a:buClr>
                <a:defRPr/>
              </a:pPr>
              <a:r>
                <a:rPr kumimoji="0" lang="zh-CN" altLang="en-US" sz="1600" b="1"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cs typeface="+mn-cs"/>
                  <a:sym typeface="Arial" panose="020B0604020202020204" pitchFamily="34" charset="0"/>
                </a:rPr>
                <a:t>平稳转换</a:t>
              </a:r>
              <a:r>
                <a:rPr lang="en-US" altLang="zh-CN" sz="1600" b="1" dirty="0">
                  <a:solidFill>
                    <a:schemeClr val="tx1"/>
                  </a:solidFill>
                  <a:latin typeface="Arial" panose="020B0604020202020204" pitchFamily="34" charset="0"/>
                  <a:ea typeface="微软雅黑" panose="020B0503020204020204" pitchFamily="34" charset="-122"/>
                  <a:sym typeface="Arial" panose="020B0604020202020204" pitchFamily="34" charset="0"/>
                </a:rPr>
                <a:t>: </a:t>
              </a:r>
              <a:r>
                <a:rPr lang="zh-CN" altLang="en-US" sz="1600" dirty="0">
                  <a:solidFill>
                    <a:schemeClr val="tx1"/>
                  </a:solidFill>
                  <a:latin typeface="Arial" panose="020B0604020202020204" pitchFamily="34" charset="0"/>
                  <a:ea typeface="微软雅黑" panose="020B0503020204020204" pitchFamily="34" charset="-122"/>
                  <a:sym typeface="Arial" panose="020B0604020202020204" pitchFamily="34" charset="0"/>
                </a:rPr>
                <a:t>推荐方案（所有药物无推荐等级）</a:t>
              </a:r>
              <a:endParaRPr kumimoji="0" lang="en-US" altLang="zh-CN" sz="1050"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cs typeface="+mn-cs"/>
                <a:sym typeface="Arial" panose="020B0604020202020204" pitchFamily="34" charset="0"/>
              </a:endParaRPr>
            </a:p>
          </p:txBody>
        </p:sp>
        <p:sp>
          <p:nvSpPr>
            <p:cNvPr id="11" name="Rectangle 33">
              <a:extLst>
                <a:ext uri="{FF2B5EF4-FFF2-40B4-BE49-F238E27FC236}">
                  <a16:creationId xmlns:a16="http://schemas.microsoft.com/office/drawing/2014/main" id="{DBF71FD1-3B42-6141-AE73-2A6DF279AC64}"/>
                </a:ext>
              </a:extLst>
            </p:cNvPr>
            <p:cNvSpPr/>
            <p:nvPr/>
          </p:nvSpPr>
          <p:spPr>
            <a:xfrm>
              <a:off x="6269661" y="4850467"/>
              <a:ext cx="3760564" cy="843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600"/>
                </a:spcBef>
                <a:spcAft>
                  <a:spcPts val="0"/>
                </a:spcAft>
                <a:buClr>
                  <a:srgbClr val="BA065F"/>
                </a:buClr>
                <a:buSzTx/>
                <a:buFontTx/>
                <a:buNone/>
                <a:tabLst/>
                <a:defRPr/>
              </a:pPr>
              <a:r>
                <a:rPr kumimoji="0" lang="zh-CN" altLang="en-US" sz="1600" b="1" i="0" u="none" strike="noStrike" kern="1200" cap="none" spc="0" normalizeH="0" baseline="0" noProof="0" dirty="0">
                  <a:ln>
                    <a:noFill/>
                  </a:ln>
                  <a:solidFill>
                    <a:schemeClr val="tx1"/>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初治</a:t>
              </a:r>
              <a:r>
                <a:rPr lang="en-US" altLang="zh-CN" sz="1600" b="1" dirty="0">
                  <a:solidFill>
                    <a:schemeClr val="tx1"/>
                  </a:solidFill>
                  <a:latin typeface="Arial" panose="020B0604020202020204" pitchFamily="34" charset="0"/>
                  <a:ea typeface="微软雅黑" panose="020B0503020204020204" pitchFamily="34" charset="-122"/>
                  <a:sym typeface="Arial" panose="020B0604020202020204" pitchFamily="34" charset="0"/>
                </a:rPr>
                <a:t>: </a:t>
              </a:r>
              <a:r>
                <a:rPr kumimoji="0" lang="zh-CN" altLang="en-US" sz="1600" i="0" u="none" strike="noStrike" kern="1200" cap="none" spc="0" normalizeH="0" baseline="0" noProof="0" dirty="0">
                  <a:ln>
                    <a:noFill/>
                  </a:ln>
                  <a:solidFill>
                    <a:schemeClr val="tx1"/>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推荐</a:t>
              </a:r>
              <a:r>
                <a:rPr lang="zh-CN" altLang="en-US" sz="1600" dirty="0">
                  <a:solidFill>
                    <a:schemeClr val="tx1"/>
                  </a:solidFill>
                  <a:latin typeface="Arial" panose="020B0604020202020204" pitchFamily="34" charset="0"/>
                  <a:ea typeface="微软雅黑" panose="020B0503020204020204" pitchFamily="34" charset="-122"/>
                  <a:sym typeface="Arial" panose="020B0604020202020204" pitchFamily="34" charset="0"/>
                </a:rPr>
                <a:t>等级</a:t>
              </a:r>
              <a:r>
                <a:rPr lang="en-US" altLang="zh-CN" sz="1600" dirty="0" err="1">
                  <a:solidFill>
                    <a:schemeClr val="tx1"/>
                  </a:solidFill>
                  <a:latin typeface="Arial" panose="020B0604020202020204" pitchFamily="34" charset="0"/>
                  <a:ea typeface="微软雅黑" panose="020B0503020204020204" pitchFamily="34" charset="-122"/>
                  <a:sym typeface="Arial" panose="020B0604020202020204" pitchFamily="34" charset="0"/>
                </a:rPr>
                <a:t>AIa</a:t>
              </a:r>
              <a:r>
                <a:rPr lang="zh-CN" altLang="en-US" sz="1600" dirty="0">
                  <a:solidFill>
                    <a:schemeClr val="tx1"/>
                  </a:solidFill>
                  <a:latin typeface="Arial" panose="020B0604020202020204" pitchFamily="34" charset="0"/>
                  <a:ea typeface="微软雅黑" panose="020B0503020204020204" pitchFamily="34" charset="-122"/>
                  <a:sym typeface="Arial" panose="020B0604020202020204" pitchFamily="34" charset="0"/>
                </a:rPr>
                <a:t>（最高等级）</a:t>
              </a:r>
              <a:endParaRPr kumimoji="0" lang="en-US" altLang="zh-CN" sz="1000" i="0" u="none" strike="noStrike" kern="1200" cap="none" spc="0" normalizeH="0" baseline="0" noProof="0" dirty="0">
                <a:ln>
                  <a:noFill/>
                </a:ln>
                <a:solidFill>
                  <a:schemeClr val="tx1"/>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a:p>
              <a:pPr marL="0" marR="0" lvl="0" indent="0" algn="l" defTabSz="457200" rtl="0" eaLnBrk="1" fontAlgn="auto" latinLnBrk="0" hangingPunct="1">
                <a:lnSpc>
                  <a:spcPct val="100000"/>
                </a:lnSpc>
                <a:spcBef>
                  <a:spcPts val="600"/>
                </a:spcBef>
                <a:spcAft>
                  <a:spcPts val="0"/>
                </a:spcAft>
                <a:buClr>
                  <a:srgbClr val="BA065F"/>
                </a:buClr>
                <a:buSzTx/>
                <a:buFontTx/>
                <a:buNone/>
                <a:tabLst/>
                <a:defRPr/>
              </a:pPr>
              <a:r>
                <a:rPr kumimoji="0" lang="zh-CN" altLang="en-US" sz="1600" b="1"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cs typeface="+mn-cs"/>
                  <a:sym typeface="Arial" panose="020B0604020202020204" pitchFamily="34" charset="0"/>
                </a:rPr>
                <a:t>平稳转换</a:t>
              </a:r>
              <a:r>
                <a:rPr kumimoji="0" lang="en-US" altLang="zh-CN" sz="1600" b="1"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cs typeface="+mn-cs"/>
                  <a:sym typeface="Arial" panose="020B0604020202020204" pitchFamily="34" charset="0"/>
                </a:rPr>
                <a:t>: </a:t>
              </a:r>
              <a:r>
                <a:rPr kumimoji="0" lang="zh-CN" altLang="en-US" sz="1600"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cs typeface="+mn-cs"/>
                  <a:sym typeface="Arial" panose="020B0604020202020204" pitchFamily="34" charset="0"/>
                </a:rPr>
                <a:t>推荐等级</a:t>
              </a:r>
              <a:r>
                <a:rPr kumimoji="0" lang="en-US" altLang="zh-CN" sz="1600" i="0" u="none" strike="noStrike" kern="1200" cap="none" spc="0" normalizeH="0" baseline="0" noProof="0" dirty="0" err="1">
                  <a:ln>
                    <a:noFill/>
                  </a:ln>
                  <a:solidFill>
                    <a:schemeClr val="tx1"/>
                  </a:solidFill>
                  <a:effectLst/>
                  <a:uLnTx/>
                  <a:uFillTx/>
                  <a:latin typeface="Microsoft YaHei" panose="020B0503020204020204" pitchFamily="34" charset="-122"/>
                  <a:ea typeface="Microsoft YaHei" panose="020B0503020204020204" pitchFamily="34" charset="-122"/>
                  <a:cs typeface="+mn-cs"/>
                  <a:sym typeface="Arial" panose="020B0604020202020204" pitchFamily="34" charset="0"/>
                </a:rPr>
                <a:t>AIa</a:t>
              </a:r>
              <a:r>
                <a:rPr kumimoji="0" lang="zh-CN" altLang="en-US" sz="1600"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cs typeface="+mn-cs"/>
                  <a:sym typeface="Arial" panose="020B0604020202020204" pitchFamily="34" charset="0"/>
                </a:rPr>
                <a:t>（最高等级）</a:t>
              </a:r>
              <a:endParaRPr kumimoji="0" lang="zh-CN" altLang="en-US" sz="1600" i="0" u="none" strike="noStrike" kern="1200" cap="none" spc="0" normalizeH="0" baseline="0" noProof="0" dirty="0">
                <a:ln>
                  <a:noFill/>
                </a:ln>
                <a:solidFill>
                  <a:schemeClr val="tx1"/>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12" name="Rectangle 42">
              <a:extLst>
                <a:ext uri="{FF2B5EF4-FFF2-40B4-BE49-F238E27FC236}">
                  <a16:creationId xmlns:a16="http://schemas.microsoft.com/office/drawing/2014/main" id="{A9BA27D6-80F1-5942-BE20-0BAB0EDE8B74}"/>
                </a:ext>
              </a:extLst>
            </p:cNvPr>
            <p:cNvSpPr/>
            <p:nvPr/>
          </p:nvSpPr>
          <p:spPr>
            <a:xfrm>
              <a:off x="6261463" y="2429857"/>
              <a:ext cx="3760564" cy="843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600"/>
                </a:spcBef>
                <a:spcAft>
                  <a:spcPts val="0"/>
                </a:spcAft>
                <a:buClr>
                  <a:srgbClr val="BA065F"/>
                </a:buClr>
                <a:buSzTx/>
                <a:buFontTx/>
                <a:buNone/>
                <a:tabLst/>
                <a:defRPr/>
              </a:pPr>
              <a:r>
                <a:rPr kumimoji="0" lang="zh-CN" altLang="en-US" sz="1600" b="1" i="0" u="none" strike="noStrike" kern="1200" cap="none" spc="0" normalizeH="0" baseline="0" noProof="0" dirty="0">
                  <a:ln>
                    <a:noFill/>
                  </a:ln>
                  <a:solidFill>
                    <a:schemeClr val="tx1"/>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初治</a:t>
              </a:r>
              <a:r>
                <a:rPr lang="en-US" altLang="zh-CN" sz="1600" b="1" dirty="0">
                  <a:solidFill>
                    <a:schemeClr val="tx1"/>
                  </a:solidFill>
                  <a:latin typeface="Arial" panose="020B0604020202020204" pitchFamily="34" charset="0"/>
                  <a:ea typeface="微软雅黑" panose="020B0503020204020204" pitchFamily="34" charset="-122"/>
                  <a:sym typeface="Arial" panose="020B0604020202020204" pitchFamily="34" charset="0"/>
                </a:rPr>
                <a:t>: </a:t>
              </a:r>
              <a:r>
                <a:rPr lang="zh-CN" altLang="en-US" sz="1600" dirty="0">
                  <a:solidFill>
                    <a:schemeClr val="tx1"/>
                  </a:solidFill>
                  <a:latin typeface="Arial" panose="020B0604020202020204" pitchFamily="34" charset="0"/>
                  <a:ea typeface="微软雅黑" panose="020B0503020204020204" pitchFamily="34" charset="-122"/>
                  <a:sym typeface="Arial" panose="020B0604020202020204" pitchFamily="34" charset="0"/>
                </a:rPr>
                <a:t>推荐方案（所有药物无推荐等级）</a:t>
              </a:r>
              <a:endParaRPr kumimoji="0" lang="en-US" altLang="zh-CN" sz="1050"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cs typeface="+mn-cs"/>
                <a:sym typeface="Arial" panose="020B0604020202020204" pitchFamily="34" charset="0"/>
              </a:endParaRPr>
            </a:p>
            <a:p>
              <a:pPr defTabSz="457200">
                <a:spcBef>
                  <a:spcPts val="600"/>
                </a:spcBef>
                <a:buClr>
                  <a:srgbClr val="BA065F"/>
                </a:buClr>
                <a:defRPr/>
              </a:pPr>
              <a:r>
                <a:rPr kumimoji="0" lang="zh-CN" altLang="en-US" sz="1600" b="1"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cs typeface="+mn-cs"/>
                  <a:sym typeface="Arial" panose="020B0604020202020204" pitchFamily="34" charset="0"/>
                </a:rPr>
                <a:t>平稳转换</a:t>
              </a:r>
              <a:r>
                <a:rPr lang="en-US" altLang="zh-CN" sz="1600" b="1" dirty="0">
                  <a:solidFill>
                    <a:schemeClr val="tx1"/>
                  </a:solidFill>
                  <a:latin typeface="Arial" panose="020B0604020202020204" pitchFamily="34" charset="0"/>
                  <a:ea typeface="微软雅黑" panose="020B0503020204020204" pitchFamily="34" charset="-122"/>
                  <a:sym typeface="Arial" panose="020B0604020202020204" pitchFamily="34" charset="0"/>
                </a:rPr>
                <a:t>: </a:t>
              </a:r>
              <a:r>
                <a:rPr lang="zh-CN" altLang="en-US" sz="1600" dirty="0">
                  <a:solidFill>
                    <a:schemeClr val="tx1"/>
                  </a:solidFill>
                  <a:latin typeface="Arial" panose="020B0604020202020204" pitchFamily="34" charset="0"/>
                  <a:ea typeface="微软雅黑" panose="020B0503020204020204" pitchFamily="34" charset="-122"/>
                  <a:sym typeface="Arial" panose="020B0604020202020204" pitchFamily="34" charset="0"/>
                </a:rPr>
                <a:t>推荐方案（所有药物无推荐等级）</a:t>
              </a:r>
              <a:endParaRPr kumimoji="0" lang="en-US" altLang="zh-CN" sz="1050"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cs typeface="+mn-cs"/>
                <a:sym typeface="Arial" panose="020B0604020202020204" pitchFamily="34" charset="0"/>
              </a:endParaRPr>
            </a:p>
          </p:txBody>
        </p:sp>
        <p:sp>
          <p:nvSpPr>
            <p:cNvPr id="13" name="Rectangle 45">
              <a:extLst>
                <a:ext uri="{FF2B5EF4-FFF2-40B4-BE49-F238E27FC236}">
                  <a16:creationId xmlns:a16="http://schemas.microsoft.com/office/drawing/2014/main" id="{3BDF7E7E-9E7D-4344-BAE0-7829E5241372}"/>
                </a:ext>
              </a:extLst>
            </p:cNvPr>
            <p:cNvSpPr/>
            <p:nvPr/>
          </p:nvSpPr>
          <p:spPr>
            <a:xfrm>
              <a:off x="1964209" y="4861354"/>
              <a:ext cx="3760564" cy="843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600"/>
                </a:spcBef>
                <a:spcAft>
                  <a:spcPts val="0"/>
                </a:spcAft>
                <a:buClr>
                  <a:srgbClr val="BA065F"/>
                </a:buClr>
                <a:buSzTx/>
                <a:buFontTx/>
                <a:buNone/>
                <a:tabLst/>
                <a:defRPr/>
              </a:pPr>
              <a:r>
                <a:rPr kumimoji="0" lang="zh-CN" altLang="en-US" sz="1600" b="1" i="0" u="none" strike="noStrike" kern="1200" cap="none" spc="0" normalizeH="0" baseline="0" noProof="0" dirty="0">
                  <a:ln>
                    <a:noFill/>
                  </a:ln>
                  <a:solidFill>
                    <a:schemeClr val="tx1"/>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初治</a:t>
              </a:r>
              <a:r>
                <a:rPr lang="en-US" altLang="zh-CN" sz="1600" b="1" dirty="0">
                  <a:solidFill>
                    <a:schemeClr val="tx1"/>
                  </a:solidFill>
                  <a:latin typeface="Arial" panose="020B0604020202020204" pitchFamily="34" charset="0"/>
                  <a:ea typeface="微软雅黑" panose="020B0503020204020204" pitchFamily="34" charset="-122"/>
                  <a:sym typeface="Arial" panose="020B0604020202020204" pitchFamily="34" charset="0"/>
                </a:rPr>
                <a:t>: </a:t>
              </a:r>
              <a:r>
                <a:rPr kumimoji="0" lang="zh-CN" altLang="en-US" sz="1600" i="0" u="none" strike="noStrike" kern="1200" cap="none" spc="0" normalizeH="0" baseline="0" noProof="0" dirty="0">
                  <a:ln>
                    <a:noFill/>
                  </a:ln>
                  <a:solidFill>
                    <a:schemeClr val="tx1"/>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推荐</a:t>
              </a:r>
              <a:r>
                <a:rPr lang="zh-CN" altLang="en-US" sz="1600" dirty="0">
                  <a:solidFill>
                    <a:schemeClr val="tx1"/>
                  </a:solidFill>
                  <a:latin typeface="Arial" panose="020B0604020202020204" pitchFamily="34" charset="0"/>
                  <a:ea typeface="微软雅黑" panose="020B0503020204020204" pitchFamily="34" charset="-122"/>
                  <a:sym typeface="Arial" panose="020B0604020202020204" pitchFamily="34" charset="0"/>
                </a:rPr>
                <a:t>等级</a:t>
              </a:r>
              <a:r>
                <a:rPr lang="en-US" altLang="zh-CN" sz="1600" dirty="0">
                  <a:solidFill>
                    <a:schemeClr val="tx1"/>
                  </a:solidFill>
                  <a:latin typeface="Arial" panose="020B0604020202020204" pitchFamily="34" charset="0"/>
                  <a:ea typeface="微软雅黑" panose="020B0503020204020204" pitchFamily="34" charset="-122"/>
                  <a:sym typeface="Arial" panose="020B0604020202020204" pitchFamily="34" charset="0"/>
                </a:rPr>
                <a:t>AI</a:t>
              </a:r>
              <a:r>
                <a:rPr lang="zh-CN" altLang="en-US" sz="1600" dirty="0">
                  <a:solidFill>
                    <a:schemeClr val="tx1"/>
                  </a:solidFill>
                  <a:latin typeface="Arial" panose="020B0604020202020204" pitchFamily="34" charset="0"/>
                  <a:ea typeface="微软雅黑" panose="020B0503020204020204" pitchFamily="34" charset="-122"/>
                  <a:sym typeface="Arial" panose="020B0604020202020204" pitchFamily="34" charset="0"/>
                </a:rPr>
                <a:t>（最高等级）</a:t>
              </a:r>
              <a:endParaRPr kumimoji="0" lang="en-US" altLang="zh-CN" sz="1000" i="0" u="none" strike="noStrike" kern="1200" cap="none" spc="0" normalizeH="0" baseline="0" noProof="0" dirty="0">
                <a:ln>
                  <a:noFill/>
                </a:ln>
                <a:solidFill>
                  <a:schemeClr val="tx1"/>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a:p>
              <a:pPr marL="0" marR="0" lvl="0" indent="0" algn="l" defTabSz="457200" rtl="0" eaLnBrk="1" fontAlgn="auto" latinLnBrk="0" hangingPunct="1">
                <a:lnSpc>
                  <a:spcPct val="100000"/>
                </a:lnSpc>
                <a:spcBef>
                  <a:spcPts val="600"/>
                </a:spcBef>
                <a:spcAft>
                  <a:spcPts val="0"/>
                </a:spcAft>
                <a:buClr>
                  <a:srgbClr val="BA065F"/>
                </a:buClr>
                <a:buSzTx/>
                <a:buFontTx/>
                <a:buNone/>
                <a:tabLst/>
                <a:defRPr/>
              </a:pPr>
              <a:r>
                <a:rPr kumimoji="0" lang="zh-CN" altLang="en-US" sz="1600" b="1"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cs typeface="+mn-cs"/>
                  <a:sym typeface="Arial" panose="020B0604020202020204" pitchFamily="34" charset="0"/>
                </a:rPr>
                <a:t>平稳转换</a:t>
              </a:r>
              <a:r>
                <a:rPr kumimoji="0" lang="en-US" altLang="zh-CN" sz="1600" b="1"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cs typeface="+mn-cs"/>
                  <a:sym typeface="Arial" panose="020B0604020202020204" pitchFamily="34" charset="0"/>
                </a:rPr>
                <a:t>: </a:t>
              </a:r>
              <a:r>
                <a:rPr kumimoji="0" lang="zh-CN" altLang="en-US" sz="1600"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cs typeface="+mn-cs"/>
                  <a:sym typeface="Arial" panose="020B0604020202020204" pitchFamily="34" charset="0"/>
                </a:rPr>
                <a:t>推荐等级</a:t>
              </a:r>
              <a:r>
                <a:rPr kumimoji="0" lang="en-US" altLang="zh-CN" sz="1600"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cs typeface="+mn-cs"/>
                  <a:sym typeface="Arial" panose="020B0604020202020204" pitchFamily="34" charset="0"/>
                </a:rPr>
                <a:t>AI</a:t>
              </a:r>
              <a:r>
                <a:rPr kumimoji="0" lang="zh-CN" altLang="en-US" sz="1600" i="0" u="none" strike="noStrike" kern="1200" cap="none" spc="0" normalizeH="0" baseline="0" noProof="0" dirty="0">
                  <a:ln>
                    <a:noFill/>
                  </a:ln>
                  <a:solidFill>
                    <a:schemeClr val="tx1"/>
                  </a:solidFill>
                  <a:effectLst/>
                  <a:uLnTx/>
                  <a:uFillTx/>
                  <a:latin typeface="Microsoft YaHei" panose="020B0503020204020204" pitchFamily="34" charset="-122"/>
                  <a:ea typeface="Microsoft YaHei" panose="020B0503020204020204" pitchFamily="34" charset="-122"/>
                  <a:cs typeface="+mn-cs"/>
                  <a:sym typeface="Arial" panose="020B0604020202020204" pitchFamily="34" charset="0"/>
                </a:rPr>
                <a:t>（最高等级）</a:t>
              </a:r>
            </a:p>
          </p:txBody>
        </p:sp>
        <p:pic>
          <p:nvPicPr>
            <p:cNvPr id="14" name="图片 13">
              <a:extLst>
                <a:ext uri="{FF2B5EF4-FFF2-40B4-BE49-F238E27FC236}">
                  <a16:creationId xmlns:a16="http://schemas.microsoft.com/office/drawing/2014/main" id="{9FCAF82A-43ED-534A-86D9-E254DF280D2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17862" y="1591478"/>
              <a:ext cx="698501" cy="698501"/>
            </a:xfrm>
            <a:prstGeom prst="rect">
              <a:avLst/>
            </a:prstGeom>
          </p:spPr>
        </p:pic>
        <p:pic>
          <p:nvPicPr>
            <p:cNvPr id="15" name="图片 14">
              <a:extLst>
                <a:ext uri="{FF2B5EF4-FFF2-40B4-BE49-F238E27FC236}">
                  <a16:creationId xmlns:a16="http://schemas.microsoft.com/office/drawing/2014/main" id="{88D0FBBC-100E-0F49-B01D-CBEE94EA3BD3}"/>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6238342" y="1692356"/>
              <a:ext cx="752155" cy="530522"/>
            </a:xfrm>
            <a:prstGeom prst="roundRect">
              <a:avLst>
                <a:gd name="adj" fmla="val 16667"/>
              </a:avLst>
            </a:prstGeom>
            <a:ln>
              <a:noFill/>
            </a:ln>
            <a:effectLst/>
          </p:spPr>
        </p:pic>
        <p:pic>
          <p:nvPicPr>
            <p:cNvPr id="16" name="图片 15">
              <a:extLst>
                <a:ext uri="{FF2B5EF4-FFF2-40B4-BE49-F238E27FC236}">
                  <a16:creationId xmlns:a16="http://schemas.microsoft.com/office/drawing/2014/main" id="{6705F402-5FFD-854D-A492-55F122305234}"/>
                </a:ext>
              </a:extLst>
            </p:cNvPr>
            <p:cNvPicPr>
              <a:picLocks noChangeAspect="1"/>
            </p:cNvPicPr>
            <p:nvPr/>
          </p:nvPicPr>
          <p:blipFill rotWithShape="1">
            <a:blip r:embed="rId5">
              <a:clrChange>
                <a:clrFrom>
                  <a:srgbClr val="FFFFFF"/>
                </a:clrFrom>
                <a:clrTo>
                  <a:srgbClr val="FFFFFF">
                    <a:alpha val="0"/>
                  </a:srgbClr>
                </a:clrTo>
              </a:clrChange>
            </a:blip>
            <a:srcRect r="10589"/>
            <a:stretch>
              <a:fillRect/>
            </a:stretch>
          </p:blipFill>
          <p:spPr>
            <a:xfrm>
              <a:off x="1939157" y="3755793"/>
              <a:ext cx="823912" cy="825130"/>
            </a:xfrm>
            <a:prstGeom prst="roundRect">
              <a:avLst>
                <a:gd name="adj" fmla="val 16667"/>
              </a:avLst>
            </a:prstGeom>
            <a:ln>
              <a:noFill/>
            </a:ln>
            <a:effectLst/>
          </p:spPr>
        </p:pic>
        <p:pic>
          <p:nvPicPr>
            <p:cNvPr id="17" name="图片 16">
              <a:extLst>
                <a:ext uri="{FF2B5EF4-FFF2-40B4-BE49-F238E27FC236}">
                  <a16:creationId xmlns:a16="http://schemas.microsoft.com/office/drawing/2014/main" id="{8D95CEBD-BA5F-0746-8611-2D2E6FCC95B9}"/>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6354358" y="3908992"/>
              <a:ext cx="684000" cy="486693"/>
            </a:xfrm>
            <a:prstGeom prst="roundRect">
              <a:avLst>
                <a:gd name="adj" fmla="val 16667"/>
              </a:avLst>
            </a:prstGeom>
          </p:spPr>
        </p:pic>
        <p:grpSp>
          <p:nvGrpSpPr>
            <p:cNvPr id="18" name="组合 17">
              <a:extLst>
                <a:ext uri="{FF2B5EF4-FFF2-40B4-BE49-F238E27FC236}">
                  <a16:creationId xmlns:a16="http://schemas.microsoft.com/office/drawing/2014/main" id="{3F62BD79-A75C-C442-8314-F4F3898600CC}"/>
                </a:ext>
              </a:extLst>
            </p:cNvPr>
            <p:cNvGrpSpPr/>
            <p:nvPr/>
          </p:nvGrpSpPr>
          <p:grpSpPr>
            <a:xfrm>
              <a:off x="1982453" y="1556548"/>
              <a:ext cx="3745823" cy="856739"/>
              <a:chOff x="-1249293" y="2297109"/>
              <a:chExt cx="3745823" cy="856739"/>
            </a:xfrm>
          </p:grpSpPr>
          <p:sp>
            <p:nvSpPr>
              <p:cNvPr id="19" name="任意形状 18">
                <a:extLst>
                  <a:ext uri="{FF2B5EF4-FFF2-40B4-BE49-F238E27FC236}">
                    <a16:creationId xmlns:a16="http://schemas.microsoft.com/office/drawing/2014/main" id="{2D79C920-8D63-3948-AEA1-6B13E9FC5CA4}"/>
                  </a:ext>
                </a:extLst>
              </p:cNvPr>
              <p:cNvSpPr/>
              <p:nvPr/>
            </p:nvSpPr>
            <p:spPr>
              <a:xfrm flipH="1">
                <a:off x="-604433" y="2297109"/>
                <a:ext cx="3100963" cy="856739"/>
              </a:xfrm>
              <a:custGeom>
                <a:avLst/>
                <a:gdLst>
                  <a:gd name="connsiteX0" fmla="*/ 3653157 w 3653157"/>
                  <a:gd name="connsiteY0" fmla="*/ 0 h 856739"/>
                  <a:gd name="connsiteX1" fmla="*/ 0 w 3653157"/>
                  <a:gd name="connsiteY1" fmla="*/ 0 h 856739"/>
                  <a:gd name="connsiteX2" fmla="*/ 0 w 3653157"/>
                  <a:gd name="connsiteY2" fmla="*/ 856739 h 856739"/>
                  <a:gd name="connsiteX3" fmla="*/ 3653157 w 3653157"/>
                  <a:gd name="connsiteY3" fmla="*/ 856739 h 856739"/>
                  <a:gd name="connsiteX4" fmla="*/ 3653157 w 3653157"/>
                  <a:gd name="connsiteY4" fmla="*/ 738210 h 856739"/>
                  <a:gd name="connsiteX5" fmla="*/ 3594763 w 3653157"/>
                  <a:gd name="connsiteY5" fmla="*/ 690031 h 856739"/>
                  <a:gd name="connsiteX6" fmla="*/ 3474104 w 3653157"/>
                  <a:gd name="connsiteY6" fmla="*/ 398733 h 856739"/>
                  <a:gd name="connsiteX7" fmla="*/ 3594763 w 3653157"/>
                  <a:gd name="connsiteY7" fmla="*/ 107435 h 856739"/>
                  <a:gd name="connsiteX8" fmla="*/ 3653157 w 3653157"/>
                  <a:gd name="connsiteY8" fmla="*/ 59256 h 856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3157" h="856739">
                    <a:moveTo>
                      <a:pt x="3653157" y="0"/>
                    </a:moveTo>
                    <a:lnTo>
                      <a:pt x="0" y="0"/>
                    </a:lnTo>
                    <a:lnTo>
                      <a:pt x="0" y="856739"/>
                    </a:lnTo>
                    <a:lnTo>
                      <a:pt x="3653157" y="856739"/>
                    </a:lnTo>
                    <a:lnTo>
                      <a:pt x="3653157" y="738210"/>
                    </a:lnTo>
                    <a:lnTo>
                      <a:pt x="3594763" y="690031"/>
                    </a:lnTo>
                    <a:cubicBezTo>
                      <a:pt x="3520214" y="615481"/>
                      <a:pt x="3474104" y="512492"/>
                      <a:pt x="3474104" y="398733"/>
                    </a:cubicBezTo>
                    <a:cubicBezTo>
                      <a:pt x="3474104" y="284974"/>
                      <a:pt x="3520214" y="181985"/>
                      <a:pt x="3594763" y="107435"/>
                    </a:cubicBezTo>
                    <a:lnTo>
                      <a:pt x="3653157" y="59256"/>
                    </a:lnTo>
                    <a:close/>
                  </a:path>
                </a:pathLst>
              </a:custGeom>
              <a:solidFill>
                <a:srgbClr val="B8075F"/>
              </a:solidFill>
              <a:ln w="12700" cap="flat" cmpd="sng" algn="ctr">
                <a:noFill/>
                <a:prstDash val="solid"/>
                <a:miter lim="800000"/>
              </a:ln>
              <a:effectLst/>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2021</a:t>
                </a:r>
                <a:r>
                  <a:rPr kumimoji="0" lang="zh-CN" altLang="en-US"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 中华医学会感染病学分会</a:t>
                </a:r>
                <a:r>
                  <a:rPr kumimoji="0" lang="en-US" altLang="zh-CN" sz="1600" b="1" i="0" u="none" strike="noStrike" kern="1200" cap="none" spc="0" normalizeH="0" baseline="3000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1</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7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中国艾滋病诊疗指南</a:t>
                </a:r>
                <a:endParaRPr kumimoji="0" lang="zh-CN" altLang="en-US" sz="1400" b="1" i="0" u="none" strike="noStrike" kern="1200" cap="none" spc="0" normalizeH="0" baseline="3000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p:txBody>
          </p:sp>
          <p:sp>
            <p:nvSpPr>
              <p:cNvPr id="20" name="Oval 68">
                <a:extLst>
                  <a:ext uri="{FF2B5EF4-FFF2-40B4-BE49-F238E27FC236}">
                    <a16:creationId xmlns:a16="http://schemas.microsoft.com/office/drawing/2014/main" id="{04FB477C-4B08-D449-8A4C-005AAD970975}"/>
                  </a:ext>
                </a:extLst>
              </p:cNvPr>
              <p:cNvSpPr>
                <a:spLocks noChangeArrowheads="1"/>
              </p:cNvSpPr>
              <p:nvPr/>
            </p:nvSpPr>
            <p:spPr bwMode="auto">
              <a:xfrm flipH="1">
                <a:off x="-1249293" y="2297109"/>
                <a:ext cx="823913" cy="823913"/>
              </a:xfrm>
              <a:prstGeom prst="ellipse">
                <a:avLst/>
              </a:prstGeom>
              <a:noFill/>
              <a:ln w="571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2" name="组合 21">
              <a:extLst>
                <a:ext uri="{FF2B5EF4-FFF2-40B4-BE49-F238E27FC236}">
                  <a16:creationId xmlns:a16="http://schemas.microsoft.com/office/drawing/2014/main" id="{B33F7D35-D4A1-8D45-A615-7C71554DB60F}"/>
                </a:ext>
              </a:extLst>
            </p:cNvPr>
            <p:cNvGrpSpPr/>
            <p:nvPr/>
          </p:nvGrpSpPr>
          <p:grpSpPr>
            <a:xfrm>
              <a:off x="6284403" y="1545662"/>
              <a:ext cx="4317949" cy="856739"/>
              <a:chOff x="-1249293" y="2297109"/>
              <a:chExt cx="4317949" cy="856739"/>
            </a:xfrm>
          </p:grpSpPr>
          <p:sp>
            <p:nvSpPr>
              <p:cNvPr id="23" name="任意形状 22">
                <a:extLst>
                  <a:ext uri="{FF2B5EF4-FFF2-40B4-BE49-F238E27FC236}">
                    <a16:creationId xmlns:a16="http://schemas.microsoft.com/office/drawing/2014/main" id="{B33B1991-AFF4-1345-B010-29866CF2D296}"/>
                  </a:ext>
                </a:extLst>
              </p:cNvPr>
              <p:cNvSpPr/>
              <p:nvPr/>
            </p:nvSpPr>
            <p:spPr>
              <a:xfrm flipH="1">
                <a:off x="-604434" y="2297109"/>
                <a:ext cx="3673090" cy="856739"/>
              </a:xfrm>
              <a:custGeom>
                <a:avLst/>
                <a:gdLst>
                  <a:gd name="connsiteX0" fmla="*/ 3653157 w 3653157"/>
                  <a:gd name="connsiteY0" fmla="*/ 0 h 856739"/>
                  <a:gd name="connsiteX1" fmla="*/ 0 w 3653157"/>
                  <a:gd name="connsiteY1" fmla="*/ 0 h 856739"/>
                  <a:gd name="connsiteX2" fmla="*/ 0 w 3653157"/>
                  <a:gd name="connsiteY2" fmla="*/ 856739 h 856739"/>
                  <a:gd name="connsiteX3" fmla="*/ 3653157 w 3653157"/>
                  <a:gd name="connsiteY3" fmla="*/ 856739 h 856739"/>
                  <a:gd name="connsiteX4" fmla="*/ 3653157 w 3653157"/>
                  <a:gd name="connsiteY4" fmla="*/ 738210 h 856739"/>
                  <a:gd name="connsiteX5" fmla="*/ 3594763 w 3653157"/>
                  <a:gd name="connsiteY5" fmla="*/ 690031 h 856739"/>
                  <a:gd name="connsiteX6" fmla="*/ 3474104 w 3653157"/>
                  <a:gd name="connsiteY6" fmla="*/ 398733 h 856739"/>
                  <a:gd name="connsiteX7" fmla="*/ 3594763 w 3653157"/>
                  <a:gd name="connsiteY7" fmla="*/ 107435 h 856739"/>
                  <a:gd name="connsiteX8" fmla="*/ 3653157 w 3653157"/>
                  <a:gd name="connsiteY8" fmla="*/ 59256 h 856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3157" h="856739">
                    <a:moveTo>
                      <a:pt x="3653157" y="0"/>
                    </a:moveTo>
                    <a:lnTo>
                      <a:pt x="0" y="0"/>
                    </a:lnTo>
                    <a:lnTo>
                      <a:pt x="0" y="856739"/>
                    </a:lnTo>
                    <a:lnTo>
                      <a:pt x="3653157" y="856739"/>
                    </a:lnTo>
                    <a:lnTo>
                      <a:pt x="3653157" y="738210"/>
                    </a:lnTo>
                    <a:lnTo>
                      <a:pt x="3594763" y="690031"/>
                    </a:lnTo>
                    <a:cubicBezTo>
                      <a:pt x="3520214" y="615481"/>
                      <a:pt x="3474104" y="512492"/>
                      <a:pt x="3474104" y="398733"/>
                    </a:cubicBezTo>
                    <a:cubicBezTo>
                      <a:pt x="3474104" y="284974"/>
                      <a:pt x="3520214" y="181985"/>
                      <a:pt x="3594763" y="107435"/>
                    </a:cubicBezTo>
                    <a:lnTo>
                      <a:pt x="3653157" y="59256"/>
                    </a:lnTo>
                    <a:close/>
                  </a:path>
                </a:pathLst>
              </a:custGeom>
              <a:solidFill>
                <a:srgbClr val="B8075F"/>
              </a:solidFill>
              <a:ln w="12700" cap="flat" cmpd="sng" algn="ctr">
                <a:noFill/>
                <a:prstDash val="solid"/>
                <a:miter lim="800000"/>
              </a:ln>
              <a:effectLst/>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2021 </a:t>
                </a:r>
                <a:r>
                  <a:rPr kumimoji="0" lang="zh-CN" altLang="en-US"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欧洲艾滋病临床协会</a:t>
                </a:r>
                <a:r>
                  <a:rPr kumimoji="0" lang="en-US" altLang="zh-CN"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EACS)</a:t>
                </a:r>
                <a:r>
                  <a:rPr kumimoji="0" lang="en-US" altLang="zh-CN" sz="1600" b="1" i="0" u="none" strike="noStrike" kern="1200" cap="none" spc="0" normalizeH="0" baseline="3000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2</a:t>
                </a:r>
                <a:endParaRPr kumimoji="0" lang="en-US" altLang="zh-CN"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7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欧洲临床艾滋病学会指南</a:t>
                </a:r>
              </a:p>
            </p:txBody>
          </p:sp>
          <p:sp>
            <p:nvSpPr>
              <p:cNvPr id="24" name="Oval 68">
                <a:extLst>
                  <a:ext uri="{FF2B5EF4-FFF2-40B4-BE49-F238E27FC236}">
                    <a16:creationId xmlns:a16="http://schemas.microsoft.com/office/drawing/2014/main" id="{DDAC88DE-97CE-664E-B5FD-DBB6CC8DD67D}"/>
                  </a:ext>
                </a:extLst>
              </p:cNvPr>
              <p:cNvSpPr>
                <a:spLocks noChangeAspect="1" noChangeArrowheads="1"/>
              </p:cNvSpPr>
              <p:nvPr/>
            </p:nvSpPr>
            <p:spPr bwMode="auto">
              <a:xfrm flipH="1">
                <a:off x="-1249293" y="2297109"/>
                <a:ext cx="823913" cy="823913"/>
              </a:xfrm>
              <a:prstGeom prst="ellipse">
                <a:avLst/>
              </a:prstGeom>
              <a:noFill/>
              <a:ln w="571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5" name="组合 24">
              <a:extLst>
                <a:ext uri="{FF2B5EF4-FFF2-40B4-BE49-F238E27FC236}">
                  <a16:creationId xmlns:a16="http://schemas.microsoft.com/office/drawing/2014/main" id="{A6588140-4A5E-AA4A-B6CA-D59673CB997B}"/>
                </a:ext>
              </a:extLst>
            </p:cNvPr>
            <p:cNvGrpSpPr/>
            <p:nvPr/>
          </p:nvGrpSpPr>
          <p:grpSpPr>
            <a:xfrm>
              <a:off x="1966453" y="3760403"/>
              <a:ext cx="3745823" cy="856739"/>
              <a:chOff x="-1249293" y="2297109"/>
              <a:chExt cx="3745823" cy="856739"/>
            </a:xfrm>
          </p:grpSpPr>
          <p:sp>
            <p:nvSpPr>
              <p:cNvPr id="26" name="任意形状 25">
                <a:extLst>
                  <a:ext uri="{FF2B5EF4-FFF2-40B4-BE49-F238E27FC236}">
                    <a16:creationId xmlns:a16="http://schemas.microsoft.com/office/drawing/2014/main" id="{085B4B65-A127-8E4E-AD1E-BEAEC9800CD3}"/>
                  </a:ext>
                </a:extLst>
              </p:cNvPr>
              <p:cNvSpPr/>
              <p:nvPr/>
            </p:nvSpPr>
            <p:spPr>
              <a:xfrm flipH="1">
                <a:off x="-604433" y="2297109"/>
                <a:ext cx="3100963" cy="856739"/>
              </a:xfrm>
              <a:custGeom>
                <a:avLst/>
                <a:gdLst>
                  <a:gd name="connsiteX0" fmla="*/ 3653157 w 3653157"/>
                  <a:gd name="connsiteY0" fmla="*/ 0 h 856739"/>
                  <a:gd name="connsiteX1" fmla="*/ 0 w 3653157"/>
                  <a:gd name="connsiteY1" fmla="*/ 0 h 856739"/>
                  <a:gd name="connsiteX2" fmla="*/ 0 w 3653157"/>
                  <a:gd name="connsiteY2" fmla="*/ 856739 h 856739"/>
                  <a:gd name="connsiteX3" fmla="*/ 3653157 w 3653157"/>
                  <a:gd name="connsiteY3" fmla="*/ 856739 h 856739"/>
                  <a:gd name="connsiteX4" fmla="*/ 3653157 w 3653157"/>
                  <a:gd name="connsiteY4" fmla="*/ 738210 h 856739"/>
                  <a:gd name="connsiteX5" fmla="*/ 3594763 w 3653157"/>
                  <a:gd name="connsiteY5" fmla="*/ 690031 h 856739"/>
                  <a:gd name="connsiteX6" fmla="*/ 3474104 w 3653157"/>
                  <a:gd name="connsiteY6" fmla="*/ 398733 h 856739"/>
                  <a:gd name="connsiteX7" fmla="*/ 3594763 w 3653157"/>
                  <a:gd name="connsiteY7" fmla="*/ 107435 h 856739"/>
                  <a:gd name="connsiteX8" fmla="*/ 3653157 w 3653157"/>
                  <a:gd name="connsiteY8" fmla="*/ 59256 h 856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3157" h="856739">
                    <a:moveTo>
                      <a:pt x="3653157" y="0"/>
                    </a:moveTo>
                    <a:lnTo>
                      <a:pt x="0" y="0"/>
                    </a:lnTo>
                    <a:lnTo>
                      <a:pt x="0" y="856739"/>
                    </a:lnTo>
                    <a:lnTo>
                      <a:pt x="3653157" y="856739"/>
                    </a:lnTo>
                    <a:lnTo>
                      <a:pt x="3653157" y="738210"/>
                    </a:lnTo>
                    <a:lnTo>
                      <a:pt x="3594763" y="690031"/>
                    </a:lnTo>
                    <a:cubicBezTo>
                      <a:pt x="3520214" y="615481"/>
                      <a:pt x="3474104" y="512492"/>
                      <a:pt x="3474104" y="398733"/>
                    </a:cubicBezTo>
                    <a:cubicBezTo>
                      <a:pt x="3474104" y="284974"/>
                      <a:pt x="3520214" y="181985"/>
                      <a:pt x="3594763" y="107435"/>
                    </a:cubicBezTo>
                    <a:lnTo>
                      <a:pt x="3653157" y="59256"/>
                    </a:lnTo>
                    <a:close/>
                  </a:path>
                </a:pathLst>
              </a:custGeom>
              <a:solidFill>
                <a:srgbClr val="B8075F"/>
              </a:solidFill>
              <a:ln w="12700" cap="flat" cmpd="sng" algn="ctr">
                <a:noFill/>
                <a:prstDash val="solid"/>
                <a:miter lim="800000"/>
              </a:ln>
              <a:effectLst/>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2022 </a:t>
                </a:r>
                <a:r>
                  <a:rPr kumimoji="0" lang="zh-CN" altLang="en-US"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美国健康与人类服务部 </a:t>
                </a:r>
                <a:r>
                  <a:rPr kumimoji="0" lang="en-US" altLang="zh-CN"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DHHS)</a:t>
                </a:r>
                <a:r>
                  <a:rPr kumimoji="0" lang="en-US" altLang="zh-CN" sz="1600" b="1" i="0" u="none" strike="noStrike" kern="1200" cap="none" spc="0" normalizeH="0" baseline="3000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3</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6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成人及青少年</a:t>
                </a:r>
                <a:r>
                  <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HIV</a:t>
                </a: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感染者的抗逆转录病毒</a:t>
                </a:r>
                <a:endPar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药物指南</a:t>
                </a:r>
              </a:p>
            </p:txBody>
          </p:sp>
          <p:sp>
            <p:nvSpPr>
              <p:cNvPr id="27" name="Oval 68">
                <a:extLst>
                  <a:ext uri="{FF2B5EF4-FFF2-40B4-BE49-F238E27FC236}">
                    <a16:creationId xmlns:a16="http://schemas.microsoft.com/office/drawing/2014/main" id="{A1EDAAD0-BE37-5248-AE3E-2B4E05FE1CE2}"/>
                  </a:ext>
                </a:extLst>
              </p:cNvPr>
              <p:cNvSpPr>
                <a:spLocks noChangeArrowheads="1"/>
              </p:cNvSpPr>
              <p:nvPr/>
            </p:nvSpPr>
            <p:spPr bwMode="auto">
              <a:xfrm flipH="1">
                <a:off x="-1249293" y="2297109"/>
                <a:ext cx="823913" cy="823913"/>
              </a:xfrm>
              <a:prstGeom prst="ellipse">
                <a:avLst/>
              </a:prstGeom>
              <a:noFill/>
              <a:ln w="571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nvGrpSpPr>
            <p:cNvPr id="28" name="组合 27">
              <a:extLst>
                <a:ext uri="{FF2B5EF4-FFF2-40B4-BE49-F238E27FC236}">
                  <a16:creationId xmlns:a16="http://schemas.microsoft.com/office/drawing/2014/main" id="{F818A170-425C-F041-AA3B-C410636B97E3}"/>
                </a:ext>
              </a:extLst>
            </p:cNvPr>
            <p:cNvGrpSpPr/>
            <p:nvPr/>
          </p:nvGrpSpPr>
          <p:grpSpPr>
            <a:xfrm>
              <a:off x="6284403" y="3740383"/>
              <a:ext cx="4317949" cy="856739"/>
              <a:chOff x="-1249293" y="2297109"/>
              <a:chExt cx="4317949" cy="856739"/>
            </a:xfrm>
          </p:grpSpPr>
          <p:sp>
            <p:nvSpPr>
              <p:cNvPr id="29" name="任意形状 28">
                <a:extLst>
                  <a:ext uri="{FF2B5EF4-FFF2-40B4-BE49-F238E27FC236}">
                    <a16:creationId xmlns:a16="http://schemas.microsoft.com/office/drawing/2014/main" id="{E21A800C-D4D7-9448-99DA-81A35D4B0FE2}"/>
                  </a:ext>
                </a:extLst>
              </p:cNvPr>
              <p:cNvSpPr/>
              <p:nvPr/>
            </p:nvSpPr>
            <p:spPr>
              <a:xfrm flipH="1">
                <a:off x="-604436" y="2297109"/>
                <a:ext cx="3673092" cy="856739"/>
              </a:xfrm>
              <a:custGeom>
                <a:avLst/>
                <a:gdLst>
                  <a:gd name="connsiteX0" fmla="*/ 3653157 w 3653157"/>
                  <a:gd name="connsiteY0" fmla="*/ 0 h 856739"/>
                  <a:gd name="connsiteX1" fmla="*/ 0 w 3653157"/>
                  <a:gd name="connsiteY1" fmla="*/ 0 h 856739"/>
                  <a:gd name="connsiteX2" fmla="*/ 0 w 3653157"/>
                  <a:gd name="connsiteY2" fmla="*/ 856739 h 856739"/>
                  <a:gd name="connsiteX3" fmla="*/ 3653157 w 3653157"/>
                  <a:gd name="connsiteY3" fmla="*/ 856739 h 856739"/>
                  <a:gd name="connsiteX4" fmla="*/ 3653157 w 3653157"/>
                  <a:gd name="connsiteY4" fmla="*/ 738210 h 856739"/>
                  <a:gd name="connsiteX5" fmla="*/ 3594763 w 3653157"/>
                  <a:gd name="connsiteY5" fmla="*/ 690031 h 856739"/>
                  <a:gd name="connsiteX6" fmla="*/ 3474104 w 3653157"/>
                  <a:gd name="connsiteY6" fmla="*/ 398733 h 856739"/>
                  <a:gd name="connsiteX7" fmla="*/ 3594763 w 3653157"/>
                  <a:gd name="connsiteY7" fmla="*/ 107435 h 856739"/>
                  <a:gd name="connsiteX8" fmla="*/ 3653157 w 3653157"/>
                  <a:gd name="connsiteY8" fmla="*/ 59256 h 856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53157" h="856739">
                    <a:moveTo>
                      <a:pt x="3653157" y="0"/>
                    </a:moveTo>
                    <a:lnTo>
                      <a:pt x="0" y="0"/>
                    </a:lnTo>
                    <a:lnTo>
                      <a:pt x="0" y="856739"/>
                    </a:lnTo>
                    <a:lnTo>
                      <a:pt x="3653157" y="856739"/>
                    </a:lnTo>
                    <a:lnTo>
                      <a:pt x="3653157" y="738210"/>
                    </a:lnTo>
                    <a:lnTo>
                      <a:pt x="3594763" y="690031"/>
                    </a:lnTo>
                    <a:cubicBezTo>
                      <a:pt x="3520214" y="615481"/>
                      <a:pt x="3474104" y="512492"/>
                      <a:pt x="3474104" y="398733"/>
                    </a:cubicBezTo>
                    <a:cubicBezTo>
                      <a:pt x="3474104" y="284974"/>
                      <a:pt x="3520214" y="181985"/>
                      <a:pt x="3594763" y="107435"/>
                    </a:cubicBezTo>
                    <a:lnTo>
                      <a:pt x="3653157" y="59256"/>
                    </a:lnTo>
                    <a:close/>
                  </a:path>
                </a:pathLst>
              </a:custGeom>
              <a:solidFill>
                <a:srgbClr val="B8075F"/>
              </a:solidFill>
              <a:ln w="12700" cap="flat" cmpd="sng" algn="ctr">
                <a:noFill/>
                <a:prstDash val="solid"/>
                <a:miter lim="800000"/>
              </a:ln>
              <a:effectLst/>
            </p:spPr>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2020 </a:t>
                </a:r>
                <a:r>
                  <a:rPr kumimoji="0" lang="zh-CN" altLang="en-US"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国际抗病毒协会</a:t>
                </a:r>
                <a:r>
                  <a:rPr kumimoji="0" lang="en-US" altLang="zh-CN"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a:t>
                </a:r>
                <a:r>
                  <a:rPr kumimoji="0" lang="zh-CN" altLang="en-US"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美国专家组 </a:t>
                </a:r>
                <a:r>
                  <a:rPr kumimoji="0" lang="en-US" altLang="zh-CN"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IAS-USA) </a:t>
                </a:r>
                <a:r>
                  <a:rPr kumimoji="0" lang="en-US" altLang="zh-CN" sz="1600" b="1" i="0" u="none" strike="noStrike" kern="1200" cap="none" spc="0" normalizeH="0" baseline="3000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4</a:t>
                </a:r>
                <a:endParaRPr kumimoji="0" lang="en-US" altLang="zh-CN" sz="16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altLang="zh-CN" sz="700" b="0"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治疗和预防成人</a:t>
                </a:r>
                <a:r>
                  <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HIV</a:t>
                </a: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感染者的抗逆转录病毒</a:t>
                </a:r>
                <a:endParaRPr kumimoji="0" lang="en-US" altLang="zh-CN"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prstClr val="white"/>
                    </a:solidFill>
                    <a:effectLst/>
                    <a:uLnTx/>
                    <a:uFillTx/>
                    <a:latin typeface="微软雅黑" panose="020B0503020204020204" pitchFamily="34" charset="-122"/>
                    <a:ea typeface="微软雅黑" panose="020B0503020204020204" pitchFamily="34" charset="-122"/>
                    <a:cs typeface="+mn-cs"/>
                  </a:rPr>
                  <a:t>药物指南</a:t>
                </a:r>
              </a:p>
            </p:txBody>
          </p:sp>
          <p:sp>
            <p:nvSpPr>
              <p:cNvPr id="30" name="Oval 68">
                <a:extLst>
                  <a:ext uri="{FF2B5EF4-FFF2-40B4-BE49-F238E27FC236}">
                    <a16:creationId xmlns:a16="http://schemas.microsoft.com/office/drawing/2014/main" id="{1B90EF9B-6732-5446-A5ED-FC1E53A9E18D}"/>
                  </a:ext>
                </a:extLst>
              </p:cNvPr>
              <p:cNvSpPr>
                <a:spLocks noChangeArrowheads="1"/>
              </p:cNvSpPr>
              <p:nvPr/>
            </p:nvSpPr>
            <p:spPr bwMode="auto">
              <a:xfrm flipH="1">
                <a:off x="-1249293" y="2297109"/>
                <a:ext cx="823913" cy="823913"/>
              </a:xfrm>
              <a:prstGeom prst="ellipse">
                <a:avLst/>
              </a:prstGeom>
              <a:noFill/>
              <a:ln w="571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31" name="Group 2">
            <a:extLst>
              <a:ext uri="{FF2B5EF4-FFF2-40B4-BE49-F238E27FC236}">
                <a16:creationId xmlns:a16="http://schemas.microsoft.com/office/drawing/2014/main" id="{95D1A581-9A0A-4C95-B979-DAF12FAF9203}"/>
              </a:ext>
            </a:extLst>
          </p:cNvPr>
          <p:cNvGrpSpPr/>
          <p:nvPr/>
        </p:nvGrpSpPr>
        <p:grpSpPr>
          <a:xfrm>
            <a:off x="1224950" y="-30133"/>
            <a:ext cx="9609827" cy="584541"/>
            <a:chOff x="1224950" y="264034"/>
            <a:chExt cx="9609827" cy="584541"/>
          </a:xfrm>
        </p:grpSpPr>
        <p:sp>
          <p:nvSpPr>
            <p:cNvPr id="32" name="文本框 17">
              <a:extLst>
                <a:ext uri="{FF2B5EF4-FFF2-40B4-BE49-F238E27FC236}">
                  <a16:creationId xmlns:a16="http://schemas.microsoft.com/office/drawing/2014/main" id="{4882D65A-AAE4-41BE-8F63-619517AC22E1}"/>
                </a:ext>
              </a:extLst>
            </p:cNvPr>
            <p:cNvSpPr txBox="1"/>
            <p:nvPr/>
          </p:nvSpPr>
          <p:spPr>
            <a:xfrm>
              <a:off x="3305714" y="264034"/>
              <a:ext cx="544830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gradFill>
                      <a:gsLst>
                        <a:gs pos="0">
                          <a:srgbClr val="E4401D"/>
                        </a:gs>
                        <a:gs pos="88000">
                          <a:srgbClr val="F9C235">
                            <a:alpha val="0"/>
                          </a:srgbClr>
                        </a:gs>
                      </a:gsLst>
                      <a:lin ang="5400000" scaled="1"/>
                    </a:gradFill>
                  </a:ln>
                  <a:solidFill>
                    <a:srgbClr val="B8075F"/>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rPr>
                <a:t>03</a:t>
              </a:r>
              <a:endParaRPr kumimoji="0" lang="zh-CN" altLang="en-US" sz="2000" b="1" i="0" u="none" strike="noStrike" kern="1200" cap="none" spc="0" normalizeH="0" baseline="0" noProof="0" dirty="0">
                <a:ln>
                  <a:gradFill>
                    <a:gsLst>
                      <a:gs pos="0">
                        <a:srgbClr val="E4401D"/>
                      </a:gs>
                      <a:gs pos="88000">
                        <a:srgbClr val="F9C235">
                          <a:alpha val="0"/>
                        </a:srgbClr>
                      </a:gs>
                    </a:gsLst>
                    <a:lin ang="5400000" scaled="1"/>
                  </a:gradFill>
                </a:ln>
                <a:solidFill>
                  <a:srgbClr val="B8075F"/>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endParaRPr>
            </a:p>
          </p:txBody>
        </p:sp>
        <p:grpSp>
          <p:nvGrpSpPr>
            <p:cNvPr id="33" name="组合 32">
              <a:extLst>
                <a:ext uri="{FF2B5EF4-FFF2-40B4-BE49-F238E27FC236}">
                  <a16:creationId xmlns:a16="http://schemas.microsoft.com/office/drawing/2014/main" id="{46575112-6D38-4390-9505-17A8FE5746FE}"/>
                </a:ext>
              </a:extLst>
            </p:cNvPr>
            <p:cNvGrpSpPr/>
            <p:nvPr/>
          </p:nvGrpSpPr>
          <p:grpSpPr>
            <a:xfrm>
              <a:off x="1224950" y="602354"/>
              <a:ext cx="9609827" cy="246221"/>
              <a:chOff x="607784" y="3405939"/>
              <a:chExt cx="10976432" cy="246221"/>
            </a:xfrm>
          </p:grpSpPr>
          <p:sp>
            <p:nvSpPr>
              <p:cNvPr id="34" name="文本框 14">
                <a:extLst>
                  <a:ext uri="{FF2B5EF4-FFF2-40B4-BE49-F238E27FC236}">
                    <a16:creationId xmlns:a16="http://schemas.microsoft.com/office/drawing/2014/main" id="{C597EB62-3FC5-4FD6-8F70-C654F841AF63}"/>
                  </a:ext>
                </a:extLst>
              </p:cNvPr>
              <p:cNvSpPr txBox="1"/>
              <p:nvPr/>
            </p:nvSpPr>
            <p:spPr>
              <a:xfrm>
                <a:off x="5699708" y="3405939"/>
                <a:ext cx="834919" cy="246221"/>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sz="1600" b="1" i="0" u="none" strike="noStrike" kern="1200" cap="none" spc="300" normalizeH="0" baseline="0" noProof="0" dirty="0">
                    <a:ln>
                      <a:noFill/>
                    </a:ln>
                    <a:solidFill>
                      <a:srgbClr val="B8075F"/>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rPr>
                  <a:t>有效性</a:t>
                </a:r>
              </a:p>
            </p:txBody>
          </p:sp>
          <p:cxnSp>
            <p:nvCxnSpPr>
              <p:cNvPr id="35" name="直接连接符 18">
                <a:extLst>
                  <a:ext uri="{FF2B5EF4-FFF2-40B4-BE49-F238E27FC236}">
                    <a16:creationId xmlns:a16="http://schemas.microsoft.com/office/drawing/2014/main" id="{AAF2E432-D7E8-4888-9179-84FD82E6320A}"/>
                  </a:ext>
                </a:extLst>
              </p:cNvPr>
              <p:cNvCxnSpPr>
                <a:cxnSpLocks/>
              </p:cNvCxnSpPr>
              <p:nvPr/>
            </p:nvCxnSpPr>
            <p:spPr>
              <a:xfrm>
                <a:off x="8506916" y="3452239"/>
                <a:ext cx="3077300" cy="0"/>
              </a:xfrm>
              <a:prstGeom prst="line">
                <a:avLst/>
              </a:prstGeom>
              <a:ln w="15875">
                <a:solidFill>
                  <a:srgbClr val="E4401D"/>
                </a:solidFill>
              </a:ln>
            </p:spPr>
            <p:style>
              <a:lnRef idx="1">
                <a:schemeClr val="accent1"/>
              </a:lnRef>
              <a:fillRef idx="0">
                <a:schemeClr val="accent1"/>
              </a:fillRef>
              <a:effectRef idx="0">
                <a:schemeClr val="accent1"/>
              </a:effectRef>
              <a:fontRef idx="minor">
                <a:schemeClr val="tx1"/>
              </a:fontRef>
            </p:style>
          </p:cxnSp>
          <p:cxnSp>
            <p:nvCxnSpPr>
              <p:cNvPr id="36" name="直接连接符 19">
                <a:extLst>
                  <a:ext uri="{FF2B5EF4-FFF2-40B4-BE49-F238E27FC236}">
                    <a16:creationId xmlns:a16="http://schemas.microsoft.com/office/drawing/2014/main" id="{B5198E30-05F1-40CB-AE15-0BFDDE3FE673}"/>
                  </a:ext>
                </a:extLst>
              </p:cNvPr>
              <p:cNvCxnSpPr>
                <a:cxnSpLocks/>
              </p:cNvCxnSpPr>
              <p:nvPr/>
            </p:nvCxnSpPr>
            <p:spPr>
              <a:xfrm>
                <a:off x="607784" y="3452239"/>
                <a:ext cx="2929046" cy="0"/>
              </a:xfrm>
              <a:prstGeom prst="line">
                <a:avLst/>
              </a:prstGeom>
              <a:ln w="15875">
                <a:solidFill>
                  <a:srgbClr val="E4401D"/>
                </a:solidFill>
              </a:ln>
            </p:spPr>
            <p:style>
              <a:lnRef idx="1">
                <a:schemeClr val="accent1"/>
              </a:lnRef>
              <a:fillRef idx="0">
                <a:schemeClr val="accent1"/>
              </a:fillRef>
              <a:effectRef idx="0">
                <a:schemeClr val="accent1"/>
              </a:effectRef>
              <a:fontRef idx="minor">
                <a:schemeClr val="tx1"/>
              </a:fontRef>
            </p:style>
          </p:cxnSp>
        </p:grpSp>
      </p:grpSp>
      <p:pic>
        <p:nvPicPr>
          <p:cNvPr id="37" name="图片 36">
            <a:extLst>
              <a:ext uri="{FF2B5EF4-FFF2-40B4-BE49-F238E27FC236}">
                <a16:creationId xmlns:a16="http://schemas.microsoft.com/office/drawing/2014/main" id="{238CACE7-AF5E-4CC8-B92D-AFFD36E38978}"/>
              </a:ext>
            </a:extLst>
          </p:cNvPr>
          <p:cNvPicPr>
            <a:picLocks noChangeAspect="1"/>
          </p:cNvPicPr>
          <p:nvPr/>
        </p:nvPicPr>
        <p:blipFill>
          <a:blip r:embed="rId7"/>
          <a:stretch>
            <a:fillRect/>
          </a:stretch>
        </p:blipFill>
        <p:spPr>
          <a:xfrm>
            <a:off x="248529" y="503608"/>
            <a:ext cx="497265" cy="507625"/>
          </a:xfrm>
          <a:prstGeom prst="rect">
            <a:avLst/>
          </a:prstGeom>
        </p:spPr>
      </p:pic>
      <p:sp>
        <p:nvSpPr>
          <p:cNvPr id="38" name="灯片编号占位符 3">
            <a:extLst>
              <a:ext uri="{FF2B5EF4-FFF2-40B4-BE49-F238E27FC236}">
                <a16:creationId xmlns:a16="http://schemas.microsoft.com/office/drawing/2014/main" id="{D097D328-BCAD-43B3-8027-ECB9FBA33DEB}"/>
              </a:ext>
            </a:extLst>
          </p:cNvPr>
          <p:cNvSpPr>
            <a:spLocks noGrp="1"/>
          </p:cNvSpPr>
          <p:nvPr>
            <p:ph type="sldNum" sz="quarter" idx="4"/>
          </p:nvPr>
        </p:nvSpPr>
        <p:spPr>
          <a:xfrm>
            <a:off x="11673792" y="6356961"/>
            <a:ext cx="518208" cy="365125"/>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D6F24B0C-7668-4973-8E6C-4D4CB7EF0CEB}" type="slidenum">
              <a:rPr kumimoji="0" lang="en-US" sz="1600" b="1" i="0" u="none" strike="noStrike" kern="1200" cap="none" spc="0" normalizeH="0" baseline="0" noProof="0" smtClean="0">
                <a:ln>
                  <a:noFill/>
                </a:ln>
                <a:solidFill>
                  <a:schemeClr val="bg1"/>
                </a:solidFill>
                <a:effectLst/>
                <a:uLnTx/>
                <a:uFillTx/>
                <a:latin typeface="Arial" panose="020B0604020202020204" pitchFamily="34" charset="0"/>
                <a:ea typeface="+mn-ea"/>
                <a:cs typeface="Arial" panose="020B0604020202020204" pitchFamily="34" charset="0"/>
              </a:rPr>
              <a:pPr marL="0" marR="0" lvl="0" indent="0" algn="ctr" defTabSz="457200" rtl="0" eaLnBrk="1" fontAlgn="auto" latinLnBrk="0" hangingPunct="1">
                <a:lnSpc>
                  <a:spcPct val="100000"/>
                </a:lnSpc>
                <a:spcBef>
                  <a:spcPts val="0"/>
                </a:spcBef>
                <a:spcAft>
                  <a:spcPts val="0"/>
                </a:spcAft>
                <a:buClrTx/>
                <a:buSzTx/>
                <a:buFontTx/>
                <a:buNone/>
                <a:tabLst/>
                <a:defRPr/>
              </a:pPr>
              <a:t>8</a:t>
            </a:fld>
            <a:endParaRPr kumimoji="0" lang="en-US" sz="1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Tree>
    <p:custDataLst>
      <p:tags r:id="rId1"/>
    </p:custDataLst>
    <p:extLst>
      <p:ext uri="{BB962C8B-B14F-4D97-AF65-F5344CB8AC3E}">
        <p14:creationId xmlns:p14="http://schemas.microsoft.com/office/powerpoint/2010/main" val="1826787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矩形 62">
            <a:extLst>
              <a:ext uri="{FF2B5EF4-FFF2-40B4-BE49-F238E27FC236}">
                <a16:creationId xmlns:a16="http://schemas.microsoft.com/office/drawing/2014/main" id="{A2E0B2DB-3C0B-4CB2-BD84-D853A9BF8CB7}"/>
              </a:ext>
            </a:extLst>
          </p:cNvPr>
          <p:cNvSpPr/>
          <p:nvPr/>
        </p:nvSpPr>
        <p:spPr>
          <a:xfrm>
            <a:off x="8660745" y="4837232"/>
            <a:ext cx="3363693" cy="978391"/>
          </a:xfrm>
          <a:prstGeom prst="rect">
            <a:avLst/>
          </a:prstGeom>
          <a:solidFill>
            <a:srgbClr val="E9EFE9"/>
          </a:solidFill>
          <a:ln w="6350">
            <a:solidFill>
              <a:srgbClr val="E8EC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lang="zh-CN"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能够</a:t>
            </a:r>
            <a:r>
              <a:rPr lang="zh-CN" altLang="en-US" sz="1600" b="1" u="sng"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为合并基础疾病的</a:t>
            </a:r>
            <a:r>
              <a:rPr lang="en-US" altLang="zh-CN" sz="1600" b="1" u="sng"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HIV</a:t>
            </a:r>
            <a:r>
              <a:rPr lang="zh-CN" altLang="en-US" sz="1600" b="1" u="sng"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感染者提供更合适的治疗选择</a:t>
            </a:r>
            <a:r>
              <a:rPr lang="en-US" altLang="zh-CN" sz="1600" b="1" u="sng" baseline="300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3</a:t>
            </a:r>
            <a:r>
              <a:rPr lang="zh-CN"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a:t>
            </a:r>
          </a:p>
        </p:txBody>
      </p:sp>
      <p:sp>
        <p:nvSpPr>
          <p:cNvPr id="64" name="矩形 63">
            <a:extLst>
              <a:ext uri="{FF2B5EF4-FFF2-40B4-BE49-F238E27FC236}">
                <a16:creationId xmlns:a16="http://schemas.microsoft.com/office/drawing/2014/main" id="{5ADE8539-9246-4977-910F-8C1D8C60AC6E}"/>
              </a:ext>
            </a:extLst>
          </p:cNvPr>
          <p:cNvSpPr/>
          <p:nvPr/>
        </p:nvSpPr>
        <p:spPr>
          <a:xfrm>
            <a:off x="8660746" y="1708819"/>
            <a:ext cx="3363693" cy="1696429"/>
          </a:xfrm>
          <a:prstGeom prst="rect">
            <a:avLst/>
          </a:prstGeom>
          <a:solidFill>
            <a:srgbClr val="FCEBE8"/>
          </a:solidFill>
          <a:ln w="6350">
            <a:solidFill>
              <a:srgbClr val="E8EC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矩形 6">
            <a:extLst>
              <a:ext uri="{FF2B5EF4-FFF2-40B4-BE49-F238E27FC236}">
                <a16:creationId xmlns:a16="http://schemas.microsoft.com/office/drawing/2014/main" id="{AA2A5BDC-E660-4656-BEA1-3E7F4FF9B7E3}"/>
              </a:ext>
            </a:extLst>
          </p:cNvPr>
          <p:cNvSpPr/>
          <p:nvPr/>
        </p:nvSpPr>
        <p:spPr>
          <a:xfrm>
            <a:off x="180816" y="1708819"/>
            <a:ext cx="7574227" cy="1696429"/>
          </a:xfrm>
          <a:prstGeom prst="rect">
            <a:avLst/>
          </a:prstGeom>
          <a:solidFill>
            <a:schemeClr val="accent1">
              <a:alpha val="10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TextBox 91">
            <a:extLst>
              <a:ext uri="{FF2B5EF4-FFF2-40B4-BE49-F238E27FC236}">
                <a16:creationId xmlns:a16="http://schemas.microsoft.com/office/drawing/2014/main" id="{DA1A959C-52D7-4FFB-95F8-F007237FB13E}"/>
              </a:ext>
            </a:extLst>
          </p:cNvPr>
          <p:cNvSpPr txBox="1"/>
          <p:nvPr/>
        </p:nvSpPr>
        <p:spPr>
          <a:xfrm>
            <a:off x="641908" y="610645"/>
            <a:ext cx="11386244" cy="525657"/>
          </a:xfrm>
          <a:prstGeom prst="rect">
            <a:avLst/>
          </a:prstGeom>
          <a:noFill/>
        </p:spPr>
        <p:txBody>
          <a:bodyPr wrap="square">
            <a:spAutoFit/>
          </a:bodyPr>
          <a:lstStyle/>
          <a:p>
            <a:pPr fontAlgn="base">
              <a:lnSpc>
                <a:spcPct val="130000"/>
              </a:lnSpc>
              <a:buClr>
                <a:schemeClr val="accent1"/>
              </a:buClr>
              <a:buSzPct val="100000"/>
              <a:defRPr/>
            </a:pPr>
            <a:r>
              <a:rPr lang="zh-CN" altLang="en-US" sz="2400" b="1" dirty="0">
                <a:solidFill>
                  <a:srgbClr val="612166"/>
                </a:solidFill>
                <a:latin typeface="微软雅黑" panose="020B0503020204020204" pitchFamily="34" charset="-122"/>
                <a:ea typeface="微软雅黑" panose="020B0503020204020204" pitchFamily="34" charset="-122"/>
              </a:rPr>
              <a:t>本品开创了艾滋病‘简化治疗’理念的先河，引领艾滋病两药治疗的趋势</a:t>
            </a:r>
          </a:p>
        </p:txBody>
      </p:sp>
      <p:grpSp>
        <p:nvGrpSpPr>
          <p:cNvPr id="142" name="Group 3">
            <a:extLst>
              <a:ext uri="{FF2B5EF4-FFF2-40B4-BE49-F238E27FC236}">
                <a16:creationId xmlns:a16="http://schemas.microsoft.com/office/drawing/2014/main" id="{2EECE321-7755-4241-B879-BBDD1DF21E65}"/>
              </a:ext>
            </a:extLst>
          </p:cNvPr>
          <p:cNvGrpSpPr/>
          <p:nvPr/>
        </p:nvGrpSpPr>
        <p:grpSpPr>
          <a:xfrm>
            <a:off x="4908487" y="1809091"/>
            <a:ext cx="2619590" cy="1425363"/>
            <a:chOff x="819150" y="1445260"/>
            <a:chExt cx="6887534" cy="3945223"/>
          </a:xfrm>
        </p:grpSpPr>
        <p:grpSp>
          <p:nvGrpSpPr>
            <p:cNvPr id="147" name="组合 1">
              <a:extLst>
                <a:ext uri="{FF2B5EF4-FFF2-40B4-BE49-F238E27FC236}">
                  <a16:creationId xmlns:a16="http://schemas.microsoft.com/office/drawing/2014/main" id="{2AEA943D-85D4-46A3-AE4B-ABB7E534F0A8}"/>
                </a:ext>
              </a:extLst>
            </p:cNvPr>
            <p:cNvGrpSpPr/>
            <p:nvPr/>
          </p:nvGrpSpPr>
          <p:grpSpPr>
            <a:xfrm>
              <a:off x="819150" y="1445260"/>
              <a:ext cx="6887534" cy="3945223"/>
              <a:chOff x="621030" y="2179574"/>
              <a:chExt cx="6887534" cy="3945223"/>
            </a:xfrm>
          </p:grpSpPr>
          <p:pic>
            <p:nvPicPr>
              <p:cNvPr id="149" name="Picture 27" descr="A picture containing text, device, meter&#10;&#10;Description automatically generated">
                <a:extLst>
                  <a:ext uri="{FF2B5EF4-FFF2-40B4-BE49-F238E27FC236}">
                    <a16:creationId xmlns:a16="http://schemas.microsoft.com/office/drawing/2014/main" id="{7E83C040-A03D-4D7D-BF78-5789D7ABD8B7}"/>
                  </a:ext>
                </a:extLst>
              </p:cNvPr>
              <p:cNvPicPr>
                <a:picLocks noChangeAspect="1"/>
              </p:cNvPicPr>
              <p:nvPr/>
            </p:nvPicPr>
            <p:blipFill rotWithShape="1">
              <a:blip r:embed="rId3">
                <a:grayscl/>
                <a:extLst>
                  <a:ext uri="{28A0092B-C50C-407E-A947-70E740481C1C}">
                    <a14:useLocalDpi xmlns:a14="http://schemas.microsoft.com/office/drawing/2010/main" val="0"/>
                  </a:ext>
                </a:extLst>
              </a:blip>
              <a:srcRect t="5077" r="11493" b="11473"/>
              <a:stretch/>
            </p:blipFill>
            <p:spPr>
              <a:xfrm>
                <a:off x="621030" y="2179574"/>
                <a:ext cx="6887534" cy="3903345"/>
              </a:xfrm>
              <a:prstGeom prst="rect">
                <a:avLst/>
              </a:prstGeom>
            </p:spPr>
          </p:pic>
          <p:sp>
            <p:nvSpPr>
              <p:cNvPr id="150" name="Freeform 5">
                <a:extLst>
                  <a:ext uri="{FF2B5EF4-FFF2-40B4-BE49-F238E27FC236}">
                    <a16:creationId xmlns:a16="http://schemas.microsoft.com/office/drawing/2014/main" id="{7D168479-990E-4AA0-A6AE-05F8762A6FFE}"/>
                  </a:ext>
                </a:extLst>
              </p:cNvPr>
              <p:cNvSpPr/>
              <p:nvPr/>
            </p:nvSpPr>
            <p:spPr>
              <a:xfrm>
                <a:off x="3155707" y="2918408"/>
                <a:ext cx="996413" cy="372189"/>
              </a:xfrm>
              <a:prstGeom prst="rect">
                <a:avLst/>
              </a:prstGeom>
              <a:noFill/>
              <a:ln w="25400" cap="flat" cmpd="sng" algn="ctr">
                <a:noFill/>
                <a:prstDash val="solid"/>
              </a:ln>
              <a:effectLst/>
            </p:spPr>
            <p:txBody>
              <a:bodyPr wrap="none" rtlCol="0" anchor="ctr"/>
              <a:lstStyle/>
              <a:p>
                <a:pPr marL="0" marR="0" lvl="0" indent="0" defTabSz="685800" eaLnBrk="1" fontAlgn="auto" latinLnBrk="0" hangingPunct="1">
                  <a:lnSpc>
                    <a:spcPct val="100000"/>
                  </a:lnSpc>
                  <a:spcBef>
                    <a:spcPts val="0"/>
                  </a:spcBef>
                  <a:spcAft>
                    <a:spcPts val="0"/>
                  </a:spcAft>
                  <a:buClrTx/>
                  <a:buSzTx/>
                  <a:buFontTx/>
                  <a:buNone/>
                  <a:tabLst/>
                  <a:defRPr/>
                </a:pPr>
                <a:r>
                  <a:rPr kumimoji="0" lang="zh-CN" altLang="en-US" sz="700" b="1" i="0" u="none" strike="noStrike" kern="0" cap="none" spc="0" normalizeH="0" baseline="0" noProof="0" dirty="0">
                    <a:ln>
                      <a:noFill/>
                    </a:ln>
                    <a:solidFill>
                      <a:srgbClr val="544F40"/>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逆转录酶</a:t>
                </a:r>
                <a:endParaRPr kumimoji="0" lang="en-GB" sz="700" b="1" i="0" u="none" strike="noStrike" kern="0" cap="none" spc="0" normalizeH="0" baseline="0" noProof="0" dirty="0">
                  <a:ln>
                    <a:noFill/>
                  </a:ln>
                  <a:solidFill>
                    <a:srgbClr val="544F40"/>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151" name="Freeform 5">
                <a:extLst>
                  <a:ext uri="{FF2B5EF4-FFF2-40B4-BE49-F238E27FC236}">
                    <a16:creationId xmlns:a16="http://schemas.microsoft.com/office/drawing/2014/main" id="{E803F4A3-C293-43F9-93EB-A50844729231}"/>
                  </a:ext>
                </a:extLst>
              </p:cNvPr>
              <p:cNvSpPr/>
              <p:nvPr/>
            </p:nvSpPr>
            <p:spPr>
              <a:xfrm>
                <a:off x="5297410" y="2918408"/>
                <a:ext cx="996413" cy="372189"/>
              </a:xfrm>
              <a:prstGeom prst="rect">
                <a:avLst/>
              </a:prstGeom>
              <a:noFill/>
              <a:ln w="25400" cap="flat" cmpd="sng" algn="ctr">
                <a:noFill/>
                <a:prstDash val="solid"/>
              </a:ln>
              <a:effectLst/>
            </p:spPr>
            <p:txBody>
              <a:bodyPr wrap="none" rtlCol="0" anchor="ctr"/>
              <a:lstStyle/>
              <a:p>
                <a:pPr marL="0" marR="0" lvl="0" indent="0" defTabSz="685800" eaLnBrk="1" fontAlgn="auto" latinLnBrk="0" hangingPunct="1">
                  <a:lnSpc>
                    <a:spcPct val="100000"/>
                  </a:lnSpc>
                  <a:spcBef>
                    <a:spcPts val="0"/>
                  </a:spcBef>
                  <a:spcAft>
                    <a:spcPts val="0"/>
                  </a:spcAft>
                  <a:buClrTx/>
                  <a:buSzTx/>
                  <a:buFontTx/>
                  <a:buNone/>
                  <a:tabLst/>
                  <a:defRPr/>
                </a:pPr>
                <a:r>
                  <a:rPr kumimoji="0" lang="zh-CN" altLang="en-US" sz="700" b="0" i="0" u="none" strike="noStrike" kern="0" cap="none" spc="0" normalizeH="0" baseline="0" noProof="0" dirty="0">
                    <a:ln>
                      <a:noFill/>
                    </a:ln>
                    <a:solidFill>
                      <a:srgbClr val="544F40">
                        <a:lumMod val="95000"/>
                        <a:lumOff val="5000"/>
                      </a:srgb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病毒</a:t>
                </a:r>
                <a:r>
                  <a:rPr kumimoji="0" lang="en-US" altLang="zh-CN" sz="700" b="0" i="0" u="none" strike="noStrike" kern="0" cap="none" spc="0" normalizeH="0" baseline="0" noProof="0" dirty="0">
                    <a:ln>
                      <a:noFill/>
                    </a:ln>
                    <a:solidFill>
                      <a:srgbClr val="544F40">
                        <a:lumMod val="95000"/>
                        <a:lumOff val="5000"/>
                      </a:srgb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DNA</a:t>
                </a:r>
                <a:endParaRPr kumimoji="0" lang="en-GB" sz="700" b="0" i="0" u="none" strike="noStrike" kern="0" cap="none" spc="0" normalizeH="0" baseline="0" noProof="0" dirty="0">
                  <a:ln>
                    <a:noFill/>
                  </a:ln>
                  <a:solidFill>
                    <a:srgbClr val="544F40">
                      <a:lumMod val="95000"/>
                      <a:lumOff val="5000"/>
                    </a:srgb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152" name="Freeform 5">
                <a:extLst>
                  <a:ext uri="{FF2B5EF4-FFF2-40B4-BE49-F238E27FC236}">
                    <a16:creationId xmlns:a16="http://schemas.microsoft.com/office/drawing/2014/main" id="{AE7E9D2E-686A-4355-A860-94901816DF35}"/>
                  </a:ext>
                </a:extLst>
              </p:cNvPr>
              <p:cNvSpPr/>
              <p:nvPr/>
            </p:nvSpPr>
            <p:spPr>
              <a:xfrm>
                <a:off x="910837" y="5653767"/>
                <a:ext cx="996414" cy="372190"/>
              </a:xfrm>
              <a:prstGeom prst="rect">
                <a:avLst/>
              </a:prstGeom>
              <a:noFill/>
              <a:ln w="25400" cap="flat" cmpd="sng" algn="ctr">
                <a:noFill/>
                <a:prstDash val="solid"/>
              </a:ln>
              <a:effectLst/>
            </p:spPr>
            <p:txBody>
              <a:bodyPr wrap="none" rtlCol="0" anchor="ctr"/>
              <a:lstStyle/>
              <a:p>
                <a:pPr marL="0" marR="0" lvl="0" indent="0" algn="r" defTabSz="685800" eaLnBrk="1" fontAlgn="auto" latinLnBrk="0" hangingPunct="1">
                  <a:lnSpc>
                    <a:spcPct val="100000"/>
                  </a:lnSpc>
                  <a:spcBef>
                    <a:spcPts val="0"/>
                  </a:spcBef>
                  <a:spcAft>
                    <a:spcPts val="0"/>
                  </a:spcAft>
                  <a:buClrTx/>
                  <a:buSzTx/>
                  <a:buFontTx/>
                  <a:buNone/>
                  <a:tabLst/>
                  <a:defRPr/>
                </a:pPr>
                <a:r>
                  <a:rPr kumimoji="0" lang="zh-CN" altLang="en-US" sz="700" b="0" i="0" u="none" strike="noStrike" kern="0" cap="none" spc="0" normalizeH="0" baseline="0" noProof="0" dirty="0">
                    <a:ln>
                      <a:noFill/>
                    </a:ln>
                    <a:solidFill>
                      <a:srgbClr val="544F40">
                        <a:lumMod val="95000"/>
                        <a:lumOff val="5000"/>
                      </a:srgb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病毒</a:t>
                </a:r>
                <a:r>
                  <a:rPr kumimoji="0" lang="en-US" altLang="zh-CN" sz="700" b="0" i="0" u="none" strike="noStrike" kern="0" cap="none" spc="0" normalizeH="0" baseline="0" noProof="0" dirty="0">
                    <a:ln>
                      <a:noFill/>
                    </a:ln>
                    <a:solidFill>
                      <a:srgbClr val="544F40">
                        <a:lumMod val="95000"/>
                        <a:lumOff val="5000"/>
                      </a:srgb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RNA</a:t>
                </a:r>
                <a:endParaRPr kumimoji="0" lang="en-GB" sz="700" b="0" i="0" u="none" strike="noStrike" kern="0" cap="none" spc="0" normalizeH="0" baseline="0" noProof="0" dirty="0">
                  <a:ln>
                    <a:noFill/>
                  </a:ln>
                  <a:solidFill>
                    <a:srgbClr val="544F40">
                      <a:lumMod val="95000"/>
                      <a:lumOff val="5000"/>
                    </a:srgb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grpSp>
            <p:nvGrpSpPr>
              <p:cNvPr id="153" name="Group 31">
                <a:extLst>
                  <a:ext uri="{FF2B5EF4-FFF2-40B4-BE49-F238E27FC236}">
                    <a16:creationId xmlns:a16="http://schemas.microsoft.com/office/drawing/2014/main" id="{19C91BFB-22C4-443B-8953-6C25CA428864}"/>
                  </a:ext>
                </a:extLst>
              </p:cNvPr>
              <p:cNvGrpSpPr/>
              <p:nvPr/>
            </p:nvGrpSpPr>
            <p:grpSpPr>
              <a:xfrm>
                <a:off x="2764781" y="3851660"/>
                <a:ext cx="437890" cy="420345"/>
                <a:chOff x="2862659" y="3274121"/>
                <a:chExt cx="406079" cy="405129"/>
              </a:xfrm>
            </p:grpSpPr>
            <p:sp>
              <p:nvSpPr>
                <p:cNvPr id="161" name="Oval 39">
                  <a:extLst>
                    <a:ext uri="{FF2B5EF4-FFF2-40B4-BE49-F238E27FC236}">
                      <a16:creationId xmlns:a16="http://schemas.microsoft.com/office/drawing/2014/main" id="{E8F2C4B2-605C-4A4B-A539-9624EC13DCCC}"/>
                    </a:ext>
                  </a:extLst>
                </p:cNvPr>
                <p:cNvSpPr>
                  <a:spLocks noChangeAspect="1"/>
                </p:cNvSpPr>
                <p:nvPr/>
              </p:nvSpPr>
              <p:spPr>
                <a:xfrm>
                  <a:off x="2882819" y="3293806"/>
                  <a:ext cx="365760" cy="365760"/>
                </a:xfrm>
                <a:prstGeom prst="ellipse">
                  <a:avLst/>
                </a:prstGeom>
                <a:solidFill>
                  <a:srgbClr val="F36633"/>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FFFFFF"/>
                    </a:solidFill>
                    <a:effectLst/>
                    <a:uLnTx/>
                    <a:uFillTx/>
                    <a:latin typeface="Arial"/>
                    <a:ea typeface="+mn-ea"/>
                    <a:cs typeface="+mn-cs"/>
                  </a:endParaRPr>
                </a:p>
              </p:txBody>
            </p:sp>
            <p:sp>
              <p:nvSpPr>
                <p:cNvPr id="162" name="Multiplication Sign 40">
                  <a:extLst>
                    <a:ext uri="{FF2B5EF4-FFF2-40B4-BE49-F238E27FC236}">
                      <a16:creationId xmlns:a16="http://schemas.microsoft.com/office/drawing/2014/main" id="{F0612E85-168A-4D86-B7E7-C2613C750D88}"/>
                    </a:ext>
                  </a:extLst>
                </p:cNvPr>
                <p:cNvSpPr/>
                <p:nvPr/>
              </p:nvSpPr>
              <p:spPr>
                <a:xfrm>
                  <a:off x="2862659" y="3274121"/>
                  <a:ext cx="406079" cy="405129"/>
                </a:xfrm>
                <a:prstGeom prst="mathMultiply">
                  <a:avLst>
                    <a:gd name="adj1" fmla="val 14890"/>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Arial"/>
                    <a:ea typeface="+mn-ea"/>
                    <a:cs typeface="+mn-cs"/>
                  </a:endParaRPr>
                </a:p>
              </p:txBody>
            </p:sp>
          </p:grpSp>
          <p:sp>
            <p:nvSpPr>
              <p:cNvPr id="154" name="Freeform 5">
                <a:extLst>
                  <a:ext uri="{FF2B5EF4-FFF2-40B4-BE49-F238E27FC236}">
                    <a16:creationId xmlns:a16="http://schemas.microsoft.com/office/drawing/2014/main" id="{60D70067-6DE3-4042-9C5F-5322CB6F48E0}"/>
                  </a:ext>
                </a:extLst>
              </p:cNvPr>
              <p:cNvSpPr/>
              <p:nvPr/>
            </p:nvSpPr>
            <p:spPr>
              <a:xfrm>
                <a:off x="5697986" y="4179056"/>
                <a:ext cx="996413" cy="372189"/>
              </a:xfrm>
              <a:prstGeom prst="rect">
                <a:avLst/>
              </a:prstGeom>
              <a:noFill/>
              <a:ln w="25400" cap="flat" cmpd="sng" algn="ctr">
                <a:noFill/>
                <a:prstDash val="solid"/>
              </a:ln>
              <a:effectLst/>
            </p:spPr>
            <p:txBody>
              <a:bodyPr wrap="none" rtlCol="0" anchor="ctr"/>
              <a:lstStyle/>
              <a:p>
                <a:pPr marL="0" marR="0" lvl="0" indent="0" defTabSz="685800" eaLnBrk="1" fontAlgn="auto" latinLnBrk="0" hangingPunct="1">
                  <a:lnSpc>
                    <a:spcPct val="100000"/>
                  </a:lnSpc>
                  <a:spcBef>
                    <a:spcPts val="0"/>
                  </a:spcBef>
                  <a:spcAft>
                    <a:spcPts val="0"/>
                  </a:spcAft>
                  <a:buClrTx/>
                  <a:buSzTx/>
                  <a:buFontTx/>
                  <a:buNone/>
                  <a:tabLst/>
                  <a:defRPr/>
                </a:pPr>
                <a:r>
                  <a:rPr kumimoji="0" lang="zh-CN" altLang="en-US" sz="700" b="1" i="0" u="none" strike="noStrike" kern="0" cap="none" spc="0" normalizeH="0" baseline="0" noProof="0" dirty="0">
                    <a:ln>
                      <a:noFill/>
                    </a:ln>
                    <a:solidFill>
                      <a:srgbClr val="544F40"/>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整合酶</a:t>
                </a:r>
                <a:endParaRPr kumimoji="0" lang="en-GB" sz="700" b="1" i="0" u="none" strike="noStrike" kern="0" cap="none" spc="0" normalizeH="0" baseline="0" noProof="0" dirty="0">
                  <a:ln>
                    <a:noFill/>
                  </a:ln>
                  <a:solidFill>
                    <a:srgbClr val="544F40"/>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155" name="Freeform 5">
                <a:extLst>
                  <a:ext uri="{FF2B5EF4-FFF2-40B4-BE49-F238E27FC236}">
                    <a16:creationId xmlns:a16="http://schemas.microsoft.com/office/drawing/2014/main" id="{69E710E6-18F2-4995-98BC-468A0A062066}"/>
                  </a:ext>
                </a:extLst>
              </p:cNvPr>
              <p:cNvSpPr/>
              <p:nvPr/>
            </p:nvSpPr>
            <p:spPr>
              <a:xfrm>
                <a:off x="5614556" y="5752607"/>
                <a:ext cx="1477831" cy="372190"/>
              </a:xfrm>
              <a:prstGeom prst="rect">
                <a:avLst/>
              </a:prstGeom>
              <a:noFill/>
              <a:ln w="25400" cap="flat" cmpd="sng" algn="ctr">
                <a:noFill/>
                <a:prstDash val="solid"/>
              </a:ln>
              <a:effectLst/>
            </p:spPr>
            <p:txBody>
              <a:bodyPr wrap="none" rtlCol="0" anchor="ctr"/>
              <a:lstStyle/>
              <a:p>
                <a:pPr marL="0" marR="0" lvl="0" indent="0" defTabSz="685800" eaLnBrk="1" fontAlgn="auto" latinLnBrk="0" hangingPunct="1">
                  <a:lnSpc>
                    <a:spcPct val="100000"/>
                  </a:lnSpc>
                  <a:spcBef>
                    <a:spcPts val="0"/>
                  </a:spcBef>
                  <a:spcAft>
                    <a:spcPts val="0"/>
                  </a:spcAft>
                  <a:buClrTx/>
                  <a:buSzTx/>
                  <a:buFontTx/>
                  <a:buNone/>
                  <a:tabLst/>
                  <a:defRPr/>
                </a:pPr>
                <a:r>
                  <a:rPr kumimoji="0" lang="zh-CN" altLang="en-US" sz="700" b="0" i="0" u="none" strike="noStrike" kern="0" cap="none" spc="0" normalizeH="0" baseline="0" noProof="0" dirty="0">
                    <a:ln>
                      <a:noFill/>
                    </a:ln>
                    <a:solidFill>
                      <a:srgbClr val="544F40">
                        <a:lumMod val="95000"/>
                        <a:lumOff val="5000"/>
                      </a:srgb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人类基因组</a:t>
                </a:r>
                <a:r>
                  <a:rPr kumimoji="0" lang="en-US" altLang="zh-CN" sz="700" b="0" i="0" u="none" strike="noStrike" kern="0" cap="none" spc="0" normalizeH="0" baseline="0" noProof="0" dirty="0">
                    <a:ln>
                      <a:noFill/>
                    </a:ln>
                    <a:solidFill>
                      <a:srgbClr val="544F40">
                        <a:lumMod val="95000"/>
                        <a:lumOff val="5000"/>
                      </a:srgb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DVA</a:t>
                </a:r>
                <a:endParaRPr kumimoji="0" lang="en-GB" sz="700" b="0" i="0" u="none" strike="noStrike" kern="0" cap="none" spc="0" normalizeH="0" baseline="0" noProof="0" dirty="0">
                  <a:ln>
                    <a:noFill/>
                  </a:ln>
                  <a:solidFill>
                    <a:srgbClr val="544F40">
                      <a:lumMod val="95000"/>
                      <a:lumOff val="5000"/>
                    </a:srgb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156" name="Freeform 5">
                <a:extLst>
                  <a:ext uri="{FF2B5EF4-FFF2-40B4-BE49-F238E27FC236}">
                    <a16:creationId xmlns:a16="http://schemas.microsoft.com/office/drawing/2014/main" id="{133C45D5-F051-4052-B86C-5641E868E63F}"/>
                  </a:ext>
                </a:extLst>
              </p:cNvPr>
              <p:cNvSpPr/>
              <p:nvPr/>
            </p:nvSpPr>
            <p:spPr>
              <a:xfrm>
                <a:off x="4152122" y="5727342"/>
                <a:ext cx="1205536" cy="372190"/>
              </a:xfrm>
              <a:prstGeom prst="rect">
                <a:avLst/>
              </a:prstGeom>
              <a:noFill/>
              <a:ln w="25400" cap="flat" cmpd="sng" algn="ctr">
                <a:noFill/>
                <a:prstDash val="solid"/>
              </a:ln>
              <a:effectLst/>
            </p:spPr>
            <p:txBody>
              <a:bodyPr wrap="none"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zh-CN" altLang="en-US" sz="700" b="0" i="0" u="none" strike="noStrike" kern="0" cap="none" spc="0" normalizeH="0" baseline="0" noProof="0" dirty="0">
                    <a:ln>
                      <a:noFill/>
                    </a:ln>
                    <a:solidFill>
                      <a:srgbClr val="544F40">
                        <a:lumMod val="95000"/>
                        <a:lumOff val="5000"/>
                      </a:srgb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细胞核</a:t>
                </a:r>
                <a:endParaRPr kumimoji="0" lang="en-GB" sz="700" b="0" i="0" u="none" strike="noStrike" kern="0" cap="none" spc="0" normalizeH="0" baseline="0" noProof="0" dirty="0">
                  <a:ln>
                    <a:noFill/>
                  </a:ln>
                  <a:solidFill>
                    <a:srgbClr val="544F40">
                      <a:lumMod val="95000"/>
                      <a:lumOff val="5000"/>
                    </a:srgbClr>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sp>
            <p:nvSpPr>
              <p:cNvPr id="157" name="Freeform 5">
                <a:extLst>
                  <a:ext uri="{FF2B5EF4-FFF2-40B4-BE49-F238E27FC236}">
                    <a16:creationId xmlns:a16="http://schemas.microsoft.com/office/drawing/2014/main" id="{940D0306-F8F1-4C45-A372-263FE6C5B509}"/>
                  </a:ext>
                </a:extLst>
              </p:cNvPr>
              <p:cNvSpPr/>
              <p:nvPr/>
            </p:nvSpPr>
            <p:spPr>
              <a:xfrm>
                <a:off x="3225677" y="4947996"/>
                <a:ext cx="996413" cy="372189"/>
              </a:xfrm>
              <a:prstGeom prst="rect">
                <a:avLst/>
              </a:prstGeom>
              <a:noFill/>
              <a:ln w="25400" cap="flat" cmpd="sng" algn="ctr">
                <a:noFill/>
                <a:prstDash val="solid"/>
              </a:ln>
              <a:effectLst/>
            </p:spPr>
            <p:txBody>
              <a:bodyPr wrap="none"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zh-CN" altLang="en-US" sz="700" b="1" i="0" u="none" strike="noStrike" kern="0" cap="none" spc="0" normalizeH="0" baseline="0" noProof="0" dirty="0">
                    <a:ln>
                      <a:noFill/>
                    </a:ln>
                    <a:solidFill>
                      <a:srgbClr val="F36633"/>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多替拉韦</a:t>
                </a:r>
                <a:endParaRPr kumimoji="0" lang="en-GB" sz="700" b="1" i="0" u="none" strike="noStrike" kern="0" cap="none" spc="0" normalizeH="0" baseline="0" noProof="0" dirty="0">
                  <a:ln>
                    <a:noFill/>
                  </a:ln>
                  <a:solidFill>
                    <a:srgbClr val="F36633"/>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grpSp>
            <p:nvGrpSpPr>
              <p:cNvPr id="158" name="Group 36">
                <a:extLst>
                  <a:ext uri="{FF2B5EF4-FFF2-40B4-BE49-F238E27FC236}">
                    <a16:creationId xmlns:a16="http://schemas.microsoft.com/office/drawing/2014/main" id="{69ED29E5-DD19-4A1A-B49D-A1F31FB7239D}"/>
                  </a:ext>
                </a:extLst>
              </p:cNvPr>
              <p:cNvGrpSpPr/>
              <p:nvPr/>
            </p:nvGrpSpPr>
            <p:grpSpPr>
              <a:xfrm>
                <a:off x="4244890" y="4654059"/>
                <a:ext cx="437890" cy="420345"/>
                <a:chOff x="2862659" y="3274121"/>
                <a:chExt cx="406079" cy="405129"/>
              </a:xfrm>
            </p:grpSpPr>
            <p:sp>
              <p:nvSpPr>
                <p:cNvPr id="159" name="Oval 37">
                  <a:extLst>
                    <a:ext uri="{FF2B5EF4-FFF2-40B4-BE49-F238E27FC236}">
                      <a16:creationId xmlns:a16="http://schemas.microsoft.com/office/drawing/2014/main" id="{655FFE0F-2602-480C-8388-EBA740870816}"/>
                    </a:ext>
                  </a:extLst>
                </p:cNvPr>
                <p:cNvSpPr>
                  <a:spLocks noChangeAspect="1"/>
                </p:cNvSpPr>
                <p:nvPr/>
              </p:nvSpPr>
              <p:spPr>
                <a:xfrm>
                  <a:off x="2882819" y="3293806"/>
                  <a:ext cx="365760" cy="365760"/>
                </a:xfrm>
                <a:prstGeom prst="ellipse">
                  <a:avLst/>
                </a:prstGeom>
                <a:solidFill>
                  <a:srgbClr val="F36633"/>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FFFFFF"/>
                    </a:solidFill>
                    <a:effectLst/>
                    <a:uLnTx/>
                    <a:uFillTx/>
                    <a:latin typeface="Arial"/>
                    <a:ea typeface="+mn-ea"/>
                    <a:cs typeface="+mn-cs"/>
                  </a:endParaRPr>
                </a:p>
              </p:txBody>
            </p:sp>
            <p:sp>
              <p:nvSpPr>
                <p:cNvPr id="160" name="Multiplication Sign 38">
                  <a:extLst>
                    <a:ext uri="{FF2B5EF4-FFF2-40B4-BE49-F238E27FC236}">
                      <a16:creationId xmlns:a16="http://schemas.microsoft.com/office/drawing/2014/main" id="{1F7A8C9A-BB4D-435A-9A65-D23549A48D01}"/>
                    </a:ext>
                  </a:extLst>
                </p:cNvPr>
                <p:cNvSpPr/>
                <p:nvPr/>
              </p:nvSpPr>
              <p:spPr>
                <a:xfrm>
                  <a:off x="2862659" y="3274121"/>
                  <a:ext cx="406079" cy="405129"/>
                </a:xfrm>
                <a:prstGeom prst="mathMultiply">
                  <a:avLst>
                    <a:gd name="adj1" fmla="val 14890"/>
                  </a:avLst>
                </a:prstGeom>
                <a:solidFill>
                  <a:srgbClr val="FFFFF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a:ln>
                      <a:noFill/>
                    </a:ln>
                    <a:solidFill>
                      <a:srgbClr val="FFFFFF"/>
                    </a:solidFill>
                    <a:effectLst/>
                    <a:uLnTx/>
                    <a:uFillTx/>
                    <a:latin typeface="Arial"/>
                    <a:ea typeface="+mn-ea"/>
                    <a:cs typeface="+mn-cs"/>
                  </a:endParaRPr>
                </a:p>
              </p:txBody>
            </p:sp>
          </p:grpSp>
        </p:grpSp>
        <p:sp>
          <p:nvSpPr>
            <p:cNvPr id="148" name="Freeform 5">
              <a:extLst>
                <a:ext uri="{FF2B5EF4-FFF2-40B4-BE49-F238E27FC236}">
                  <a16:creationId xmlns:a16="http://schemas.microsoft.com/office/drawing/2014/main" id="{E1C8F698-1EF0-40E3-BAE0-B0B1C71CD467}"/>
                </a:ext>
              </a:extLst>
            </p:cNvPr>
            <p:cNvSpPr/>
            <p:nvPr/>
          </p:nvSpPr>
          <p:spPr>
            <a:xfrm>
              <a:off x="2683639" y="3498960"/>
              <a:ext cx="996413" cy="372189"/>
            </a:xfrm>
            <a:prstGeom prst="rect">
              <a:avLst/>
            </a:prstGeom>
            <a:noFill/>
            <a:ln w="25400" cap="flat" cmpd="sng" algn="ctr">
              <a:noFill/>
              <a:prstDash val="solid"/>
            </a:ln>
            <a:effectLst/>
          </p:spPr>
          <p:txBody>
            <a:bodyPr wrap="none"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r>
                <a:rPr kumimoji="0" lang="zh-CN" altLang="en-US" sz="700" b="1" i="0" u="none" strike="noStrike" kern="0" cap="none" spc="0" normalizeH="0" baseline="0" noProof="0" dirty="0">
                  <a:ln>
                    <a:noFill/>
                  </a:ln>
                  <a:solidFill>
                    <a:srgbClr val="F36633"/>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rPr>
                <a:t>拉米夫定</a:t>
              </a:r>
              <a:endParaRPr kumimoji="0" lang="en-GB" sz="700" b="1" i="0" u="none" strike="noStrike" kern="0" cap="none" spc="0" normalizeH="0" baseline="0" noProof="0" dirty="0">
                <a:ln>
                  <a:noFill/>
                </a:ln>
                <a:solidFill>
                  <a:srgbClr val="F36633"/>
                </a:solidFill>
                <a:effectLst/>
                <a:uLnTx/>
                <a:uFillTx/>
                <a:latin typeface="Arial" panose="020B0604020202020204" pitchFamily="34" charset="0"/>
                <a:ea typeface="微软雅黑" panose="020B0503020204020204" pitchFamily="34" charset="-122"/>
                <a:cs typeface="Arial" panose="020B0604020202020204" pitchFamily="34" charset="0"/>
                <a:sym typeface="Arial" panose="020B0604020202020204" pitchFamily="34" charset="0"/>
              </a:endParaRPr>
            </a:p>
          </p:txBody>
        </p:sp>
      </p:grpSp>
      <p:sp>
        <p:nvSpPr>
          <p:cNvPr id="164" name="文本框 163">
            <a:extLst>
              <a:ext uri="{FF2B5EF4-FFF2-40B4-BE49-F238E27FC236}">
                <a16:creationId xmlns:a16="http://schemas.microsoft.com/office/drawing/2014/main" id="{00F0FEE0-EEE8-477B-AE27-6BAA4E4A75F6}"/>
              </a:ext>
            </a:extLst>
          </p:cNvPr>
          <p:cNvSpPr txBox="1"/>
          <p:nvPr/>
        </p:nvSpPr>
        <p:spPr>
          <a:xfrm>
            <a:off x="226283" y="1696332"/>
            <a:ext cx="4646808" cy="1745478"/>
          </a:xfrm>
          <a:prstGeom prst="rect">
            <a:avLst/>
          </a:prstGeom>
          <a:noFill/>
        </p:spPr>
        <p:txBody>
          <a:bodyPr wrap="square">
            <a:spAutoFit/>
          </a:bodyPr>
          <a:lstStyle/>
          <a:p>
            <a:pPr marL="285750" marR="0" lvl="0" indent="-285750" algn="l" defTabSz="914400" rtl="0" eaLnBrk="1" fontAlgn="auto" latinLnBrk="0" hangingPunct="1">
              <a:lnSpc>
                <a:spcPct val="130000"/>
              </a:lnSpc>
              <a:spcBef>
                <a:spcPts val="0"/>
              </a:spcBef>
              <a:spcAft>
                <a:spcPts val="0"/>
              </a:spcAft>
              <a:buClr>
                <a:srgbClr val="544F40"/>
              </a:buClr>
              <a:buSzTx/>
              <a:buFont typeface="Arial" panose="020B0604020202020204" pitchFamily="34" charset="0"/>
              <a:buChar char="•"/>
              <a:tabLst/>
              <a:defRPr/>
            </a:pPr>
            <a:r>
              <a:rPr kumimoji="0" lang="zh-CN" altLang="en-US" sz="1400" i="0" u="none" strike="noStrike" kern="1200" cap="none" spc="0" normalizeH="0" baseline="0" noProof="0" dirty="0">
                <a:ln>
                  <a:noFill/>
                </a:ln>
                <a:solidFill>
                  <a:srgbClr val="544F40">
                    <a:lumMod val="50000"/>
                  </a:srgbClr>
                </a:solidFill>
                <a:effectLst/>
                <a:uLnTx/>
                <a:uFillTx/>
                <a:latin typeface="微软雅黑" panose="020B0503020204020204" pitchFamily="34" charset="-122"/>
                <a:ea typeface="微软雅黑" panose="020B0503020204020204" pitchFamily="34" charset="-122"/>
              </a:rPr>
              <a:t>本品作为中国首个完整</a:t>
            </a:r>
            <a:r>
              <a:rPr kumimoji="0" lang="zh-CN" altLang="en-US" sz="1400" b="1" u="none" strike="noStrike" kern="1200" cap="none" spc="0" normalizeH="0" baseline="0" noProof="0" dirty="0">
                <a:ln>
                  <a:noFill/>
                </a:ln>
                <a:solidFill>
                  <a:srgbClr val="544F40">
                    <a:lumMod val="50000"/>
                  </a:srgbClr>
                </a:solidFill>
                <a:effectLst/>
                <a:uLnTx/>
                <a:uFillTx/>
                <a:latin typeface="微软雅黑" panose="020B0503020204020204" pitchFamily="34" charset="-122"/>
                <a:ea typeface="微软雅黑" panose="020B0503020204020204" pitchFamily="34" charset="-122"/>
              </a:rPr>
              <a:t>两药单片方案</a:t>
            </a:r>
            <a:r>
              <a:rPr kumimoji="0" lang="zh-CN" altLang="en-US" sz="1400" i="0" u="none" strike="noStrike" kern="1200" cap="none" spc="0" normalizeH="0" baseline="0" noProof="0" dirty="0">
                <a:ln>
                  <a:noFill/>
                </a:ln>
                <a:solidFill>
                  <a:srgbClr val="544F40">
                    <a:lumMod val="50000"/>
                  </a:srgbClr>
                </a:solidFill>
                <a:effectLst/>
                <a:uLnTx/>
                <a:uFillTx/>
                <a:latin typeface="微软雅黑" panose="020B0503020204020204" pitchFamily="34" charset="-122"/>
                <a:ea typeface="微软雅黑" panose="020B0503020204020204" pitchFamily="34" charset="-122"/>
              </a:rPr>
              <a:t>，在减少一种抗病毒药物的同时，</a:t>
            </a:r>
            <a:r>
              <a:rPr kumimoji="0" lang="zh-CN" altLang="en-US" sz="1400" b="1" i="0" u="none" strike="noStrike" kern="1200" cap="none" spc="0" normalizeH="0" baseline="0" noProof="0" dirty="0">
                <a:ln>
                  <a:noFill/>
                </a:ln>
                <a:solidFill>
                  <a:srgbClr val="544F40">
                    <a:lumMod val="50000"/>
                  </a:srgbClr>
                </a:solidFill>
                <a:effectLst/>
                <a:uLnTx/>
                <a:uFillTx/>
                <a:latin typeface="微软雅黑" panose="020B0503020204020204" pitchFamily="34" charset="-122"/>
                <a:ea typeface="微软雅黑" panose="020B0503020204020204" pitchFamily="34" charset="-122"/>
              </a:rPr>
              <a:t>仍</a:t>
            </a:r>
            <a:r>
              <a:rPr kumimoji="0" lang="zh-CN" altLang="en-US" sz="1400" b="1" i="0" u="none" strike="noStrike" kern="1200" cap="none" spc="0" normalizeH="0" baseline="0" noProof="0" dirty="0">
                <a:ln>
                  <a:noFill/>
                </a:ln>
                <a:effectLst/>
                <a:uLnTx/>
                <a:uFillTx/>
                <a:latin typeface="微软雅黑" panose="020B0503020204020204" pitchFamily="34" charset="-122"/>
                <a:ea typeface="微软雅黑" panose="020B0503020204020204" pitchFamily="34" charset="-122"/>
              </a:rPr>
              <a:t>保持与传统三药方案相同的抑制位点</a:t>
            </a:r>
            <a:r>
              <a:rPr lang="zh-CN" altLang="en-US" sz="1400" dirty="0">
                <a:solidFill>
                  <a:srgbClr val="544F40">
                    <a:lumMod val="50000"/>
                  </a:srgbClr>
                </a:solidFill>
                <a:latin typeface="微软雅黑" panose="020B0503020204020204" pitchFamily="34" charset="-122"/>
                <a:ea typeface="微软雅黑" panose="020B0503020204020204" pitchFamily="34" charset="-122"/>
              </a:rPr>
              <a:t>；并且，</a:t>
            </a:r>
            <a:r>
              <a:rPr lang="zh-CN" altLang="en-US" sz="1400" dirty="0">
                <a:latin typeface="微软雅黑" panose="020B0503020204020204" pitchFamily="34" charset="-122"/>
                <a:ea typeface="微软雅黑" panose="020B0503020204020204" pitchFamily="34" charset="-122"/>
              </a:rPr>
              <a:t>多替拉韦和拉米夫定具有相似且稳定的药物动力学曲线，可以降低病毒暴露于单个药物选择性压力的风险，从而</a:t>
            </a:r>
            <a:r>
              <a:rPr lang="zh-CN" altLang="en-US" sz="1400" b="1" dirty="0">
                <a:latin typeface="微软雅黑" panose="020B0503020204020204" pitchFamily="34" charset="-122"/>
                <a:ea typeface="微软雅黑" panose="020B0503020204020204" pitchFamily="34" charset="-122"/>
              </a:rPr>
              <a:t>协同强效抑制病毒，并降低耐药发生率</a:t>
            </a:r>
            <a:r>
              <a:rPr lang="en-US" altLang="zh-CN" sz="1400" b="1" baseline="30000" dirty="0">
                <a:latin typeface="微软雅黑" panose="020B0503020204020204" pitchFamily="34" charset="-122"/>
                <a:ea typeface="微软雅黑" panose="020B0503020204020204" pitchFamily="34" charset="-122"/>
              </a:rPr>
              <a:t>1</a:t>
            </a:r>
            <a:r>
              <a:rPr lang="zh-CN" altLang="en-US"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p:txBody>
      </p:sp>
      <p:sp>
        <p:nvSpPr>
          <p:cNvPr id="11" name="文本框 10">
            <a:extLst>
              <a:ext uri="{FF2B5EF4-FFF2-40B4-BE49-F238E27FC236}">
                <a16:creationId xmlns:a16="http://schemas.microsoft.com/office/drawing/2014/main" id="{45B0C678-BECD-4F6B-A5CF-9C376D928863}"/>
              </a:ext>
            </a:extLst>
          </p:cNvPr>
          <p:cNvSpPr txBox="1"/>
          <p:nvPr/>
        </p:nvSpPr>
        <p:spPr>
          <a:xfrm>
            <a:off x="2182251" y="1238227"/>
            <a:ext cx="1236896" cy="369332"/>
          </a:xfrm>
          <a:prstGeom prst="rect">
            <a:avLst/>
          </a:prstGeom>
          <a:noFill/>
        </p:spPr>
        <p:txBody>
          <a:bodyPr wrap="square" rtlCol="0">
            <a:spAutoFit/>
          </a:bodyPr>
          <a:lstStyle/>
          <a:p>
            <a:r>
              <a:rPr lang="zh-CN" altLang="en-US" b="1" dirty="0">
                <a:solidFill>
                  <a:srgbClr val="F36633"/>
                </a:solidFill>
                <a:latin typeface="微软雅黑" panose="020B0503020204020204" pitchFamily="34" charset="-122"/>
                <a:ea typeface="微软雅黑" panose="020B0503020204020204" pitchFamily="34" charset="-122"/>
                <a:cs typeface="+mn-ea"/>
              </a:rPr>
              <a:t>机制创新</a:t>
            </a:r>
            <a:endParaRPr lang="en-US" b="1" dirty="0">
              <a:solidFill>
                <a:srgbClr val="F36633"/>
              </a:solidFill>
              <a:latin typeface="微软雅黑" panose="020B0503020204020204" pitchFamily="34" charset="-122"/>
              <a:ea typeface="微软雅黑" panose="020B0503020204020204" pitchFamily="34" charset="-122"/>
              <a:cs typeface="+mn-ea"/>
            </a:endParaRPr>
          </a:p>
        </p:txBody>
      </p:sp>
      <p:sp>
        <p:nvSpPr>
          <p:cNvPr id="200" name="文本框 199">
            <a:extLst>
              <a:ext uri="{FF2B5EF4-FFF2-40B4-BE49-F238E27FC236}">
                <a16:creationId xmlns:a16="http://schemas.microsoft.com/office/drawing/2014/main" id="{45F75B3C-9862-4AEA-A4B3-3DF931C311BF}"/>
              </a:ext>
            </a:extLst>
          </p:cNvPr>
          <p:cNvSpPr txBox="1"/>
          <p:nvPr/>
        </p:nvSpPr>
        <p:spPr>
          <a:xfrm>
            <a:off x="9898464" y="1238227"/>
            <a:ext cx="1236896" cy="369332"/>
          </a:xfrm>
          <a:prstGeom prst="rect">
            <a:avLst/>
          </a:prstGeom>
          <a:noFill/>
        </p:spPr>
        <p:txBody>
          <a:bodyPr wrap="square" rtlCol="0">
            <a:spAutoFit/>
          </a:bodyPr>
          <a:lstStyle/>
          <a:p>
            <a:r>
              <a:rPr lang="zh-CN" altLang="en-US" b="1" dirty="0">
                <a:solidFill>
                  <a:srgbClr val="F36633"/>
                </a:solidFill>
                <a:latin typeface="微软雅黑" panose="020B0503020204020204" pitchFamily="34" charset="-122"/>
                <a:ea typeface="微软雅黑" panose="020B0503020204020204" pitchFamily="34" charset="-122"/>
                <a:cs typeface="+mn-ea"/>
              </a:rPr>
              <a:t>应用创新</a:t>
            </a:r>
            <a:endParaRPr lang="en-US" b="1" dirty="0">
              <a:solidFill>
                <a:srgbClr val="F36633"/>
              </a:solidFill>
              <a:latin typeface="微软雅黑" panose="020B0503020204020204" pitchFamily="34" charset="-122"/>
              <a:ea typeface="微软雅黑" panose="020B0503020204020204" pitchFamily="34" charset="-122"/>
              <a:cs typeface="+mn-ea"/>
            </a:endParaRPr>
          </a:p>
        </p:txBody>
      </p:sp>
      <p:sp>
        <p:nvSpPr>
          <p:cNvPr id="57" name="文本框 56">
            <a:extLst>
              <a:ext uri="{FF2B5EF4-FFF2-40B4-BE49-F238E27FC236}">
                <a16:creationId xmlns:a16="http://schemas.microsoft.com/office/drawing/2014/main" id="{BBDA97B7-0A8F-4E07-B8D7-0CB811102A50}"/>
              </a:ext>
            </a:extLst>
          </p:cNvPr>
          <p:cNvSpPr txBox="1"/>
          <p:nvPr/>
        </p:nvSpPr>
        <p:spPr>
          <a:xfrm>
            <a:off x="8661773" y="1922325"/>
            <a:ext cx="3393220" cy="1021433"/>
          </a:xfrm>
          <a:prstGeom prst="rect">
            <a:avLst/>
          </a:prstGeom>
          <a:noFill/>
        </p:spPr>
        <p:txBody>
          <a:bodyPr wrap="square">
            <a:spAutoFit/>
          </a:bodyPr>
          <a:lstStyle/>
          <a:p>
            <a:pPr>
              <a:lnSpc>
                <a:spcPct val="130000"/>
              </a:lnSpc>
            </a:pPr>
            <a:r>
              <a:rPr lang="zh-CN" altLang="en-US" sz="1600" dirty="0">
                <a:solidFill>
                  <a:srgbClr val="262626"/>
                </a:solidFill>
                <a:effectLst/>
                <a:latin typeface="微软雅黑" panose="020B0503020204020204" pitchFamily="34" charset="-122"/>
                <a:ea typeface="微软雅黑" panose="020B0503020204020204" pitchFamily="34" charset="-122"/>
                <a:cs typeface="Times New Roman" panose="02020603050405020304" pitchFamily="18" charset="0"/>
              </a:rPr>
              <a:t>本品作为</a:t>
            </a:r>
            <a:r>
              <a:rPr lang="zh-CN" altLang="en-US" sz="1600" b="1" u="sng" dirty="0">
                <a:solidFill>
                  <a:srgbClr val="262626"/>
                </a:solidFill>
                <a:latin typeface="微软雅黑" panose="020B0503020204020204" pitchFamily="34" charset="-122"/>
                <a:ea typeface="微软雅黑" panose="020B0503020204020204" pitchFamily="34" charset="-122"/>
                <a:cs typeface="Times New Roman" panose="02020603050405020304" pitchFamily="18" charset="0"/>
              </a:rPr>
              <a:t>两</a:t>
            </a:r>
            <a:r>
              <a:rPr lang="zh-CN" altLang="en-US" sz="1600" b="1" u="sng" dirty="0">
                <a:latin typeface="微软雅黑" panose="020B0503020204020204" pitchFamily="34" charset="-122"/>
                <a:ea typeface="微软雅黑" panose="020B0503020204020204" pitchFamily="34" charset="-122"/>
                <a:cs typeface="Times New Roman" panose="02020603050405020304" pitchFamily="18" charset="0"/>
              </a:rPr>
              <a:t>药治疗方案</a:t>
            </a:r>
            <a:r>
              <a:rPr lang="zh-CN" altLang="en-US" sz="1600" dirty="0">
                <a:solidFill>
                  <a:srgbClr val="262626"/>
                </a:solidFill>
                <a:latin typeface="微软雅黑" panose="020B0503020204020204" pitchFamily="34" charset="-122"/>
                <a:ea typeface="微软雅黑" panose="020B0503020204020204" pitchFamily="34" charset="-122"/>
                <a:cs typeface="Times New Roman" panose="02020603050405020304" pitchFamily="18" charset="0"/>
              </a:rPr>
              <a:t>，在减少一种药物成分的情况下，能够与传统三药方案提供相当的疗效</a:t>
            </a:r>
            <a:r>
              <a:rPr lang="en-US" altLang="zh-CN" sz="1600" baseline="30000" dirty="0">
                <a:solidFill>
                  <a:srgbClr val="262626"/>
                </a:solidFill>
                <a:latin typeface="微软雅黑" panose="020B0503020204020204" pitchFamily="34" charset="-122"/>
                <a:ea typeface="微软雅黑" panose="020B0503020204020204" pitchFamily="34" charset="-122"/>
                <a:cs typeface="Times New Roman" panose="02020603050405020304" pitchFamily="18" charset="0"/>
              </a:rPr>
              <a:t>1,2</a:t>
            </a:r>
            <a:r>
              <a:rPr lang="zh-CN" altLang="en-US" sz="1600" dirty="0">
                <a:solidFill>
                  <a:srgbClr val="262626"/>
                </a:solidFill>
                <a:latin typeface="微软雅黑" panose="020B0503020204020204" pitchFamily="34" charset="-122"/>
                <a:ea typeface="微软雅黑" panose="020B0503020204020204" pitchFamily="34" charset="-122"/>
                <a:cs typeface="Times New Roman" panose="02020603050405020304" pitchFamily="18" charset="0"/>
              </a:rPr>
              <a:t>。</a:t>
            </a:r>
            <a:endParaRPr lang="en-US" sz="1600" dirty="0">
              <a:solidFill>
                <a:srgbClr val="262626"/>
              </a:solidFill>
              <a:latin typeface="微软雅黑" panose="020B0503020204020204" pitchFamily="34" charset="-122"/>
              <a:ea typeface="微软雅黑" panose="020B0503020204020204" pitchFamily="34" charset="-122"/>
              <a:cs typeface="Times New Roman" panose="02020603050405020304" pitchFamily="18" charset="0"/>
            </a:endParaRPr>
          </a:p>
        </p:txBody>
      </p:sp>
      <p:pic>
        <p:nvPicPr>
          <p:cNvPr id="58" name="图片 57">
            <a:extLst>
              <a:ext uri="{FF2B5EF4-FFF2-40B4-BE49-F238E27FC236}">
                <a16:creationId xmlns:a16="http://schemas.microsoft.com/office/drawing/2014/main" id="{257E4B32-F603-44CC-9174-75EB0BE0EF02}"/>
              </a:ext>
            </a:extLst>
          </p:cNvPr>
          <p:cNvPicPr>
            <a:picLocks noChangeAspect="1"/>
          </p:cNvPicPr>
          <p:nvPr/>
        </p:nvPicPr>
        <p:blipFill>
          <a:blip r:embed="rId4"/>
          <a:stretch>
            <a:fillRect/>
          </a:stretch>
        </p:blipFill>
        <p:spPr>
          <a:xfrm>
            <a:off x="89376" y="445546"/>
            <a:ext cx="657784" cy="671488"/>
          </a:xfrm>
          <a:prstGeom prst="rect">
            <a:avLst/>
          </a:prstGeom>
        </p:spPr>
      </p:pic>
      <p:sp>
        <p:nvSpPr>
          <p:cNvPr id="66" name="矩形 65">
            <a:extLst>
              <a:ext uri="{FF2B5EF4-FFF2-40B4-BE49-F238E27FC236}">
                <a16:creationId xmlns:a16="http://schemas.microsoft.com/office/drawing/2014/main" id="{166E2AF7-C3F6-43FE-964A-EB78BE6D0EA5}"/>
              </a:ext>
            </a:extLst>
          </p:cNvPr>
          <p:cNvSpPr/>
          <p:nvPr/>
        </p:nvSpPr>
        <p:spPr>
          <a:xfrm>
            <a:off x="180816" y="3771424"/>
            <a:ext cx="7574227" cy="771508"/>
          </a:xfrm>
          <a:prstGeom prst="rect">
            <a:avLst/>
          </a:prstGeom>
          <a:solidFill>
            <a:srgbClr val="F4F0E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nSpc>
                <a:spcPct val="130000"/>
              </a:lnSpc>
              <a:buClr>
                <a:srgbClr val="544F40"/>
              </a:buClr>
              <a:buFont typeface="Arial" panose="020B0604020202020204" pitchFamily="34" charset="0"/>
              <a:buChar char="•"/>
              <a:defRPr/>
            </a:pPr>
            <a:r>
              <a:rPr lang="zh-CN" altLang="en-US" sz="1400" b="1" dirty="0">
                <a:solidFill>
                  <a:schemeClr val="tx1"/>
                </a:solidFill>
                <a:latin typeface="微软雅黑" panose="020B0503020204020204" pitchFamily="34" charset="-122"/>
                <a:ea typeface="微软雅黑" panose="020B0503020204020204" pitchFamily="34" charset="-122"/>
              </a:rPr>
              <a:t>不含易导致血脂异常的丙酚替诺福韦（</a:t>
            </a:r>
            <a:r>
              <a:rPr lang="en-US" altLang="zh-CN" sz="1400" b="1" dirty="0">
                <a:solidFill>
                  <a:schemeClr val="tx1"/>
                </a:solidFill>
                <a:latin typeface="微软雅黑" panose="020B0503020204020204" pitchFamily="34" charset="-122"/>
                <a:ea typeface="微软雅黑" panose="020B0503020204020204" pitchFamily="34" charset="-122"/>
              </a:rPr>
              <a:t>TAF</a:t>
            </a:r>
            <a:r>
              <a:rPr lang="zh-CN" altLang="en-US" sz="1400" b="1" dirty="0">
                <a:solidFill>
                  <a:schemeClr val="tx1"/>
                </a:solidFill>
                <a:latin typeface="微软雅黑" panose="020B0503020204020204" pitchFamily="34" charset="-122"/>
                <a:ea typeface="微软雅黑" panose="020B0503020204020204" pitchFamily="34" charset="-122"/>
              </a:rPr>
              <a:t>）成分，更有利于血脂代谢</a:t>
            </a:r>
            <a:r>
              <a:rPr lang="en-US" altLang="zh-CN" sz="1400" b="1" baseline="30000" dirty="0">
                <a:solidFill>
                  <a:schemeClr val="tx1"/>
                </a:solidFill>
                <a:latin typeface="微软雅黑" panose="020B0503020204020204" pitchFamily="34" charset="-122"/>
                <a:ea typeface="微软雅黑" panose="020B0503020204020204" pitchFamily="34" charset="-122"/>
              </a:rPr>
              <a:t>2</a:t>
            </a:r>
            <a:r>
              <a:rPr lang="zh-CN" altLang="en-US" sz="1400" dirty="0">
                <a:solidFill>
                  <a:schemeClr val="tx1"/>
                </a:solidFill>
                <a:latin typeface="微软雅黑" panose="020B0503020204020204" pitchFamily="34" charset="-122"/>
                <a:ea typeface="微软雅黑" panose="020B0503020204020204" pitchFamily="34" charset="-122"/>
              </a:rPr>
              <a:t>。</a:t>
            </a:r>
            <a:endParaRPr lang="en-US" altLang="zh-CN" sz="1400" dirty="0">
              <a:solidFill>
                <a:schemeClr val="tx1"/>
              </a:solidFill>
              <a:latin typeface="微软雅黑" panose="020B0503020204020204" pitchFamily="34" charset="-122"/>
              <a:ea typeface="微软雅黑" panose="020B0503020204020204" pitchFamily="34" charset="-122"/>
            </a:endParaRPr>
          </a:p>
        </p:txBody>
      </p:sp>
      <p:sp>
        <p:nvSpPr>
          <p:cNvPr id="69" name="矩形 68">
            <a:extLst>
              <a:ext uri="{FF2B5EF4-FFF2-40B4-BE49-F238E27FC236}">
                <a16:creationId xmlns:a16="http://schemas.microsoft.com/office/drawing/2014/main" id="{9918D6A4-B5FA-4AF9-BBF4-97E549FBB4C2}"/>
              </a:ext>
            </a:extLst>
          </p:cNvPr>
          <p:cNvSpPr/>
          <p:nvPr/>
        </p:nvSpPr>
        <p:spPr>
          <a:xfrm>
            <a:off x="8691300" y="3771425"/>
            <a:ext cx="3363693" cy="771507"/>
          </a:xfrm>
          <a:prstGeom prst="rect">
            <a:avLst/>
          </a:prstGeom>
          <a:solidFill>
            <a:schemeClr val="accent2">
              <a:lumMod val="50000"/>
              <a:alpha val="10000"/>
            </a:schemeClr>
          </a:solidFill>
          <a:ln w="6350">
            <a:solidFill>
              <a:srgbClr val="E8EC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lang="zh-CN"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能够</a:t>
            </a:r>
            <a:r>
              <a:rPr lang="zh-CN" altLang="en-US" sz="1600" b="1" u="sng"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为血脂异常的</a:t>
            </a:r>
            <a:r>
              <a:rPr lang="en-US" altLang="zh-CN" sz="1600" b="1" u="sng"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HIV</a:t>
            </a:r>
            <a:r>
              <a:rPr lang="zh-CN" altLang="en-US" sz="1600" b="1" u="sng"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感染者提供更合适的治疗选择</a:t>
            </a:r>
            <a:r>
              <a:rPr lang="en-US" altLang="zh-CN" sz="1600" b="1" u="sng" baseline="300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2</a:t>
            </a:r>
            <a:r>
              <a:rPr lang="zh-CN" altLang="en-US" sz="16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a:t>
            </a:r>
            <a:endParaRPr lang="en-US" sz="1600" dirty="0">
              <a:solidFill>
                <a:schemeClr val="tx1"/>
              </a:solidFill>
              <a:latin typeface="微软雅黑" panose="020B0503020204020204" pitchFamily="34" charset="-122"/>
              <a:ea typeface="微软雅黑" panose="020B0503020204020204" pitchFamily="34" charset="-122"/>
            </a:endParaRPr>
          </a:p>
        </p:txBody>
      </p:sp>
      <p:sp>
        <p:nvSpPr>
          <p:cNvPr id="71" name="矩形 70">
            <a:extLst>
              <a:ext uri="{FF2B5EF4-FFF2-40B4-BE49-F238E27FC236}">
                <a16:creationId xmlns:a16="http://schemas.microsoft.com/office/drawing/2014/main" id="{DB2E4A89-9381-41F0-AD27-BF3B889BA59F}"/>
              </a:ext>
            </a:extLst>
          </p:cNvPr>
          <p:cNvSpPr/>
          <p:nvPr/>
        </p:nvSpPr>
        <p:spPr>
          <a:xfrm>
            <a:off x="180816" y="4837232"/>
            <a:ext cx="7574227" cy="978391"/>
          </a:xfrm>
          <a:prstGeom prst="rect">
            <a:avLst/>
          </a:prstGeom>
          <a:solidFill>
            <a:schemeClr val="accent3">
              <a:lumMod val="75000"/>
              <a:alpha val="10000"/>
            </a:schemeClr>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文本框 71">
            <a:extLst>
              <a:ext uri="{FF2B5EF4-FFF2-40B4-BE49-F238E27FC236}">
                <a16:creationId xmlns:a16="http://schemas.microsoft.com/office/drawing/2014/main" id="{E9D6AEBB-820F-4E8E-AA81-CCFA5E7B27AB}"/>
              </a:ext>
            </a:extLst>
          </p:cNvPr>
          <p:cNvSpPr txBox="1"/>
          <p:nvPr/>
        </p:nvSpPr>
        <p:spPr>
          <a:xfrm>
            <a:off x="276044" y="4923433"/>
            <a:ext cx="7252033" cy="625171"/>
          </a:xfrm>
          <a:prstGeom prst="rect">
            <a:avLst/>
          </a:prstGeom>
          <a:noFill/>
        </p:spPr>
        <p:txBody>
          <a:bodyPr wrap="square">
            <a:spAutoFit/>
          </a:bodyPr>
          <a:lstStyle/>
          <a:p>
            <a:pPr marL="171450" marR="0" lvl="0" indent="-171450" defTabSz="914400" eaLnBrk="1" fontAlgn="auto" latinLnBrk="0" hangingPunct="1">
              <a:lnSpc>
                <a:spcPct val="130000"/>
              </a:lnSpc>
              <a:spcBef>
                <a:spcPts val="600"/>
              </a:spcBef>
              <a:spcAft>
                <a:spcPts val="600"/>
              </a:spcAft>
              <a:buClrTx/>
              <a:buSzTx/>
              <a:buFont typeface="Arial" panose="020B0604020202020204" pitchFamily="34" charset="0"/>
              <a:buChar char="•"/>
              <a:tabLst/>
              <a:defRPr/>
            </a:pPr>
            <a:r>
              <a:rPr lang="zh-CN" altLang="en-US" sz="1400" b="1" dirty="0">
                <a:latin typeface="微软雅黑" panose="020B0503020204020204" pitchFamily="34" charset="-122"/>
                <a:ea typeface="微软雅黑" panose="020B0503020204020204" pitchFamily="34" charset="-122"/>
              </a:rPr>
              <a:t>多替拉韦不主要通过</a:t>
            </a:r>
            <a:r>
              <a:rPr lang="en-US" altLang="zh-CN" sz="1400" b="1" dirty="0">
                <a:latin typeface="微软雅黑" panose="020B0503020204020204" pitchFamily="34" charset="-122"/>
                <a:ea typeface="微软雅黑" panose="020B0503020204020204" pitchFamily="34" charset="-122"/>
              </a:rPr>
              <a:t>CYP</a:t>
            </a:r>
            <a:r>
              <a:rPr lang="zh-CN" altLang="en-US" sz="1400" b="1" dirty="0">
                <a:latin typeface="微软雅黑" panose="020B0503020204020204" pitchFamily="34" charset="-122"/>
                <a:ea typeface="微软雅黑" panose="020B0503020204020204" pitchFamily="34" charset="-122"/>
              </a:rPr>
              <a:t>酶代谢，拉米夫定仅通过肾脏代谢</a:t>
            </a:r>
            <a:r>
              <a:rPr lang="zh-CN" altLang="en-US" sz="1400" kern="0" dirty="0">
                <a:solidFill>
                  <a:srgbClr val="544F40"/>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zh-CN" altLang="en-US" sz="1400" b="0" i="0" u="none" strike="noStrike" kern="0" cap="none" spc="0" normalizeH="0" baseline="0" noProof="0" dirty="0">
                <a:ln>
                  <a:noFill/>
                </a:ln>
                <a:solidFill>
                  <a:srgbClr val="544F40">
                    <a:lumMod val="50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因此当拉米夫定多替拉韦片与其他需要通过</a:t>
            </a:r>
            <a:r>
              <a:rPr kumimoji="0" lang="en-US" altLang="zh-CN" sz="1400" b="0" i="0" u="none" strike="noStrike" kern="0" cap="none" spc="0" normalizeH="0" baseline="0" noProof="0" dirty="0">
                <a:ln>
                  <a:noFill/>
                </a:ln>
                <a:solidFill>
                  <a:srgbClr val="544F40">
                    <a:lumMod val="50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CYP</a:t>
            </a:r>
            <a:r>
              <a:rPr kumimoji="0" lang="zh-CN" altLang="en-US" sz="1400" b="0" i="0" u="none" strike="noStrike" kern="0" cap="none" spc="0" normalizeH="0" baseline="0" noProof="0" dirty="0">
                <a:ln>
                  <a:noFill/>
                </a:ln>
                <a:solidFill>
                  <a:srgbClr val="544F40">
                    <a:lumMod val="50000"/>
                  </a:srgbClr>
                </a:solidFill>
                <a:effectLst/>
                <a:uLnTx/>
                <a:uFillTx/>
                <a:latin typeface="微软雅黑" panose="020B0503020204020204" pitchFamily="34" charset="-122"/>
                <a:ea typeface="微软雅黑" panose="020B0503020204020204" pitchFamily="34" charset="-122"/>
                <a:cs typeface="Times New Roman" panose="02020603050405020304" pitchFamily="18" charset="0"/>
              </a:rPr>
              <a:t>酶代谢的药物同时使用时，</a:t>
            </a:r>
            <a:r>
              <a:rPr lang="zh-CN" altLang="en-US" sz="1400" b="1" dirty="0">
                <a:latin typeface="微软雅黑" panose="020B0503020204020204" pitchFamily="34" charset="-122"/>
                <a:ea typeface="微软雅黑" panose="020B0503020204020204" pitchFamily="34" charset="-122"/>
              </a:rPr>
              <a:t>发生药物相互作用的风险显著更低</a:t>
            </a:r>
            <a:r>
              <a:rPr lang="en-US" altLang="zh-CN" sz="1400" b="1" baseline="30000" dirty="0">
                <a:latin typeface="微软雅黑" panose="020B0503020204020204" pitchFamily="34" charset="-122"/>
                <a:ea typeface="微软雅黑" panose="020B0503020204020204" pitchFamily="34" charset="-122"/>
              </a:rPr>
              <a:t>1 </a:t>
            </a:r>
            <a:r>
              <a:rPr kumimoji="0" lang="zh-CN" altLang="en-US" sz="14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rPr>
              <a:t>。</a:t>
            </a:r>
            <a:endParaRPr kumimoji="0" lang="en-US" altLang="zh-CN" sz="1400" b="0" i="0" u="none" strike="noStrike" kern="0" cap="none" spc="0" normalizeH="0" baseline="0" noProof="0" dirty="0">
              <a:ln>
                <a:noFill/>
              </a:ln>
              <a:effectLst/>
              <a:uLnTx/>
              <a:uFillTx/>
              <a:latin typeface="微软雅黑" panose="020B0503020204020204" pitchFamily="34" charset="-122"/>
              <a:ea typeface="微软雅黑" panose="020B0503020204020204" pitchFamily="34" charset="-122"/>
              <a:cs typeface="Times New Roman" panose="02020603050405020304" pitchFamily="18" charset="0"/>
            </a:endParaRPr>
          </a:p>
        </p:txBody>
      </p:sp>
      <p:sp>
        <p:nvSpPr>
          <p:cNvPr id="14" name="箭头: 右 13">
            <a:extLst>
              <a:ext uri="{FF2B5EF4-FFF2-40B4-BE49-F238E27FC236}">
                <a16:creationId xmlns:a16="http://schemas.microsoft.com/office/drawing/2014/main" id="{E92F847C-BC85-4364-B09E-0BE9D73118B0}"/>
              </a:ext>
            </a:extLst>
          </p:cNvPr>
          <p:cNvSpPr/>
          <p:nvPr/>
        </p:nvSpPr>
        <p:spPr>
          <a:xfrm>
            <a:off x="7863840" y="2303710"/>
            <a:ext cx="766352" cy="454627"/>
          </a:xfrm>
          <a:prstGeom prst="rightArrow">
            <a:avLst/>
          </a:prstGeom>
          <a:solidFill>
            <a:srgbClr val="FCEBE8"/>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箭头: 右 85">
            <a:extLst>
              <a:ext uri="{FF2B5EF4-FFF2-40B4-BE49-F238E27FC236}">
                <a16:creationId xmlns:a16="http://schemas.microsoft.com/office/drawing/2014/main" id="{8BC4B99F-92BC-427A-B8A6-C0729E58CB54}"/>
              </a:ext>
            </a:extLst>
          </p:cNvPr>
          <p:cNvSpPr/>
          <p:nvPr/>
        </p:nvSpPr>
        <p:spPr>
          <a:xfrm>
            <a:off x="7863840" y="3963521"/>
            <a:ext cx="766352" cy="454627"/>
          </a:xfrm>
          <a:prstGeom prst="rightArrow">
            <a:avLst/>
          </a:prstGeom>
          <a:solidFill>
            <a:srgbClr val="F4F0E5"/>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箭头: 右 86">
            <a:extLst>
              <a:ext uri="{FF2B5EF4-FFF2-40B4-BE49-F238E27FC236}">
                <a16:creationId xmlns:a16="http://schemas.microsoft.com/office/drawing/2014/main" id="{68544FAB-EA05-454D-86F7-9C5DDC4CDF55}"/>
              </a:ext>
            </a:extLst>
          </p:cNvPr>
          <p:cNvSpPr/>
          <p:nvPr/>
        </p:nvSpPr>
        <p:spPr>
          <a:xfrm>
            <a:off x="7824718" y="5099113"/>
            <a:ext cx="766352" cy="454627"/>
          </a:xfrm>
          <a:prstGeom prst="rightArrow">
            <a:avLst/>
          </a:prstGeom>
          <a:solidFill>
            <a:srgbClr val="E9EFE9"/>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文本框 55">
            <a:extLst>
              <a:ext uri="{FF2B5EF4-FFF2-40B4-BE49-F238E27FC236}">
                <a16:creationId xmlns:a16="http://schemas.microsoft.com/office/drawing/2014/main" id="{AECA7C0F-ADC7-4B1B-BA7C-96CD7BD59E71}"/>
              </a:ext>
            </a:extLst>
          </p:cNvPr>
          <p:cNvSpPr txBox="1"/>
          <p:nvPr/>
        </p:nvSpPr>
        <p:spPr>
          <a:xfrm>
            <a:off x="81413" y="6297110"/>
            <a:ext cx="5915184" cy="461665"/>
          </a:xfrm>
          <a:prstGeom prst="rect">
            <a:avLst/>
          </a:prstGeom>
          <a:noFill/>
        </p:spPr>
        <p:txBody>
          <a:bodyPr wrap="square">
            <a:spAutoFit/>
          </a:bodyPr>
          <a:lstStyle/>
          <a:p>
            <a:pPr marL="228600" indent="-228600">
              <a:buAutoNum type="arabicPeriod"/>
            </a:pPr>
            <a:r>
              <a:rPr kumimoji="0" lang="zh-CN" altLang="en-US" sz="800" b="0" i="0" u="none" strike="noStrike" kern="0" cap="none" spc="0" normalizeH="0" baseline="0" noProof="0" dirty="0">
                <a:ln>
                  <a:noFill/>
                </a:ln>
                <a:solidFill>
                  <a:schemeClr val="bg1"/>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拉米夫定多替拉韦片说明书（</a:t>
            </a:r>
            <a:r>
              <a:rPr kumimoji="0" lang="en-US" altLang="zh-CN" sz="800" b="0" i="0" u="none" strike="noStrike" kern="0" cap="none" spc="0" normalizeH="0" baseline="0" noProof="0" dirty="0">
                <a:ln>
                  <a:noFill/>
                </a:ln>
                <a:solidFill>
                  <a:schemeClr val="bg1"/>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2021</a:t>
            </a:r>
            <a:r>
              <a:rPr kumimoji="0" lang="zh-CN" altLang="en-US" sz="800" b="0" i="0" u="none" strike="noStrike" kern="0" cap="none" spc="0" normalizeH="0" baseline="0" noProof="0" dirty="0">
                <a:ln>
                  <a:noFill/>
                </a:ln>
                <a:solidFill>
                  <a:schemeClr val="bg1"/>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年</a:t>
            </a:r>
            <a:r>
              <a:rPr kumimoji="0" lang="en-US" altLang="zh-CN" sz="800" b="0" i="0" u="none" strike="noStrike" kern="0" cap="none" spc="0" normalizeH="0" baseline="0" noProof="0" dirty="0">
                <a:ln>
                  <a:noFill/>
                </a:ln>
                <a:solidFill>
                  <a:schemeClr val="bg1"/>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04</a:t>
            </a:r>
            <a:r>
              <a:rPr kumimoji="0" lang="zh-CN" altLang="en-US" sz="800" b="0" i="0" u="none" strike="noStrike" kern="0" cap="none" spc="0" normalizeH="0" baseline="0" noProof="0" dirty="0">
                <a:ln>
                  <a:noFill/>
                </a:ln>
                <a:solidFill>
                  <a:schemeClr val="bg1"/>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月</a:t>
            </a:r>
            <a:r>
              <a:rPr kumimoji="0" lang="en-US" altLang="zh-CN" sz="800" b="0" i="0" u="none" strike="noStrike" kern="0" cap="none" spc="0" normalizeH="0" baseline="0" noProof="0" dirty="0">
                <a:ln>
                  <a:noFill/>
                </a:ln>
                <a:solidFill>
                  <a:schemeClr val="bg1"/>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29</a:t>
            </a:r>
            <a:r>
              <a:rPr kumimoji="0" lang="zh-CN" altLang="en-US" sz="800" b="0" i="0" u="none" strike="noStrike" kern="0" cap="none" spc="0" normalizeH="0" baseline="0" noProof="0" dirty="0">
                <a:ln>
                  <a:noFill/>
                </a:ln>
                <a:solidFill>
                  <a:schemeClr val="bg1"/>
                </a:solidFill>
                <a:effectLst/>
                <a:uLnTx/>
                <a:uFillTx/>
                <a:latin typeface="Times New Roman" panose="02020603050405020304" pitchFamily="18" charset="0"/>
                <a:ea typeface="微软雅黑" panose="020B0503020204020204" pitchFamily="34" charset="-122"/>
                <a:cs typeface="Times New Roman" panose="02020603050405020304" pitchFamily="18" charset="0"/>
              </a:rPr>
              <a:t>日版）</a:t>
            </a:r>
            <a:endParaRPr kumimoji="0" lang="en-US" altLang="zh-CN" sz="800" b="0" i="0" u="none" strike="noStrike" kern="0" cap="none" spc="0" normalizeH="0" baseline="0" noProof="0" dirty="0">
              <a:ln>
                <a:noFill/>
              </a:ln>
              <a:solidFill>
                <a:schemeClr val="bg1"/>
              </a:solidFill>
              <a:effectLst/>
              <a:uLnTx/>
              <a:uFillTx/>
              <a:latin typeface="Times New Roman" panose="02020603050405020304" pitchFamily="18" charset="0"/>
              <a:ea typeface="微软雅黑" panose="020B0503020204020204" pitchFamily="34" charset="-122"/>
              <a:cs typeface="Times New Roman" panose="02020603050405020304" pitchFamily="18" charset="0"/>
            </a:endParaRPr>
          </a:p>
          <a:p>
            <a:pPr marL="228600" indent="-228600">
              <a:buAutoNum type="arabicPeriod"/>
            </a:pPr>
            <a:r>
              <a:rPr lang="fr-FR" sz="800" dirty="0" err="1">
                <a:solidFill>
                  <a:schemeClr val="bg1"/>
                </a:solidFill>
                <a:latin typeface="Times New Roman" panose="02020603050405020304" pitchFamily="18" charset="0"/>
                <a:cs typeface="Times New Roman" panose="02020603050405020304" pitchFamily="18" charset="0"/>
              </a:rPr>
              <a:t>Osiyemi</a:t>
            </a:r>
            <a:r>
              <a:rPr lang="fr-FR" sz="800" dirty="0">
                <a:solidFill>
                  <a:schemeClr val="bg1"/>
                </a:solidFill>
                <a:latin typeface="Times New Roman" panose="02020603050405020304" pitchFamily="18" charset="0"/>
                <a:cs typeface="Times New Roman" panose="02020603050405020304" pitchFamily="18" charset="0"/>
              </a:rPr>
              <a:t> O, et al. Clin Infect Dis. 2022 Jan 25:ciac036. </a:t>
            </a:r>
          </a:p>
          <a:p>
            <a:pPr marL="228600" indent="-228600">
              <a:buAutoNum type="arabicPeriod"/>
            </a:pPr>
            <a:r>
              <a:rPr lang="nl-NL" sz="800" dirty="0">
                <a:solidFill>
                  <a:schemeClr val="bg1"/>
                </a:solidFill>
                <a:latin typeface="Times New Roman" panose="02020603050405020304" pitchFamily="18" charset="0"/>
                <a:cs typeface="Times New Roman" panose="02020603050405020304" pitchFamily="18" charset="0"/>
              </a:rPr>
              <a:t>Lopes S, et al. Pharmacoepidemiol Drug Saf 2020, 29 (3), 270-278.</a:t>
            </a:r>
          </a:p>
        </p:txBody>
      </p:sp>
      <p:grpSp>
        <p:nvGrpSpPr>
          <p:cNvPr id="44" name="Group 2">
            <a:extLst>
              <a:ext uri="{FF2B5EF4-FFF2-40B4-BE49-F238E27FC236}">
                <a16:creationId xmlns:a16="http://schemas.microsoft.com/office/drawing/2014/main" id="{E4913BDC-3EC1-4A23-B6DD-7BF88D4496FB}"/>
              </a:ext>
            </a:extLst>
          </p:cNvPr>
          <p:cNvGrpSpPr/>
          <p:nvPr/>
        </p:nvGrpSpPr>
        <p:grpSpPr>
          <a:xfrm>
            <a:off x="1224950" y="-30133"/>
            <a:ext cx="9609827" cy="564221"/>
            <a:chOff x="1224950" y="264034"/>
            <a:chExt cx="9609827" cy="564221"/>
          </a:xfrm>
        </p:grpSpPr>
        <p:sp>
          <p:nvSpPr>
            <p:cNvPr id="45" name="文本框 17">
              <a:extLst>
                <a:ext uri="{FF2B5EF4-FFF2-40B4-BE49-F238E27FC236}">
                  <a16:creationId xmlns:a16="http://schemas.microsoft.com/office/drawing/2014/main" id="{C2D4BF0A-59DA-4B03-AA0A-7667AD8F06A5}"/>
                </a:ext>
              </a:extLst>
            </p:cNvPr>
            <p:cNvSpPr txBox="1"/>
            <p:nvPr/>
          </p:nvSpPr>
          <p:spPr>
            <a:xfrm>
              <a:off x="3305714" y="264034"/>
              <a:ext cx="544830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2000" b="1" i="0" u="none" strike="noStrike" kern="1200" cap="none" spc="0" normalizeH="0" baseline="0" noProof="0" dirty="0">
                  <a:ln>
                    <a:gradFill>
                      <a:gsLst>
                        <a:gs pos="0">
                          <a:srgbClr val="E4401D"/>
                        </a:gs>
                        <a:gs pos="88000">
                          <a:srgbClr val="F9C235">
                            <a:alpha val="0"/>
                          </a:srgbClr>
                        </a:gs>
                      </a:gsLst>
                      <a:lin ang="5400000" scaled="1"/>
                    </a:gradFill>
                  </a:ln>
                  <a:solidFill>
                    <a:srgbClr val="B8075F"/>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rPr>
                <a:t>04</a:t>
              </a:r>
              <a:endParaRPr kumimoji="0" lang="zh-CN" altLang="en-US" sz="2000" b="1" i="0" u="none" strike="noStrike" kern="1200" cap="none" spc="0" normalizeH="0" baseline="0" noProof="0" dirty="0">
                <a:ln>
                  <a:gradFill>
                    <a:gsLst>
                      <a:gs pos="0">
                        <a:srgbClr val="E4401D"/>
                      </a:gs>
                      <a:gs pos="88000">
                        <a:srgbClr val="F9C235">
                          <a:alpha val="0"/>
                        </a:srgbClr>
                      </a:gs>
                    </a:gsLst>
                    <a:lin ang="5400000" scaled="1"/>
                  </a:gradFill>
                </a:ln>
                <a:solidFill>
                  <a:srgbClr val="B8075F"/>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endParaRPr>
            </a:p>
          </p:txBody>
        </p:sp>
        <p:grpSp>
          <p:nvGrpSpPr>
            <p:cNvPr id="46" name="组合 45">
              <a:extLst>
                <a:ext uri="{FF2B5EF4-FFF2-40B4-BE49-F238E27FC236}">
                  <a16:creationId xmlns:a16="http://schemas.microsoft.com/office/drawing/2014/main" id="{795AE5FB-64A3-489D-958E-AE8A9683713F}"/>
                </a:ext>
              </a:extLst>
            </p:cNvPr>
            <p:cNvGrpSpPr/>
            <p:nvPr/>
          </p:nvGrpSpPr>
          <p:grpSpPr>
            <a:xfrm>
              <a:off x="1224950" y="582034"/>
              <a:ext cx="9609827" cy="246221"/>
              <a:chOff x="607784" y="3385619"/>
              <a:chExt cx="10976432" cy="246221"/>
            </a:xfrm>
          </p:grpSpPr>
          <p:sp>
            <p:nvSpPr>
              <p:cNvPr id="47" name="文本框 14">
                <a:extLst>
                  <a:ext uri="{FF2B5EF4-FFF2-40B4-BE49-F238E27FC236}">
                    <a16:creationId xmlns:a16="http://schemas.microsoft.com/office/drawing/2014/main" id="{D83FA8D5-742F-45ED-869E-CAF8DDC97DE2}"/>
                  </a:ext>
                </a:extLst>
              </p:cNvPr>
              <p:cNvSpPr txBox="1"/>
              <p:nvPr/>
            </p:nvSpPr>
            <p:spPr>
              <a:xfrm>
                <a:off x="5699709" y="3385619"/>
                <a:ext cx="834919" cy="246221"/>
              </a:xfrm>
              <a:prstGeom prst="rect">
                <a:avLst/>
              </a:prstGeom>
              <a:noFill/>
            </p:spPr>
            <p:txBody>
              <a:bodyPr wrap="non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600" b="1" spc="300" dirty="0">
                    <a:solidFill>
                      <a:srgbClr val="B8075F"/>
                    </a:solidFill>
                    <a:latin typeface="微软雅黑" panose="020B0503020204020204" pitchFamily="34" charset="-122"/>
                    <a:ea typeface="微软雅黑" panose="020B0503020204020204" pitchFamily="34" charset="-122"/>
                    <a:cs typeface="Helvetica"/>
                    <a:sym typeface="微软雅黑" panose="020B0503020204020204" pitchFamily="34" charset="-122"/>
                  </a:rPr>
                  <a:t>创新</a:t>
                </a:r>
                <a:r>
                  <a:rPr kumimoji="0" lang="zh-CN" altLang="en-US" sz="1600" b="1" i="0" u="none" strike="noStrike" kern="1200" cap="none" spc="300" normalizeH="0" baseline="0" noProof="0" dirty="0">
                    <a:ln>
                      <a:noFill/>
                    </a:ln>
                    <a:solidFill>
                      <a:srgbClr val="B8075F"/>
                    </a:solidFill>
                    <a:effectLst/>
                    <a:uLnTx/>
                    <a:uFillTx/>
                    <a:latin typeface="微软雅黑" panose="020B0503020204020204" pitchFamily="34" charset="-122"/>
                    <a:ea typeface="微软雅黑" panose="020B0503020204020204" pitchFamily="34" charset="-122"/>
                    <a:cs typeface="Helvetica"/>
                    <a:sym typeface="微软雅黑" panose="020B0503020204020204" pitchFamily="34" charset="-122"/>
                  </a:rPr>
                  <a:t>性</a:t>
                </a:r>
              </a:p>
            </p:txBody>
          </p:sp>
          <p:cxnSp>
            <p:nvCxnSpPr>
              <p:cNvPr id="48" name="直接连接符 18">
                <a:extLst>
                  <a:ext uri="{FF2B5EF4-FFF2-40B4-BE49-F238E27FC236}">
                    <a16:creationId xmlns:a16="http://schemas.microsoft.com/office/drawing/2014/main" id="{4480EBA4-EB8F-4E93-AA6D-DF8AE29CD5DC}"/>
                  </a:ext>
                </a:extLst>
              </p:cNvPr>
              <p:cNvCxnSpPr>
                <a:cxnSpLocks/>
              </p:cNvCxnSpPr>
              <p:nvPr/>
            </p:nvCxnSpPr>
            <p:spPr>
              <a:xfrm>
                <a:off x="8506916" y="3452239"/>
                <a:ext cx="3077300" cy="0"/>
              </a:xfrm>
              <a:prstGeom prst="line">
                <a:avLst/>
              </a:prstGeom>
              <a:ln w="15875">
                <a:solidFill>
                  <a:srgbClr val="E4401D"/>
                </a:solidFill>
              </a:ln>
            </p:spPr>
            <p:style>
              <a:lnRef idx="1">
                <a:schemeClr val="accent1"/>
              </a:lnRef>
              <a:fillRef idx="0">
                <a:schemeClr val="accent1"/>
              </a:fillRef>
              <a:effectRef idx="0">
                <a:schemeClr val="accent1"/>
              </a:effectRef>
              <a:fontRef idx="minor">
                <a:schemeClr val="tx1"/>
              </a:fontRef>
            </p:style>
          </p:cxnSp>
          <p:cxnSp>
            <p:nvCxnSpPr>
              <p:cNvPr id="49" name="直接连接符 19">
                <a:extLst>
                  <a:ext uri="{FF2B5EF4-FFF2-40B4-BE49-F238E27FC236}">
                    <a16:creationId xmlns:a16="http://schemas.microsoft.com/office/drawing/2014/main" id="{B352F27D-1523-4FBF-8CE8-8EF986114427}"/>
                  </a:ext>
                </a:extLst>
              </p:cNvPr>
              <p:cNvCxnSpPr>
                <a:cxnSpLocks/>
              </p:cNvCxnSpPr>
              <p:nvPr/>
            </p:nvCxnSpPr>
            <p:spPr>
              <a:xfrm>
                <a:off x="607784" y="3452239"/>
                <a:ext cx="2929046" cy="0"/>
              </a:xfrm>
              <a:prstGeom prst="line">
                <a:avLst/>
              </a:prstGeom>
              <a:ln w="15875">
                <a:solidFill>
                  <a:srgbClr val="E4401D"/>
                </a:solidFill>
              </a:ln>
            </p:spPr>
            <p:style>
              <a:lnRef idx="1">
                <a:schemeClr val="accent1"/>
              </a:lnRef>
              <a:fillRef idx="0">
                <a:schemeClr val="accent1"/>
              </a:fillRef>
              <a:effectRef idx="0">
                <a:schemeClr val="accent1"/>
              </a:effectRef>
              <a:fontRef idx="minor">
                <a:schemeClr val="tx1"/>
              </a:fontRef>
            </p:style>
          </p:cxnSp>
        </p:grpSp>
      </p:grpSp>
      <p:sp>
        <p:nvSpPr>
          <p:cNvPr id="42" name="灯片编号占位符 3">
            <a:extLst>
              <a:ext uri="{FF2B5EF4-FFF2-40B4-BE49-F238E27FC236}">
                <a16:creationId xmlns:a16="http://schemas.microsoft.com/office/drawing/2014/main" id="{348651BA-EACE-4481-85DF-C859319AE19B}"/>
              </a:ext>
            </a:extLst>
          </p:cNvPr>
          <p:cNvSpPr txBox="1">
            <a:spLocks/>
          </p:cNvSpPr>
          <p:nvPr/>
        </p:nvSpPr>
        <p:spPr>
          <a:xfrm>
            <a:off x="11673792" y="6356961"/>
            <a:ext cx="518208"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457200">
              <a:defRPr/>
            </a:pPr>
            <a:fld id="{D6F24B0C-7668-4973-8E6C-4D4CB7EF0CEB}" type="slidenum">
              <a:rPr lang="en-US" sz="1600" b="1" smtClean="0">
                <a:solidFill>
                  <a:schemeClr val="bg1"/>
                </a:solidFill>
                <a:latin typeface="Arial" panose="020B0604020202020204" pitchFamily="34" charset="0"/>
                <a:cs typeface="Arial" panose="020B0604020202020204" pitchFamily="34" charset="0"/>
              </a:rPr>
              <a:pPr algn="ctr" defTabSz="457200">
                <a:defRPr/>
              </a:pPr>
              <a:t>9</a:t>
            </a:fld>
            <a:endParaRPr lang="en-US"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3152410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ISLIDE.ICON" val="#22310;#22310;#835533;#61825;#835495;#164837;#104752;"/>
</p:tagLst>
</file>

<file path=ppt/tags/tag5.xml><?xml version="1.0" encoding="utf-8"?>
<p:tagLst xmlns:a="http://schemas.openxmlformats.org/drawingml/2006/main" xmlns:r="http://schemas.openxmlformats.org/officeDocument/2006/relationships" xmlns:p="http://schemas.openxmlformats.org/presentationml/2006/main">
  <p:tag name="ISLIDE.ICON" val="#400845;#393925;#166757;#29288;#68081;#68081;#104185;#15101;"/>
</p:tagLst>
</file>

<file path=ppt/theme/theme1.xml><?xml version="1.0" encoding="utf-8"?>
<a:theme xmlns:a="http://schemas.openxmlformats.org/drawingml/2006/main" name="4_GSK ">
  <a:themeElements>
    <a:clrScheme name="GSK 2015 v3">
      <a:dk1>
        <a:srgbClr val="544F40"/>
      </a:dk1>
      <a:lt1>
        <a:srgbClr val="FFFFFF"/>
      </a:lt1>
      <a:dk2>
        <a:srgbClr val="15717D"/>
      </a:dk2>
      <a:lt2>
        <a:srgbClr val="F36633"/>
      </a:lt2>
      <a:accent1>
        <a:srgbClr val="F36633"/>
      </a:accent1>
      <a:accent2>
        <a:srgbClr val="544F40"/>
      </a:accent2>
      <a:accent3>
        <a:srgbClr val="D5D1CE"/>
      </a:accent3>
      <a:accent4>
        <a:srgbClr val="BC1077"/>
      </a:accent4>
      <a:accent5>
        <a:srgbClr val="40488D"/>
      </a:accent5>
      <a:accent6>
        <a:srgbClr val="ED003C"/>
      </a:accent6>
      <a:hlink>
        <a:srgbClr val="002060"/>
      </a:hlink>
      <a:folHlink>
        <a:srgbClr val="7030A0"/>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a:solidFill>
            <a:schemeClr val="accent1"/>
          </a:solidFill>
          <a:headEnd/>
          <a:tailEnd/>
        </a:ln>
        <a:effectLst/>
      </a:spPr>
      <a:bodyPr rot="0" spcFirstLastPara="0" vertOverflow="overflow" horzOverflow="overflow" vert="horz" wrap="square" lIns="90000" tIns="46800" rIns="90000" bIns="46800" numCol="1" spcCol="0" rtlCol="0" fromWordArt="0" anchor="ctr" anchorCtr="0" forceAA="0" compatLnSpc="1">
        <a:prstTxWarp prst="textNoShape">
          <a:avLst/>
        </a:prstTxWarp>
        <a:noAutofit/>
      </a:bodyPr>
      <a:lstStyle>
        <a:defPPr eaLnBrk="0" fontAlgn="auto" hangingPunct="0">
          <a:lnSpc>
            <a:spcPct val="120000"/>
          </a:lnSpc>
          <a:spcBef>
            <a:spcPts val="0"/>
          </a:spcBef>
          <a:spcAft>
            <a:spcPts val="0"/>
          </a:spcAft>
          <a:buClr>
            <a:schemeClr val="bg1"/>
          </a:buClr>
          <a:defRPr sz="1200" kern="0" dirty="0">
            <a:solidFill>
              <a:schemeClr val="accent1"/>
            </a:solidFill>
          </a:defRPr>
        </a:defPPr>
      </a:lstStyle>
      <a:style>
        <a:lnRef idx="1">
          <a:schemeClr val="accent1"/>
        </a:lnRef>
        <a:fillRef idx="3">
          <a:schemeClr val="accent1"/>
        </a:fillRef>
        <a:effectRef idx="2">
          <a:schemeClr val="accent1"/>
        </a:effectRef>
        <a:fontRef idx="minor">
          <a:schemeClr val="lt1"/>
        </a:fontRef>
      </a:style>
    </a:spDef>
    <a:lnDef>
      <a:spPr>
        <a:ln cap="rnd">
          <a:solidFill>
            <a:schemeClr val="accent2"/>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90000" tIns="46800" rIns="90000" bIns="46800" rtlCol="0" anchor="t">
        <a:spAutoFit/>
      </a:bodyPr>
      <a:lstStyle>
        <a:defPPr algn="just">
          <a:buClr>
            <a:schemeClr val="tx1"/>
          </a:buClr>
          <a:defRPr sz="2000" dirty="0" smtClean="0">
            <a:solidFill>
              <a:schemeClr val="accent2"/>
            </a:solidFill>
          </a:defRPr>
        </a:defPPr>
      </a:lstStyle>
    </a:txDef>
  </a:objectDefaults>
  <a:extraClrSchemeLst/>
</a:theme>
</file>

<file path=ppt/theme/theme2.xml><?xml version="1.0" encoding="utf-8"?>
<a:theme xmlns:a="http://schemas.openxmlformats.org/drawingml/2006/main" name="GSK">
  <a:themeElements>
    <a:clrScheme name="GSK Colour palette">
      <a:dk1>
        <a:srgbClr val="635A54"/>
      </a:dk1>
      <a:lt1>
        <a:srgbClr val="FFFFFF"/>
      </a:lt1>
      <a:dk2>
        <a:srgbClr val="9A8B7D"/>
      </a:dk2>
      <a:lt2>
        <a:srgbClr val="FF6600"/>
      </a:lt2>
      <a:accent1>
        <a:srgbClr val="FF6600"/>
      </a:accent1>
      <a:accent2>
        <a:srgbClr val="635A54"/>
      </a:accent2>
      <a:accent3>
        <a:srgbClr val="9A8B7D"/>
      </a:accent3>
      <a:accent4>
        <a:srgbClr val="00B6C9"/>
      </a:accent4>
      <a:accent5>
        <a:srgbClr val="BE0077"/>
      </a:accent5>
      <a:accent6>
        <a:srgbClr val="4A8322"/>
      </a:accent6>
      <a:hlink>
        <a:srgbClr val="FF6600"/>
      </a:hlink>
      <a:folHlink>
        <a:srgbClr val="9A8B7D"/>
      </a:folHlink>
    </a:clrScheme>
    <a:fontScheme name="自定义 3">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a:tailEnd/>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180975" indent="-180975" eaLnBrk="0" fontAlgn="auto" hangingPunct="0">
          <a:spcBef>
            <a:spcPts val="0"/>
          </a:spcBef>
          <a:spcAft>
            <a:spcPts val="0"/>
          </a:spcAft>
          <a:buClr>
            <a:schemeClr val="bg1"/>
          </a:buClr>
          <a:buFont typeface="Arial" pitchFamily="34" charset="0"/>
          <a:buChar char="–"/>
          <a:defRPr sz="1200" b="1" kern="0" dirty="0" err="1" smtClean="0">
            <a:solidFill>
              <a:srgbClr val="FFFFFF"/>
            </a:solidFill>
            <a:latin typeface="Arial"/>
          </a:defRPr>
        </a:defPPr>
      </a:lstStyle>
      <a:style>
        <a:lnRef idx="1">
          <a:schemeClr val="accent1"/>
        </a:lnRef>
        <a:fillRef idx="3">
          <a:schemeClr val="accent1"/>
        </a:fillRef>
        <a:effectRef idx="2">
          <a:schemeClr val="accent1"/>
        </a:effectRef>
        <a:fontRef idx="minor">
          <a:schemeClr val="lt1"/>
        </a:fontRef>
      </a:style>
    </a:spDef>
    <a:txDef>
      <a:spPr>
        <a:noFill/>
      </a:spPr>
      <a:bodyPr wrap="square" rtlCol="0">
        <a:spAutoFit/>
      </a:bodyPr>
      <a:lstStyle>
        <a:defPPr marL="0" indent="0">
          <a:lnSpc>
            <a:spcPct val="120000"/>
          </a:lnSpc>
          <a:buClr>
            <a:schemeClr val="tx1"/>
          </a:buClr>
          <a:buFont typeface="Arial" pitchFamily="34" charset="0"/>
          <a:buNone/>
          <a:defRPr sz="1800" baseline="0" dirty="0" err="1" smtClean="0">
            <a:latin typeface="Arial" panose="020B0604020202020204" pitchFamily="34" charset="0"/>
            <a:ea typeface="微软雅黑" panose="020B0503020204020204" pitchFamily="34" charset="-122"/>
          </a:defRPr>
        </a:defPPr>
      </a:lstStyle>
    </a:txDef>
  </a:objectDefaults>
  <a:extraClrSchemeLst/>
  <a:extLst>
    <a:ext uri="{05A4C25C-085E-4340-85A3-A5531E510DB2}">
      <thm15:themeFamily xmlns:thm15="http://schemas.microsoft.com/office/thememl/2012/main" name="GSK" id="{2758EA10-0A5D-4EF3-A683-3B9D5CDB9A06}" vid="{E1C7DB91-75EE-4A20-9306-A0E51E9A1238}"/>
    </a:ext>
  </a:extLst>
</a:theme>
</file>

<file path=ppt/theme/theme3.xml><?xml version="1.0" encoding="utf-8"?>
<a:theme xmlns:a="http://schemas.openxmlformats.org/drawingml/2006/main" name="12_GSK ">
  <a:themeElements>
    <a:clrScheme name="GSK 2017 4">
      <a:dk1>
        <a:srgbClr val="544F40"/>
      </a:dk1>
      <a:lt1>
        <a:srgbClr val="FFFFFF"/>
      </a:lt1>
      <a:dk2>
        <a:srgbClr val="15717D"/>
      </a:dk2>
      <a:lt2>
        <a:srgbClr val="F36633"/>
      </a:lt2>
      <a:accent1>
        <a:srgbClr val="F36633"/>
      </a:accent1>
      <a:accent2>
        <a:srgbClr val="544F40"/>
      </a:accent2>
      <a:accent3>
        <a:srgbClr val="008A00"/>
      </a:accent3>
      <a:accent4>
        <a:srgbClr val="BC1077"/>
      </a:accent4>
      <a:accent5>
        <a:srgbClr val="40488D"/>
      </a:accent5>
      <a:accent6>
        <a:srgbClr val="ED003C"/>
      </a:accent6>
      <a:hlink>
        <a:srgbClr val="F36633"/>
      </a:hlink>
      <a:folHlink>
        <a:srgbClr val="F36633"/>
      </a:folHlink>
    </a:clrScheme>
    <a:fontScheme name="GS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5"/>
        </a:solidFill>
        <a:ln w="28575">
          <a:solidFill>
            <a:schemeClr val="accent5"/>
          </a:solidFill>
          <a:headEnd/>
          <a:tailEnd/>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eaLnBrk="0" fontAlgn="auto" hangingPunct="0">
          <a:spcBef>
            <a:spcPts val="0"/>
          </a:spcBef>
          <a:spcAft>
            <a:spcPts val="0"/>
          </a:spcAft>
          <a:buClr>
            <a:schemeClr val="bg1"/>
          </a:buClr>
          <a:defRPr sz="1200" b="1" kern="0" dirty="0" smtClean="0">
            <a:solidFill>
              <a:srgbClr val="FFFFFF"/>
            </a:solidFill>
            <a:latin typeface="Arial"/>
          </a:defRPr>
        </a:defPPr>
      </a:lstStyle>
      <a:style>
        <a:lnRef idx="1">
          <a:schemeClr val="accent1"/>
        </a:lnRef>
        <a:fillRef idx="3">
          <a:schemeClr val="accent1"/>
        </a:fillRef>
        <a:effectRef idx="2">
          <a:schemeClr val="accent1"/>
        </a:effectRef>
        <a:fontRef idx="minor">
          <a:schemeClr val="lt1"/>
        </a:fontRef>
      </a:style>
    </a:spDef>
    <a:txDef>
      <a:spPr>
        <a:noFill/>
      </a:spPr>
      <a:bodyPr wrap="square" rtlCol="0">
        <a:spAutoFit/>
      </a:bodyPr>
      <a:lstStyle>
        <a:defPPr algn="l">
          <a:buClr>
            <a:schemeClr val="tx1"/>
          </a:buClr>
          <a:defRPr sz="900" dirty="0" smtClean="0"/>
        </a:defPPr>
      </a:lstStyle>
    </a:txDef>
  </a:objectDefaults>
  <a:extraClrSchemeLst/>
  <a:extLst>
    <a:ext uri="{05A4C25C-085E-4340-85A3-A5531E510DB2}">
      <thm15:themeFamily xmlns:thm15="http://schemas.microsoft.com/office/thememl/2012/main" name="GSK_16x9 PowerPoint_V1_20170626" id="{B80D7DA0-A87D-CF43-AA85-C62F33F894F5}" vid="{C878A672-39FC-E94E-AAA2-1FB9D3ACD471}"/>
    </a:ext>
  </a:extLst>
</a:theme>
</file>

<file path=ppt/theme/theme4.xml><?xml version="1.0" encoding="utf-8"?>
<a:theme xmlns:a="http://schemas.openxmlformats.org/drawingml/2006/main" name="1_自定义设计方案">
  <a:themeElements>
    <a:clrScheme name="031002">
      <a:dk1>
        <a:srgbClr val="262626"/>
      </a:dk1>
      <a:lt1>
        <a:srgbClr val="FFFFFF"/>
      </a:lt1>
      <a:dk2>
        <a:srgbClr val="262626"/>
      </a:dk2>
      <a:lt2>
        <a:srgbClr val="B3B3B3"/>
      </a:lt2>
      <a:accent1>
        <a:srgbClr val="E43F1C"/>
      </a:accent1>
      <a:accent2>
        <a:srgbClr val="F9C235"/>
      </a:accent2>
      <a:accent3>
        <a:srgbClr val="3A8137"/>
      </a:accent3>
      <a:accent4>
        <a:srgbClr val="C3E86B"/>
      </a:accent4>
      <a:accent5>
        <a:srgbClr val="95D600"/>
      </a:accent5>
      <a:accent6>
        <a:srgbClr val="CFDE00"/>
      </a:accent6>
      <a:hlink>
        <a:srgbClr val="95D600"/>
      </a:hlink>
      <a:folHlink>
        <a:srgbClr val="222720"/>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alpha val="10000"/>
          </a:schemeClr>
        </a:solidFill>
        <a:ln w="6350">
          <a:gradFill>
            <a:gsLst>
              <a:gs pos="0">
                <a:schemeClr val="accent1"/>
              </a:gs>
              <a:gs pos="100000">
                <a:schemeClr val="accent2"/>
              </a:gs>
            </a:gsLst>
            <a:lin ang="5400000" scaled="1"/>
          </a:gra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自定义设计方案">
  <a:themeElements>
    <a:clrScheme name="031002">
      <a:dk1>
        <a:srgbClr val="262626"/>
      </a:dk1>
      <a:lt1>
        <a:srgbClr val="FFFFFF"/>
      </a:lt1>
      <a:dk2>
        <a:srgbClr val="262626"/>
      </a:dk2>
      <a:lt2>
        <a:srgbClr val="B3B3B3"/>
      </a:lt2>
      <a:accent1>
        <a:srgbClr val="E43F1C"/>
      </a:accent1>
      <a:accent2>
        <a:srgbClr val="F9C235"/>
      </a:accent2>
      <a:accent3>
        <a:srgbClr val="3A8137"/>
      </a:accent3>
      <a:accent4>
        <a:srgbClr val="C3E86B"/>
      </a:accent4>
      <a:accent5>
        <a:srgbClr val="95D600"/>
      </a:accent5>
      <a:accent6>
        <a:srgbClr val="CFDE00"/>
      </a:accent6>
      <a:hlink>
        <a:srgbClr val="95D600"/>
      </a:hlink>
      <a:folHlink>
        <a:srgbClr val="222720"/>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alpha val="10000"/>
          </a:schemeClr>
        </a:solidFill>
        <a:ln w="6350">
          <a:gradFill>
            <a:gsLst>
              <a:gs pos="0">
                <a:schemeClr val="accent1"/>
              </a:gs>
              <a:gs pos="100000">
                <a:schemeClr val="accent2"/>
              </a:gs>
            </a:gsLst>
            <a:lin ang="5400000" scaled="1"/>
          </a:gra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GSK Art Kit - 16 x 9_v2">
  <a:themeElements>
    <a:clrScheme name="GSK Colour palette">
      <a:dk1>
        <a:srgbClr val="635A54"/>
      </a:dk1>
      <a:lt1>
        <a:srgbClr val="FFFFFF"/>
      </a:lt1>
      <a:dk2>
        <a:srgbClr val="9A8B7D"/>
      </a:dk2>
      <a:lt2>
        <a:srgbClr val="FF6600"/>
      </a:lt2>
      <a:accent1>
        <a:srgbClr val="FF6600"/>
      </a:accent1>
      <a:accent2>
        <a:srgbClr val="635A54"/>
      </a:accent2>
      <a:accent3>
        <a:srgbClr val="9A8B7D"/>
      </a:accent3>
      <a:accent4>
        <a:srgbClr val="00B6C9"/>
      </a:accent4>
      <a:accent5>
        <a:srgbClr val="BE0077"/>
      </a:accent5>
      <a:accent6>
        <a:srgbClr val="4A8322"/>
      </a:accent6>
      <a:hlink>
        <a:srgbClr val="FF6600"/>
      </a:hlink>
      <a:folHlink>
        <a:srgbClr val="9A8B7D"/>
      </a:folHlink>
    </a:clrScheme>
    <a:fontScheme name="1pceroxt">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headEnd/>
          <a:tailEnd/>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180975" indent="-180975" eaLnBrk="0" fontAlgn="auto" hangingPunct="0">
          <a:spcBef>
            <a:spcPts val="0"/>
          </a:spcBef>
          <a:spcAft>
            <a:spcPts val="0"/>
          </a:spcAft>
          <a:buClr>
            <a:schemeClr val="bg1"/>
          </a:buClr>
          <a:buFont typeface="Arial" pitchFamily="34" charset="0"/>
          <a:buChar char="–"/>
          <a:defRPr sz="1200" b="1" kern="0" dirty="0" err="1" smtClean="0">
            <a:solidFill>
              <a:srgbClr val="FFFFFF"/>
            </a:solidFill>
            <a:latin typeface="Arial"/>
          </a:defRPr>
        </a:defPPr>
      </a:lstStyle>
      <a:style>
        <a:lnRef idx="1">
          <a:schemeClr val="accent1"/>
        </a:lnRef>
        <a:fillRef idx="3">
          <a:schemeClr val="accent1"/>
        </a:fillRef>
        <a:effectRef idx="2">
          <a:schemeClr val="accent1"/>
        </a:effectRef>
        <a:fontRef idx="minor">
          <a:schemeClr val="lt1"/>
        </a:fontRef>
      </a:style>
    </a:spDef>
    <a:txDef>
      <a:spPr>
        <a:noFill/>
      </a:spPr>
      <a:bodyPr wrap="square" rtlCol="0">
        <a:spAutoFit/>
      </a:bodyPr>
      <a:lstStyle>
        <a:defPPr marL="171450" indent="-171450">
          <a:buClr>
            <a:schemeClr val="tx1"/>
          </a:buClr>
          <a:buFont typeface="Arial" pitchFamily="34" charset="0"/>
          <a:buChar char="–"/>
          <a:defRPr sz="1200" dirty="0" err="1" smtClean="0"/>
        </a:defPPr>
      </a:lstStyle>
    </a:txDef>
  </a:objectDefaults>
  <a:extraClrSchemeLst/>
</a:theme>
</file>

<file path=ppt/theme/theme7.xml><?xml version="1.0" encoding="utf-8"?>
<a:theme xmlns:a="http://schemas.openxmlformats.org/drawingml/2006/main" name="Dovato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
    <a:dk1>
      <a:srgbClr val="000000"/>
    </a:dk1>
    <a:lt1>
      <a:srgbClr val="FFFFFF"/>
    </a:lt1>
    <a:dk2>
      <a:srgbClr val="44546A"/>
    </a:dk2>
    <a:lt2>
      <a:srgbClr val="E7E6E6"/>
    </a:lt2>
    <a:accent1>
      <a:srgbClr val="E30046"/>
    </a:accent1>
    <a:accent2>
      <a:srgbClr val="071D49"/>
    </a:accent2>
    <a:accent3>
      <a:srgbClr val="702082"/>
    </a:accent3>
    <a:accent4>
      <a:srgbClr val="5BC2E7"/>
    </a:accent4>
    <a:accent5>
      <a:srgbClr val="D0D3D3"/>
    </a:accent5>
    <a:accent6>
      <a:srgbClr val="FFFFFF"/>
    </a:accent6>
    <a:hlink>
      <a:srgbClr val="0563C1"/>
    </a:hlink>
    <a:folHlink>
      <a:srgbClr val="954F72"/>
    </a:folHlink>
  </a:clrScheme>
  <a:fontScheme name="ViiV">
    <a:majorFont>
      <a:latin typeface="Helvetica"/>
      <a:ea typeface=""/>
      <a:cs typeface=""/>
    </a:majorFont>
    <a:minorFont>
      <a:latin typeface="Ralewa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2538</TotalTime>
  <Words>2714</Words>
  <Application>Microsoft Office PowerPoint</Application>
  <PresentationFormat>宽屏</PresentationFormat>
  <Paragraphs>258</Paragraphs>
  <Slides>10</Slides>
  <Notes>7</Notes>
  <HiddenSlides>0</HiddenSlides>
  <MMClips>0</MMClips>
  <ScaleCrop>false</ScaleCrop>
  <HeadingPairs>
    <vt:vector size="8" baseType="variant">
      <vt:variant>
        <vt:lpstr>已用的字体</vt:lpstr>
      </vt:variant>
      <vt:variant>
        <vt:i4>13</vt:i4>
      </vt:variant>
      <vt:variant>
        <vt:lpstr>主题</vt:lpstr>
      </vt:variant>
      <vt:variant>
        <vt:i4>7</vt:i4>
      </vt:variant>
      <vt:variant>
        <vt:lpstr>嵌入 OLE 服务器</vt:lpstr>
      </vt:variant>
      <vt:variant>
        <vt:i4>1</vt:i4>
      </vt:variant>
      <vt:variant>
        <vt:lpstr>幻灯片标题</vt:lpstr>
      </vt:variant>
      <vt:variant>
        <vt:i4>10</vt:i4>
      </vt:variant>
    </vt:vector>
  </HeadingPairs>
  <TitlesOfParts>
    <vt:vector size="31" baseType="lpstr">
      <vt:lpstr>Myriad Pro</vt:lpstr>
      <vt:lpstr>Noto Sans CJK Regular</vt:lpstr>
      <vt:lpstr>华文中宋</vt:lpstr>
      <vt:lpstr>微软雅黑</vt:lpstr>
      <vt:lpstr>微软雅黑</vt:lpstr>
      <vt:lpstr>等线</vt:lpstr>
      <vt:lpstr>Arial</vt:lpstr>
      <vt:lpstr>Calibri</vt:lpstr>
      <vt:lpstr>Calibri Light</vt:lpstr>
      <vt:lpstr>Georgia</vt:lpstr>
      <vt:lpstr>Raleway</vt:lpstr>
      <vt:lpstr>Times New Roman</vt:lpstr>
      <vt:lpstr>Wingdings</vt:lpstr>
      <vt:lpstr>4_GSK </vt:lpstr>
      <vt:lpstr>GSK</vt:lpstr>
      <vt:lpstr>12_GSK </vt:lpstr>
      <vt:lpstr>1_自定义设计方案</vt:lpstr>
      <vt:lpstr>2_自定义设计方案</vt:lpstr>
      <vt:lpstr>GSK Art Kit - 16 x 9_v2</vt:lpstr>
      <vt:lpstr>Dovato Theme</vt:lpstr>
      <vt:lpstr>think-cell Slide</vt:lpstr>
      <vt:lpstr>PowerPoint 演示文稿</vt:lpstr>
      <vt:lpstr>目录</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ing Yang</dc:creator>
  <cp:lastModifiedBy>Chaoyun Li</cp:lastModifiedBy>
  <cp:revision>482</cp:revision>
  <dcterms:created xsi:type="dcterms:W3CDTF">2022-06-06T02:26:43Z</dcterms:created>
  <dcterms:modified xsi:type="dcterms:W3CDTF">2022-07-11T13:54:08Z</dcterms:modified>
</cp:coreProperties>
</file>